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8.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0.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1.xml" ContentType="application/vnd.openxmlformats-officedocument.theme+xml"/>
  <Override PartName="/ppt/tags/tag10.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2.xml" ContentType="application/vnd.openxmlformats-officedocument.them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3.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13.xml" ContentType="application/vnd.openxmlformats-officedocument.presentationml.notesSlide+xml"/>
  <Override PartName="/ppt/charts/chart2.xml" ContentType="application/vnd.openxmlformats-officedocument.drawingml.chart+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20" r:id="rId1"/>
    <p:sldMasterId id="2147484091" r:id="rId2"/>
    <p:sldMasterId id="2147484113" r:id="rId3"/>
    <p:sldMasterId id="2147484124" r:id="rId4"/>
    <p:sldMasterId id="2147484131" r:id="rId5"/>
    <p:sldMasterId id="2147484199" r:id="rId6"/>
    <p:sldMasterId id="2147484223" r:id="rId7"/>
    <p:sldMasterId id="2147484262" r:id="rId8"/>
    <p:sldMasterId id="2147484274" r:id="rId9"/>
    <p:sldMasterId id="2147484310" r:id="rId10"/>
    <p:sldMasterId id="2147484331" r:id="rId11"/>
    <p:sldMasterId id="2147484392" r:id="rId12"/>
    <p:sldMasterId id="2147484426" r:id="rId13"/>
    <p:sldMasterId id="2147484447" r:id="rId14"/>
  </p:sldMasterIdLst>
  <p:notesMasterIdLst>
    <p:notesMasterId r:id="rId38"/>
  </p:notesMasterIdLst>
  <p:handoutMasterIdLst>
    <p:handoutMasterId r:id="rId39"/>
  </p:handoutMasterIdLst>
  <p:sldIdLst>
    <p:sldId id="981" r:id="rId15"/>
    <p:sldId id="985" r:id="rId16"/>
    <p:sldId id="986" r:id="rId17"/>
    <p:sldId id="968" r:id="rId18"/>
    <p:sldId id="917" r:id="rId19"/>
    <p:sldId id="972" r:id="rId20"/>
    <p:sldId id="973" r:id="rId21"/>
    <p:sldId id="927" r:id="rId22"/>
    <p:sldId id="974" r:id="rId23"/>
    <p:sldId id="983" r:id="rId24"/>
    <p:sldId id="919" r:id="rId25"/>
    <p:sldId id="977" r:id="rId26"/>
    <p:sldId id="984" r:id="rId27"/>
    <p:sldId id="978" r:id="rId28"/>
    <p:sldId id="979" r:id="rId29"/>
    <p:sldId id="930" r:id="rId30"/>
    <p:sldId id="931" r:id="rId31"/>
    <p:sldId id="933" r:id="rId32"/>
    <p:sldId id="934" r:id="rId33"/>
    <p:sldId id="939" r:id="rId34"/>
    <p:sldId id="980" r:id="rId35"/>
    <p:sldId id="975" r:id="rId36"/>
    <p:sldId id="982" r:id="rId37"/>
  </p:sldIdLst>
  <p:sldSz cx="9144000" cy="5143500" type="screen16x9"/>
  <p:notesSz cx="6858000" cy="9144000"/>
  <p:custDataLst>
    <p:tags r:id="rId40"/>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Macrovascular complications_MH" id="{F5257163-D082-4471-B875-FA6DEFF2EB5C}">
          <p14:sldIdLst>
            <p14:sldId id="981"/>
            <p14:sldId id="985"/>
            <p14:sldId id="986"/>
            <p14:sldId id="968"/>
            <p14:sldId id="917"/>
            <p14:sldId id="972"/>
            <p14:sldId id="973"/>
            <p14:sldId id="927"/>
            <p14:sldId id="974"/>
            <p14:sldId id="983"/>
            <p14:sldId id="919"/>
            <p14:sldId id="977"/>
            <p14:sldId id="984"/>
            <p14:sldId id="978"/>
            <p14:sldId id="979"/>
            <p14:sldId id="930"/>
            <p14:sldId id="931"/>
            <p14:sldId id="933"/>
            <p14:sldId id="934"/>
            <p14:sldId id="939"/>
            <p14:sldId id="980"/>
            <p14:sldId id="975"/>
            <p14:sldId id="982"/>
          </p14:sldIdLst>
        </p14:section>
      </p14:sectionLst>
    </p:ex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vroop Bhamra" initials="SB" lastIdx="36" clrIdx="0">
    <p:extLst/>
  </p:cmAuthor>
  <p:cmAuthor id="2" name="Kate Weatherall" initials="KW" lastIdx="32" clrIdx="1">
    <p:extLst/>
  </p:cmAuthor>
  <p:cmAuthor id="3" name="Andy Palmer, PhD" initials="APP" lastIdx="14" clrIdx="2">
    <p:extLst/>
  </p:cmAuthor>
  <p:cmAuthor id="4" name="MBTP (Marianne Bach Treppendahl)" initials="MBTP" lastIdx="5" clrIdx="3"/>
  <p:cmAuthor id="5" name="John Eichorn" initials="JE" lastIdx="19" clrIdx="4">
    <p:extLst/>
  </p:cmAuthor>
  <p:cmAuthor id="6" name="userpc" initials="u" lastIdx="3" clrIdx="5">
    <p:extLst/>
  </p:cmAuthor>
  <p:cmAuthor id="7" name="Saima Khan" initials="SK" lastIdx="3" clrIdx="6">
    <p:extLst/>
  </p:cmAuthor>
  <p:cmAuthor id="8" name="Savroop Bhamra, PhD" initials="SBP" lastIdx="59" clrIdx="7">
    <p:extLst/>
  </p:cmAuthor>
  <p:cmAuthor id="9" name="DETI (Desirée Thielke)" initials="DETI" lastIdx="8" clrIdx="8"/>
  <p:cmAuthor id="10" name="BJOS (Bernt Johan von Scholten)" initials="B(JvS" lastIdx="2" clrIdx="9"/>
  <p:cmAuthor id="11" name="Sarah Etheridge, PhD" initials="SEP" lastIdx="20" clrIdx="10">
    <p:extLst/>
  </p:cmAuthor>
  <p:cmAuthor id="12" name="Kate Weatherall, PhD" initials="KWP" lastIdx="14" clrIdx="11">
    <p:extLst/>
  </p:cmAuthor>
  <p:cmAuthor id="13" name="23939" initials="MH" lastIdx="3" clrIdx="12"/>
  <p:cmAuthor id="14" name="Nick Lamb" initials="MOU" lastIdx="1" clrIdx="13">
    <p:extLst/>
  </p:cmAuthor>
  <p:cmAuthor id="15" name="Nick Lamb" initials="MOU [2]" lastIdx="1" clrIdx="14">
    <p:extLst/>
  </p:cmAuthor>
  <p:cmAuthor id="16" name="Nick Lamb" initials="MOU [3]" lastIdx="1" clrIdx="1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9AA8"/>
    <a:srgbClr val="EFEDEC"/>
    <a:srgbClr val="112D63"/>
    <a:srgbClr val="FFFFFF"/>
    <a:srgbClr val="9C7EB3"/>
    <a:srgbClr val="3F9C35"/>
    <a:srgbClr val="50D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240" autoAdjust="0"/>
    <p:restoredTop sz="95705" autoAdjust="0"/>
  </p:normalViewPr>
  <p:slideViewPr>
    <p:cSldViewPr snapToGrid="0">
      <p:cViewPr varScale="1">
        <p:scale>
          <a:sx n="113" d="100"/>
          <a:sy n="113" d="100"/>
        </p:scale>
        <p:origin x="-418" y="-67"/>
      </p:cViewPr>
      <p:guideLst>
        <p:guide orient="horz" pos="1620"/>
        <p:guide pos="2880"/>
      </p:guideLst>
    </p:cSldViewPr>
  </p:slideViewPr>
  <p:notesTextViewPr>
    <p:cViewPr>
      <p:scale>
        <a:sx n="3" d="2"/>
        <a:sy n="3" d="2"/>
      </p:scale>
      <p:origin x="0" y="0"/>
    </p:cViewPr>
  </p:notesTextViewPr>
  <p:sorterViewPr>
    <p:cViewPr>
      <p:scale>
        <a:sx n="125" d="100"/>
        <a:sy n="125" d="100"/>
      </p:scale>
      <p:origin x="0" y="3710"/>
    </p:cViewPr>
  </p:sorterViewPr>
  <p:notesViewPr>
    <p:cSldViewPr snapToGrid="0" showGuides="1">
      <p:cViewPr>
        <p:scale>
          <a:sx n="140" d="100"/>
          <a:sy n="140" d="100"/>
        </p:scale>
        <p:origin x="2616" y="-14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chartUserShapes" Target="../drawings/drawing1.xml"/><Relationship Id="rId1" Type="http://schemas.openxmlformats.org/officeDocument/2006/relationships/package" Target="../embeddings/Microsoft_Excel_Worksheet1.xlsx"/><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7</c:f>
              <c:numCache>
                <c:formatCode>Vęeobecný</c:formatCode>
                <c:ptCount val="6"/>
                <c:pt idx="0">
                  <c:v>0</c:v>
                </c:pt>
                <c:pt idx="1">
                  <c:v>1</c:v>
                </c:pt>
                <c:pt idx="2">
                  <c:v>2</c:v>
                </c:pt>
                <c:pt idx="3">
                  <c:v>3</c:v>
                </c:pt>
                <c:pt idx="4">
                  <c:v>4</c:v>
                </c:pt>
                <c:pt idx="5">
                  <c:v>5</c:v>
                </c:pt>
              </c:numCache>
            </c:numRef>
          </c:cat>
          <c:val>
            <c:numRef>
              <c:f>Sheet1!$B$2:$B$7</c:f>
              <c:numCache>
                <c:formatCode>Vęeobecný</c:formatCode>
                <c:ptCount val="6"/>
                <c:pt idx="0">
                  <c:v>0</c:v>
                </c:pt>
                <c:pt idx="1">
                  <c:v>0</c:v>
                </c:pt>
                <c:pt idx="2">
                  <c:v>0</c:v>
                </c:pt>
                <c:pt idx="3">
                  <c:v>0</c:v>
                </c:pt>
                <c:pt idx="4">
                  <c:v>0</c:v>
                </c:pt>
                <c:pt idx="5">
                  <c:v>0</c:v>
                </c:pt>
              </c:numCache>
            </c:numRef>
          </c:val>
          <c:extLst xmlns:c16r2="http://schemas.microsoft.com/office/drawing/2015/06/chart">
            <c:ext xmlns:c16="http://schemas.microsoft.com/office/drawing/2014/chart" uri="{C3380CC4-5D6E-409C-BE32-E72D297353CC}">
              <c16:uniqueId val="{00000000-2915-448E-AB1E-321A787AC6E4}"/>
            </c:ext>
          </c:extLst>
        </c:ser>
        <c:dLbls>
          <c:showLegendKey val="0"/>
          <c:showVal val="0"/>
          <c:showCatName val="0"/>
          <c:showSerName val="0"/>
          <c:showPercent val="0"/>
          <c:showBubbleSize val="0"/>
        </c:dLbls>
        <c:gapWidth val="219"/>
        <c:overlap val="-27"/>
        <c:axId val="165095680"/>
        <c:axId val="165101568"/>
      </c:barChart>
      <c:catAx>
        <c:axId val="165095680"/>
        <c:scaling>
          <c:orientation val="minMax"/>
        </c:scaling>
        <c:delete val="0"/>
        <c:axPos val="b"/>
        <c:numFmt formatCode="Vęeobecný" sourceLinked="1"/>
        <c:majorTickMark val="out"/>
        <c:minorTickMark val="none"/>
        <c:tickLblPos val="nextTo"/>
        <c:spPr>
          <a:noFill/>
          <a:ln w="19050" cap="flat" cmpd="sng" algn="ctr">
            <a:solidFill>
              <a:srgbClr val="001965"/>
            </a:solidFill>
            <a:round/>
          </a:ln>
          <a:effectLst/>
        </c:spPr>
        <c:txPr>
          <a:bodyPr rot="-60000000" spcFirstLastPara="1" vertOverflow="ellipsis" vert="horz" wrap="square" anchor="ctr" anchorCtr="1"/>
          <a:lstStyle/>
          <a:p>
            <a:pPr>
              <a:defRPr sz="1197" b="0" i="0" u="none" strike="noStrike" kern="1200" baseline="0">
                <a:solidFill>
                  <a:srgbClr val="001965"/>
                </a:solidFill>
                <a:latin typeface="+mn-lt"/>
                <a:ea typeface="+mn-ea"/>
                <a:cs typeface="+mn-cs"/>
              </a:defRPr>
            </a:pPr>
            <a:endParaRPr lang="cs-CZ"/>
          </a:p>
        </c:txPr>
        <c:crossAx val="165101568"/>
        <c:crosses val="autoZero"/>
        <c:auto val="1"/>
        <c:lblAlgn val="ctr"/>
        <c:lblOffset val="100"/>
        <c:noMultiLvlLbl val="0"/>
      </c:catAx>
      <c:valAx>
        <c:axId val="165101568"/>
        <c:scaling>
          <c:orientation val="minMax"/>
          <c:max val="18"/>
          <c:min val="0"/>
        </c:scaling>
        <c:delete val="0"/>
        <c:axPos val="l"/>
        <c:numFmt formatCode="Vęeobecný" sourceLinked="1"/>
        <c:majorTickMark val="out"/>
        <c:minorTickMark val="none"/>
        <c:tickLblPos val="nextTo"/>
        <c:spPr>
          <a:noFill/>
          <a:ln w="19050">
            <a:solidFill>
              <a:srgbClr val="001965"/>
            </a:solidFill>
          </a:ln>
          <a:effectLst/>
        </c:spPr>
        <c:txPr>
          <a:bodyPr rot="-60000000" spcFirstLastPara="1" vertOverflow="ellipsis" vert="horz" wrap="square" anchor="ctr" anchorCtr="1"/>
          <a:lstStyle/>
          <a:p>
            <a:pPr>
              <a:defRPr sz="1197" b="0" i="0" u="none" strike="noStrike" kern="1200" baseline="0">
                <a:solidFill>
                  <a:srgbClr val="001965"/>
                </a:solidFill>
                <a:latin typeface="+mn-lt"/>
                <a:ea typeface="+mn-ea"/>
                <a:cs typeface="+mn-cs"/>
              </a:defRPr>
            </a:pPr>
            <a:endParaRPr lang="cs-CZ"/>
          </a:p>
        </c:txPr>
        <c:crossAx val="165095680"/>
        <c:crosses val="autoZero"/>
        <c:crossBetween val="midCat"/>
        <c:majorUnit val="3"/>
      </c:valAx>
      <c:spPr>
        <a:noFill/>
        <a:ln>
          <a:noFill/>
        </a:ln>
        <a:effectLst/>
      </c:spPr>
    </c:plotArea>
    <c:plotVisOnly val="1"/>
    <c:dispBlanksAs val="gap"/>
    <c:showDLblsOverMax val="0"/>
  </c:chart>
  <c:spPr>
    <a:noFill/>
    <a:ln>
      <a:noFill/>
    </a:ln>
    <a:effectLst/>
  </c:spPr>
  <c:txPr>
    <a:bodyPr/>
    <a:lstStyle/>
    <a:p>
      <a:pPr>
        <a:defRPr/>
      </a:pPr>
      <a:endParaRPr lang="cs-CZ"/>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19481025507699"/>
          <c:y val="9.1680272115859607E-2"/>
          <c:w val="0.800730142029769"/>
          <c:h val="0.65849239590327302"/>
        </c:manualLayout>
      </c:layout>
      <c:scatterChart>
        <c:scatterStyle val="lineMarker"/>
        <c:varyColors val="0"/>
        <c:ser>
          <c:idx val="0"/>
          <c:order val="0"/>
          <c:tx>
            <c:strRef>
              <c:f>'Scatter chart - by week'!$C$1</c:f>
              <c:strCache>
                <c:ptCount val="1"/>
                <c:pt idx="0">
                  <c:v>Iglar</c:v>
                </c:pt>
              </c:strCache>
            </c:strRef>
          </c:tx>
          <c:spPr>
            <a:ln w="19050">
              <a:solidFill>
                <a:schemeClr val="accent1"/>
              </a:solidFill>
            </a:ln>
          </c:spPr>
          <c:marker>
            <c:symbol val="none"/>
          </c:marker>
          <c:xVal>
            <c:numRef>
              <c:f>'Scatter chart - by week'!$A$2:$A$1292</c:f>
              <c:numCache>
                <c:formatCode>ge\ne\r\r\a\l</c:formatCode>
                <c:ptCount val="1291"/>
                <c:pt idx="0">
                  <c:v>0</c:v>
                </c:pt>
                <c:pt idx="1">
                  <c:v>3.2786885245901599E-2</c:v>
                </c:pt>
                <c:pt idx="2">
                  <c:v>6.5573770491803296E-2</c:v>
                </c:pt>
                <c:pt idx="3">
                  <c:v>6.5573770491803296E-2</c:v>
                </c:pt>
                <c:pt idx="4">
                  <c:v>9.8360655737704902E-2</c:v>
                </c:pt>
                <c:pt idx="5">
                  <c:v>9.8360655737704902E-2</c:v>
                </c:pt>
                <c:pt idx="6">
                  <c:v>0.19672131147541</c:v>
                </c:pt>
                <c:pt idx="7">
                  <c:v>0.19672131147541</c:v>
                </c:pt>
                <c:pt idx="8">
                  <c:v>0.26229508196721302</c:v>
                </c:pt>
                <c:pt idx="9">
                  <c:v>0.26229508196721302</c:v>
                </c:pt>
                <c:pt idx="10">
                  <c:v>0.29508196721311503</c:v>
                </c:pt>
                <c:pt idx="11">
                  <c:v>0.32786885245901598</c:v>
                </c:pt>
                <c:pt idx="12">
                  <c:v>0.32786885245901598</c:v>
                </c:pt>
                <c:pt idx="13">
                  <c:v>0.36065573770491799</c:v>
                </c:pt>
                <c:pt idx="14">
                  <c:v>0.36065573770491799</c:v>
                </c:pt>
                <c:pt idx="15">
                  <c:v>0.39344262295082</c:v>
                </c:pt>
                <c:pt idx="16">
                  <c:v>0.39344262295082</c:v>
                </c:pt>
                <c:pt idx="17">
                  <c:v>0.42622950819672101</c:v>
                </c:pt>
                <c:pt idx="18">
                  <c:v>0.42622950819672101</c:v>
                </c:pt>
                <c:pt idx="19">
                  <c:v>0.45901639344262302</c:v>
                </c:pt>
                <c:pt idx="20">
                  <c:v>0.49180327868852503</c:v>
                </c:pt>
                <c:pt idx="21">
                  <c:v>0.49180327868852503</c:v>
                </c:pt>
                <c:pt idx="22">
                  <c:v>0.55737704918032804</c:v>
                </c:pt>
                <c:pt idx="23">
                  <c:v>0.55737704918032804</c:v>
                </c:pt>
                <c:pt idx="24">
                  <c:v>0.65573770491803296</c:v>
                </c:pt>
                <c:pt idx="25">
                  <c:v>0.65573770491803296</c:v>
                </c:pt>
                <c:pt idx="26">
                  <c:v>0.68852459016393397</c:v>
                </c:pt>
                <c:pt idx="27">
                  <c:v>0.68852459016393397</c:v>
                </c:pt>
                <c:pt idx="28">
                  <c:v>0.72131147540983598</c:v>
                </c:pt>
                <c:pt idx="29">
                  <c:v>0.72131147540983598</c:v>
                </c:pt>
                <c:pt idx="30">
                  <c:v>0.75409836065573699</c:v>
                </c:pt>
                <c:pt idx="31">
                  <c:v>0.75409836065573699</c:v>
                </c:pt>
                <c:pt idx="32">
                  <c:v>0.85245901639344301</c:v>
                </c:pt>
                <c:pt idx="33">
                  <c:v>0.85245901639344301</c:v>
                </c:pt>
                <c:pt idx="34">
                  <c:v>0.88524590163934402</c:v>
                </c:pt>
                <c:pt idx="35">
                  <c:v>0.88524590163934402</c:v>
                </c:pt>
                <c:pt idx="36">
                  <c:v>0.91803278688524603</c:v>
                </c:pt>
                <c:pt idx="37">
                  <c:v>0.91803278688524603</c:v>
                </c:pt>
                <c:pt idx="38">
                  <c:v>0.95081967213114804</c:v>
                </c:pt>
                <c:pt idx="39">
                  <c:v>0.98360655737704905</c:v>
                </c:pt>
                <c:pt idx="40">
                  <c:v>0.98360655737704905</c:v>
                </c:pt>
                <c:pt idx="41">
                  <c:v>1</c:v>
                </c:pt>
                <c:pt idx="42">
                  <c:v>1.0163934426229511</c:v>
                </c:pt>
                <c:pt idx="43">
                  <c:v>1.0163934426229511</c:v>
                </c:pt>
                <c:pt idx="44">
                  <c:v>1.049180327868853</c:v>
                </c:pt>
                <c:pt idx="45">
                  <c:v>1.049180327868853</c:v>
                </c:pt>
                <c:pt idx="46">
                  <c:v>1.147540983606558</c:v>
                </c:pt>
                <c:pt idx="47">
                  <c:v>1.147540983606558</c:v>
                </c:pt>
                <c:pt idx="48">
                  <c:v>1.1803278688524601</c:v>
                </c:pt>
                <c:pt idx="49">
                  <c:v>1.1803278688524601</c:v>
                </c:pt>
                <c:pt idx="50">
                  <c:v>1.21311475409836</c:v>
                </c:pt>
                <c:pt idx="51">
                  <c:v>1.21311475409836</c:v>
                </c:pt>
                <c:pt idx="52">
                  <c:v>1.2459016393442619</c:v>
                </c:pt>
                <c:pt idx="53">
                  <c:v>1.2459016393442619</c:v>
                </c:pt>
                <c:pt idx="54">
                  <c:v>1.278688524590164</c:v>
                </c:pt>
                <c:pt idx="55">
                  <c:v>1.278688524590164</c:v>
                </c:pt>
                <c:pt idx="56">
                  <c:v>1.3114754098360659</c:v>
                </c:pt>
                <c:pt idx="57">
                  <c:v>1.3114754098360659</c:v>
                </c:pt>
                <c:pt idx="58">
                  <c:v>1.3770491803278679</c:v>
                </c:pt>
                <c:pt idx="59">
                  <c:v>1.3770491803278679</c:v>
                </c:pt>
                <c:pt idx="60">
                  <c:v>1.4754098360655741</c:v>
                </c:pt>
                <c:pt idx="61">
                  <c:v>1.4754098360655741</c:v>
                </c:pt>
                <c:pt idx="62">
                  <c:v>1.5081967213114751</c:v>
                </c:pt>
                <c:pt idx="63">
                  <c:v>1.5081967213114751</c:v>
                </c:pt>
                <c:pt idx="64">
                  <c:v>1.540983606557377</c:v>
                </c:pt>
                <c:pt idx="65">
                  <c:v>1.540983606557377</c:v>
                </c:pt>
                <c:pt idx="66">
                  <c:v>1.5737704918032791</c:v>
                </c:pt>
                <c:pt idx="67">
                  <c:v>1.5737704918032791</c:v>
                </c:pt>
                <c:pt idx="68">
                  <c:v>1.6065573770491799</c:v>
                </c:pt>
                <c:pt idx="69">
                  <c:v>1.6065573770491799</c:v>
                </c:pt>
                <c:pt idx="70">
                  <c:v>1.639344262295082</c:v>
                </c:pt>
                <c:pt idx="71">
                  <c:v>1.639344262295082</c:v>
                </c:pt>
                <c:pt idx="72">
                  <c:v>1.7049180327868849</c:v>
                </c:pt>
                <c:pt idx="73">
                  <c:v>1.7049180327868849</c:v>
                </c:pt>
                <c:pt idx="74">
                  <c:v>1.737704918032787</c:v>
                </c:pt>
                <c:pt idx="75">
                  <c:v>1.737704918032787</c:v>
                </c:pt>
                <c:pt idx="76">
                  <c:v>1.8032786885245899</c:v>
                </c:pt>
                <c:pt idx="77">
                  <c:v>1.8032786885245899</c:v>
                </c:pt>
                <c:pt idx="78">
                  <c:v>1.8360655737704921</c:v>
                </c:pt>
                <c:pt idx="79">
                  <c:v>1.8360655737704921</c:v>
                </c:pt>
                <c:pt idx="80">
                  <c:v>1.868852459016394</c:v>
                </c:pt>
                <c:pt idx="81">
                  <c:v>1.868852459016394</c:v>
                </c:pt>
                <c:pt idx="82">
                  <c:v>1.9672131147540981</c:v>
                </c:pt>
                <c:pt idx="83">
                  <c:v>1.9672131147540981</c:v>
                </c:pt>
                <c:pt idx="84">
                  <c:v>2</c:v>
                </c:pt>
                <c:pt idx="85">
                  <c:v>2</c:v>
                </c:pt>
                <c:pt idx="86">
                  <c:v>2.0655737704918038</c:v>
                </c:pt>
                <c:pt idx="87">
                  <c:v>2.0655737704918038</c:v>
                </c:pt>
                <c:pt idx="88">
                  <c:v>2.1639344262295079</c:v>
                </c:pt>
                <c:pt idx="89">
                  <c:v>2.1639344262295079</c:v>
                </c:pt>
                <c:pt idx="90">
                  <c:v>2.1967213114754109</c:v>
                </c:pt>
                <c:pt idx="91">
                  <c:v>2.1967213114754109</c:v>
                </c:pt>
                <c:pt idx="92">
                  <c:v>2.2295081967213122</c:v>
                </c:pt>
                <c:pt idx="93">
                  <c:v>2.2295081967213122</c:v>
                </c:pt>
                <c:pt idx="94">
                  <c:v>2.3278688524590159</c:v>
                </c:pt>
                <c:pt idx="95">
                  <c:v>2.3278688524590159</c:v>
                </c:pt>
                <c:pt idx="96">
                  <c:v>2.3934426229508201</c:v>
                </c:pt>
                <c:pt idx="97">
                  <c:v>2.3934426229508201</c:v>
                </c:pt>
                <c:pt idx="98">
                  <c:v>2.42622950819672</c:v>
                </c:pt>
                <c:pt idx="99">
                  <c:v>2.42622950819672</c:v>
                </c:pt>
                <c:pt idx="100">
                  <c:v>2.4918032786885251</c:v>
                </c:pt>
                <c:pt idx="101">
                  <c:v>2.4918032786885251</c:v>
                </c:pt>
                <c:pt idx="102">
                  <c:v>2.5245901639344259</c:v>
                </c:pt>
                <c:pt idx="103">
                  <c:v>2.5245901639344259</c:v>
                </c:pt>
                <c:pt idx="104">
                  <c:v>2.557377049180328</c:v>
                </c:pt>
                <c:pt idx="105">
                  <c:v>2.557377049180328</c:v>
                </c:pt>
                <c:pt idx="106">
                  <c:v>2.5901639344262288</c:v>
                </c:pt>
                <c:pt idx="107">
                  <c:v>2.5901639344262288</c:v>
                </c:pt>
                <c:pt idx="108">
                  <c:v>2.622950819672131</c:v>
                </c:pt>
                <c:pt idx="109">
                  <c:v>2.622950819672131</c:v>
                </c:pt>
                <c:pt idx="110">
                  <c:v>2.6557377049180331</c:v>
                </c:pt>
                <c:pt idx="111">
                  <c:v>2.6557377049180331</c:v>
                </c:pt>
                <c:pt idx="112">
                  <c:v>2.6885245901639352</c:v>
                </c:pt>
                <c:pt idx="113">
                  <c:v>2.7540983606557372</c:v>
                </c:pt>
                <c:pt idx="114">
                  <c:v>2.7540983606557372</c:v>
                </c:pt>
                <c:pt idx="115">
                  <c:v>2.7868852459016402</c:v>
                </c:pt>
                <c:pt idx="116">
                  <c:v>2.7868852459016402</c:v>
                </c:pt>
                <c:pt idx="117">
                  <c:v>2.8196721311475401</c:v>
                </c:pt>
                <c:pt idx="118">
                  <c:v>2.8196721311475401</c:v>
                </c:pt>
                <c:pt idx="119">
                  <c:v>2.885245901639343</c:v>
                </c:pt>
                <c:pt idx="120">
                  <c:v>2.885245901639343</c:v>
                </c:pt>
                <c:pt idx="121">
                  <c:v>2.9836065573770512</c:v>
                </c:pt>
                <c:pt idx="122">
                  <c:v>3</c:v>
                </c:pt>
                <c:pt idx="123">
                  <c:v>3.0163934426229502</c:v>
                </c:pt>
                <c:pt idx="124">
                  <c:v>3.0163934426229502</c:v>
                </c:pt>
                <c:pt idx="125">
                  <c:v>3.0491803278688532</c:v>
                </c:pt>
                <c:pt idx="126">
                  <c:v>3.0491803278688532</c:v>
                </c:pt>
                <c:pt idx="127">
                  <c:v>3.081967213114754</c:v>
                </c:pt>
                <c:pt idx="128">
                  <c:v>3.081967213114754</c:v>
                </c:pt>
                <c:pt idx="129">
                  <c:v>3.1147540983606561</c:v>
                </c:pt>
                <c:pt idx="130">
                  <c:v>3.1147540983606561</c:v>
                </c:pt>
                <c:pt idx="131">
                  <c:v>3.1475409836065582</c:v>
                </c:pt>
                <c:pt idx="132">
                  <c:v>3.1475409836065582</c:v>
                </c:pt>
                <c:pt idx="133">
                  <c:v>3.1803278688524599</c:v>
                </c:pt>
                <c:pt idx="134">
                  <c:v>3.1803278688524599</c:v>
                </c:pt>
                <c:pt idx="135">
                  <c:v>3.2459016393442628</c:v>
                </c:pt>
                <c:pt idx="136">
                  <c:v>3.2459016393442628</c:v>
                </c:pt>
                <c:pt idx="137">
                  <c:v>3.278688524590164</c:v>
                </c:pt>
                <c:pt idx="138">
                  <c:v>3.278688524590164</c:v>
                </c:pt>
                <c:pt idx="139">
                  <c:v>3.3114754098360639</c:v>
                </c:pt>
                <c:pt idx="140">
                  <c:v>3.3114754098360639</c:v>
                </c:pt>
                <c:pt idx="141">
                  <c:v>3.3442622950819669</c:v>
                </c:pt>
                <c:pt idx="142">
                  <c:v>3.3442622950819669</c:v>
                </c:pt>
                <c:pt idx="143">
                  <c:v>3.4098360655737689</c:v>
                </c:pt>
                <c:pt idx="144">
                  <c:v>3.4098360655737689</c:v>
                </c:pt>
                <c:pt idx="145">
                  <c:v>3.4426229508196711</c:v>
                </c:pt>
                <c:pt idx="146">
                  <c:v>3.4426229508196711</c:v>
                </c:pt>
                <c:pt idx="147">
                  <c:v>3.5081967213114749</c:v>
                </c:pt>
                <c:pt idx="148">
                  <c:v>3.5409836065573752</c:v>
                </c:pt>
                <c:pt idx="149">
                  <c:v>3.5409836065573752</c:v>
                </c:pt>
                <c:pt idx="150">
                  <c:v>3.6393442622950811</c:v>
                </c:pt>
                <c:pt idx="151">
                  <c:v>3.6393442622950811</c:v>
                </c:pt>
                <c:pt idx="152">
                  <c:v>3.7704918032786869</c:v>
                </c:pt>
                <c:pt idx="153">
                  <c:v>3.7704918032786869</c:v>
                </c:pt>
                <c:pt idx="154">
                  <c:v>3.8032786885245899</c:v>
                </c:pt>
                <c:pt idx="155">
                  <c:v>3.8032786885245899</c:v>
                </c:pt>
                <c:pt idx="156">
                  <c:v>3.8360655737704921</c:v>
                </c:pt>
                <c:pt idx="157">
                  <c:v>3.8360655737704921</c:v>
                </c:pt>
                <c:pt idx="158">
                  <c:v>3.901639344262295</c:v>
                </c:pt>
                <c:pt idx="159">
                  <c:v>3.901639344262295</c:v>
                </c:pt>
                <c:pt idx="160">
                  <c:v>3.9344262295081962</c:v>
                </c:pt>
                <c:pt idx="161">
                  <c:v>3.9344262295081962</c:v>
                </c:pt>
                <c:pt idx="162">
                  <c:v>3.9672131147540992</c:v>
                </c:pt>
                <c:pt idx="163">
                  <c:v>3.9672131147540992</c:v>
                </c:pt>
                <c:pt idx="164">
                  <c:v>4</c:v>
                </c:pt>
                <c:pt idx="165">
                  <c:v>4.0327868852459003</c:v>
                </c:pt>
                <c:pt idx="166">
                  <c:v>4.0327868852459003</c:v>
                </c:pt>
                <c:pt idx="167">
                  <c:v>4.0983606557377046</c:v>
                </c:pt>
                <c:pt idx="168">
                  <c:v>4.0983606557377046</c:v>
                </c:pt>
                <c:pt idx="169">
                  <c:v>4.1311475409836067</c:v>
                </c:pt>
                <c:pt idx="170">
                  <c:v>4.1639344262295053</c:v>
                </c:pt>
                <c:pt idx="171">
                  <c:v>4.1639344262295053</c:v>
                </c:pt>
                <c:pt idx="172">
                  <c:v>4.2295081967213131</c:v>
                </c:pt>
                <c:pt idx="173">
                  <c:v>4.2295081967213131</c:v>
                </c:pt>
                <c:pt idx="174">
                  <c:v>4.2622950819672116</c:v>
                </c:pt>
                <c:pt idx="175">
                  <c:v>4.2622950819672116</c:v>
                </c:pt>
                <c:pt idx="176">
                  <c:v>4.2950819672131146</c:v>
                </c:pt>
                <c:pt idx="177">
                  <c:v>4.2950819672131146</c:v>
                </c:pt>
                <c:pt idx="178">
                  <c:v>4.327868852459015</c:v>
                </c:pt>
                <c:pt idx="179">
                  <c:v>4.327868852459015</c:v>
                </c:pt>
                <c:pt idx="180">
                  <c:v>4.3606557377049171</c:v>
                </c:pt>
                <c:pt idx="181">
                  <c:v>4.3606557377049171</c:v>
                </c:pt>
                <c:pt idx="182">
                  <c:v>4.393442622950821</c:v>
                </c:pt>
                <c:pt idx="183">
                  <c:v>4.393442622950821</c:v>
                </c:pt>
                <c:pt idx="184">
                  <c:v>4.4918032786885247</c:v>
                </c:pt>
                <c:pt idx="185">
                  <c:v>4.4918032786885247</c:v>
                </c:pt>
                <c:pt idx="186">
                  <c:v>4.557377049180328</c:v>
                </c:pt>
                <c:pt idx="187">
                  <c:v>4.557377049180328</c:v>
                </c:pt>
                <c:pt idx="188">
                  <c:v>4.6229508196721296</c:v>
                </c:pt>
                <c:pt idx="189">
                  <c:v>4.6557377049180317</c:v>
                </c:pt>
                <c:pt idx="190">
                  <c:v>4.6557377049180317</c:v>
                </c:pt>
                <c:pt idx="191">
                  <c:v>4.6885245901639347</c:v>
                </c:pt>
                <c:pt idx="192">
                  <c:v>4.6885245901639347</c:v>
                </c:pt>
                <c:pt idx="193">
                  <c:v>4.7540983606557363</c:v>
                </c:pt>
                <c:pt idx="194">
                  <c:v>4.7540983606557363</c:v>
                </c:pt>
                <c:pt idx="195">
                  <c:v>4.8196721311475406</c:v>
                </c:pt>
                <c:pt idx="196">
                  <c:v>4.8196721311475406</c:v>
                </c:pt>
                <c:pt idx="197">
                  <c:v>4.85245901639344</c:v>
                </c:pt>
                <c:pt idx="198">
                  <c:v>4.85245901639344</c:v>
                </c:pt>
                <c:pt idx="199">
                  <c:v>4.8852459016393439</c:v>
                </c:pt>
                <c:pt idx="200">
                  <c:v>4.8852459016393439</c:v>
                </c:pt>
                <c:pt idx="201">
                  <c:v>4.918032786885246</c:v>
                </c:pt>
                <c:pt idx="202">
                  <c:v>4.918032786885246</c:v>
                </c:pt>
                <c:pt idx="203">
                  <c:v>4.9836065573770476</c:v>
                </c:pt>
                <c:pt idx="204">
                  <c:v>4.9836065573770476</c:v>
                </c:pt>
                <c:pt idx="205">
                  <c:v>5</c:v>
                </c:pt>
                <c:pt idx="206">
                  <c:v>5.0163934426229506</c:v>
                </c:pt>
                <c:pt idx="207">
                  <c:v>5.049180327868851</c:v>
                </c:pt>
                <c:pt idx="208">
                  <c:v>5.049180327868851</c:v>
                </c:pt>
                <c:pt idx="209">
                  <c:v>5.1147540983606552</c:v>
                </c:pt>
                <c:pt idx="210">
                  <c:v>5.1147540983606552</c:v>
                </c:pt>
                <c:pt idx="211">
                  <c:v>5.1475409836065582</c:v>
                </c:pt>
                <c:pt idx="212">
                  <c:v>5.1475409836065582</c:v>
                </c:pt>
                <c:pt idx="213">
                  <c:v>5.1803278688524577</c:v>
                </c:pt>
                <c:pt idx="214">
                  <c:v>5.2459016393442628</c:v>
                </c:pt>
                <c:pt idx="215">
                  <c:v>5.2459016393442628</c:v>
                </c:pt>
                <c:pt idx="216">
                  <c:v>5.2786885245901649</c:v>
                </c:pt>
                <c:pt idx="217">
                  <c:v>5.2786885245901649</c:v>
                </c:pt>
                <c:pt idx="218">
                  <c:v>5.3114754098360653</c:v>
                </c:pt>
                <c:pt idx="219">
                  <c:v>5.3770491803278704</c:v>
                </c:pt>
                <c:pt idx="220">
                  <c:v>5.3770491803278704</c:v>
                </c:pt>
                <c:pt idx="221">
                  <c:v>5.4098360655737698</c:v>
                </c:pt>
                <c:pt idx="222">
                  <c:v>5.4098360655737698</c:v>
                </c:pt>
                <c:pt idx="223">
                  <c:v>5.4754098360655741</c:v>
                </c:pt>
                <c:pt idx="224">
                  <c:v>5.4754098360655741</c:v>
                </c:pt>
                <c:pt idx="225">
                  <c:v>5.5081967213114744</c:v>
                </c:pt>
                <c:pt idx="226">
                  <c:v>5.5081967213114744</c:v>
                </c:pt>
                <c:pt idx="227">
                  <c:v>5.5409836065573757</c:v>
                </c:pt>
                <c:pt idx="228">
                  <c:v>5.5409836065573757</c:v>
                </c:pt>
                <c:pt idx="229">
                  <c:v>5.5737704918032804</c:v>
                </c:pt>
                <c:pt idx="230">
                  <c:v>5.5737704918032804</c:v>
                </c:pt>
                <c:pt idx="231">
                  <c:v>5.6393442622950811</c:v>
                </c:pt>
                <c:pt idx="232">
                  <c:v>5.6393442622950811</c:v>
                </c:pt>
                <c:pt idx="233">
                  <c:v>5.7049180327868836</c:v>
                </c:pt>
                <c:pt idx="234">
                  <c:v>5.7049180327868836</c:v>
                </c:pt>
                <c:pt idx="235">
                  <c:v>5.7377049180327866</c:v>
                </c:pt>
                <c:pt idx="236">
                  <c:v>5.7377049180327866</c:v>
                </c:pt>
                <c:pt idx="237">
                  <c:v>5.8360655737704912</c:v>
                </c:pt>
                <c:pt idx="238">
                  <c:v>5.8360655737704912</c:v>
                </c:pt>
                <c:pt idx="239">
                  <c:v>5.8688524590163942</c:v>
                </c:pt>
                <c:pt idx="240">
                  <c:v>5.8688524590163942</c:v>
                </c:pt>
                <c:pt idx="241">
                  <c:v>5.9344262295081993</c:v>
                </c:pt>
                <c:pt idx="242">
                  <c:v>5.9344262295081993</c:v>
                </c:pt>
                <c:pt idx="243">
                  <c:v>6</c:v>
                </c:pt>
                <c:pt idx="244">
                  <c:v>6</c:v>
                </c:pt>
                <c:pt idx="245">
                  <c:v>6.0327868852458986</c:v>
                </c:pt>
                <c:pt idx="246">
                  <c:v>6.0327868852458986</c:v>
                </c:pt>
                <c:pt idx="247">
                  <c:v>6.0983606557377046</c:v>
                </c:pt>
                <c:pt idx="248">
                  <c:v>6.0983606557377046</c:v>
                </c:pt>
                <c:pt idx="249">
                  <c:v>6.1311475409836049</c:v>
                </c:pt>
                <c:pt idx="250">
                  <c:v>6.1311475409836049</c:v>
                </c:pt>
                <c:pt idx="251">
                  <c:v>6.1639344262295062</c:v>
                </c:pt>
                <c:pt idx="252">
                  <c:v>6.1639344262295062</c:v>
                </c:pt>
                <c:pt idx="253">
                  <c:v>6.1967213114754083</c:v>
                </c:pt>
                <c:pt idx="254">
                  <c:v>6.1967213114754083</c:v>
                </c:pt>
                <c:pt idx="255">
                  <c:v>6.2295081967213122</c:v>
                </c:pt>
                <c:pt idx="256">
                  <c:v>6.2295081967213122</c:v>
                </c:pt>
                <c:pt idx="257">
                  <c:v>6.2622950819672116</c:v>
                </c:pt>
                <c:pt idx="258">
                  <c:v>6.2622950819672116</c:v>
                </c:pt>
                <c:pt idx="259">
                  <c:v>6.4262295081967213</c:v>
                </c:pt>
                <c:pt idx="260">
                  <c:v>6.4262295081967213</c:v>
                </c:pt>
                <c:pt idx="261">
                  <c:v>6.4918032786885274</c:v>
                </c:pt>
                <c:pt idx="262">
                  <c:v>6.4918032786885274</c:v>
                </c:pt>
                <c:pt idx="263">
                  <c:v>6.5245901639344259</c:v>
                </c:pt>
                <c:pt idx="264">
                  <c:v>6.5245901639344259</c:v>
                </c:pt>
                <c:pt idx="265">
                  <c:v>6.5573770491803289</c:v>
                </c:pt>
                <c:pt idx="266">
                  <c:v>6.5573770491803289</c:v>
                </c:pt>
                <c:pt idx="267">
                  <c:v>6.6229508196721296</c:v>
                </c:pt>
                <c:pt idx="268">
                  <c:v>6.6229508196721296</c:v>
                </c:pt>
                <c:pt idx="269">
                  <c:v>6.6557377049180309</c:v>
                </c:pt>
                <c:pt idx="270">
                  <c:v>6.6557377049180309</c:v>
                </c:pt>
                <c:pt idx="271">
                  <c:v>6.7213114754098351</c:v>
                </c:pt>
                <c:pt idx="272">
                  <c:v>6.7213114754098351</c:v>
                </c:pt>
                <c:pt idx="273">
                  <c:v>6.8524590163934409</c:v>
                </c:pt>
                <c:pt idx="274">
                  <c:v>6.8852459016393421</c:v>
                </c:pt>
                <c:pt idx="275">
                  <c:v>6.8852459016393421</c:v>
                </c:pt>
                <c:pt idx="276">
                  <c:v>6.9180327868852496</c:v>
                </c:pt>
                <c:pt idx="277">
                  <c:v>6.9180327868852496</c:v>
                </c:pt>
                <c:pt idx="278">
                  <c:v>6.9508196721311473</c:v>
                </c:pt>
                <c:pt idx="279">
                  <c:v>6.9508196721311473</c:v>
                </c:pt>
                <c:pt idx="280">
                  <c:v>6.9836065573770503</c:v>
                </c:pt>
                <c:pt idx="281">
                  <c:v>6.9836065573770503</c:v>
                </c:pt>
                <c:pt idx="282">
                  <c:v>7</c:v>
                </c:pt>
                <c:pt idx="283">
                  <c:v>7.0491803278688518</c:v>
                </c:pt>
                <c:pt idx="284">
                  <c:v>7.0491803278688518</c:v>
                </c:pt>
                <c:pt idx="285">
                  <c:v>7.0819672131147504</c:v>
                </c:pt>
                <c:pt idx="286">
                  <c:v>7.0819672131147504</c:v>
                </c:pt>
                <c:pt idx="287">
                  <c:v>7.1475409836065573</c:v>
                </c:pt>
                <c:pt idx="288">
                  <c:v>7.1475409836065573</c:v>
                </c:pt>
                <c:pt idx="289">
                  <c:v>7.1803278688524603</c:v>
                </c:pt>
                <c:pt idx="290">
                  <c:v>7.1803278688524603</c:v>
                </c:pt>
                <c:pt idx="291">
                  <c:v>7.2131147540983589</c:v>
                </c:pt>
                <c:pt idx="292">
                  <c:v>7.2131147540983589</c:v>
                </c:pt>
                <c:pt idx="293">
                  <c:v>7.278688524590164</c:v>
                </c:pt>
                <c:pt idx="294">
                  <c:v>7.4098360655737698</c:v>
                </c:pt>
                <c:pt idx="295">
                  <c:v>7.4098360655737698</c:v>
                </c:pt>
                <c:pt idx="296">
                  <c:v>7.4754098360655741</c:v>
                </c:pt>
                <c:pt idx="297">
                  <c:v>7.4754098360655741</c:v>
                </c:pt>
                <c:pt idx="298">
                  <c:v>7.5409836065573748</c:v>
                </c:pt>
                <c:pt idx="299">
                  <c:v>7.5409836065573748</c:v>
                </c:pt>
                <c:pt idx="300">
                  <c:v>7.5737704918032804</c:v>
                </c:pt>
                <c:pt idx="301">
                  <c:v>7.5737704918032804</c:v>
                </c:pt>
                <c:pt idx="302">
                  <c:v>7.6065573770491799</c:v>
                </c:pt>
                <c:pt idx="303">
                  <c:v>7.672131147540985</c:v>
                </c:pt>
                <c:pt idx="304">
                  <c:v>7.672131147540985</c:v>
                </c:pt>
                <c:pt idx="305">
                  <c:v>7.7049180327868836</c:v>
                </c:pt>
                <c:pt idx="306">
                  <c:v>7.7049180327868836</c:v>
                </c:pt>
                <c:pt idx="307">
                  <c:v>7.8032786885245908</c:v>
                </c:pt>
                <c:pt idx="308">
                  <c:v>7.8032786885245908</c:v>
                </c:pt>
                <c:pt idx="309">
                  <c:v>7.8360655737704947</c:v>
                </c:pt>
                <c:pt idx="310">
                  <c:v>7.8688524590163906</c:v>
                </c:pt>
                <c:pt idx="311">
                  <c:v>7.8688524590163906</c:v>
                </c:pt>
                <c:pt idx="312">
                  <c:v>7.9016393442622963</c:v>
                </c:pt>
                <c:pt idx="313">
                  <c:v>7.9016393442622963</c:v>
                </c:pt>
                <c:pt idx="314">
                  <c:v>7.9344262295081984</c:v>
                </c:pt>
                <c:pt idx="315">
                  <c:v>7.9344262295081984</c:v>
                </c:pt>
                <c:pt idx="316">
                  <c:v>8</c:v>
                </c:pt>
                <c:pt idx="317">
                  <c:v>8</c:v>
                </c:pt>
                <c:pt idx="318">
                  <c:v>8.0327868852459048</c:v>
                </c:pt>
                <c:pt idx="319">
                  <c:v>8.0327868852459048</c:v>
                </c:pt>
                <c:pt idx="320">
                  <c:v>8.0655737704918007</c:v>
                </c:pt>
                <c:pt idx="321">
                  <c:v>8.0983606557377037</c:v>
                </c:pt>
                <c:pt idx="322">
                  <c:v>8.0983606557377037</c:v>
                </c:pt>
                <c:pt idx="323">
                  <c:v>8.1311475409836049</c:v>
                </c:pt>
                <c:pt idx="324">
                  <c:v>8.1311475409836049</c:v>
                </c:pt>
                <c:pt idx="325">
                  <c:v>8.1639344262295062</c:v>
                </c:pt>
                <c:pt idx="326">
                  <c:v>8.1639344262295062</c:v>
                </c:pt>
                <c:pt idx="327">
                  <c:v>8.1967213114754074</c:v>
                </c:pt>
                <c:pt idx="328">
                  <c:v>8.1967213114754074</c:v>
                </c:pt>
                <c:pt idx="329">
                  <c:v>8.2295081967213122</c:v>
                </c:pt>
                <c:pt idx="330">
                  <c:v>8.2295081967213122</c:v>
                </c:pt>
                <c:pt idx="331">
                  <c:v>8.2622950819672152</c:v>
                </c:pt>
                <c:pt idx="332">
                  <c:v>8.3606557377049242</c:v>
                </c:pt>
                <c:pt idx="333">
                  <c:v>8.3606557377049242</c:v>
                </c:pt>
                <c:pt idx="334">
                  <c:v>8.4262295081967178</c:v>
                </c:pt>
                <c:pt idx="335">
                  <c:v>8.4262295081967178</c:v>
                </c:pt>
                <c:pt idx="336">
                  <c:v>8.4590163934426261</c:v>
                </c:pt>
                <c:pt idx="337">
                  <c:v>8.4590163934426261</c:v>
                </c:pt>
                <c:pt idx="338">
                  <c:v>8.5245901639344233</c:v>
                </c:pt>
                <c:pt idx="339">
                  <c:v>8.5245901639344233</c:v>
                </c:pt>
                <c:pt idx="340">
                  <c:v>8.557377049180328</c:v>
                </c:pt>
                <c:pt idx="341">
                  <c:v>8.5901639344262328</c:v>
                </c:pt>
                <c:pt idx="342">
                  <c:v>8.5901639344262328</c:v>
                </c:pt>
                <c:pt idx="343">
                  <c:v>8.6557377049180335</c:v>
                </c:pt>
                <c:pt idx="344">
                  <c:v>8.6557377049180335</c:v>
                </c:pt>
                <c:pt idx="345">
                  <c:v>8.7540983606557354</c:v>
                </c:pt>
                <c:pt idx="346">
                  <c:v>8.7868852459016438</c:v>
                </c:pt>
                <c:pt idx="347">
                  <c:v>8.7868852459016438</c:v>
                </c:pt>
                <c:pt idx="348">
                  <c:v>8.8852459016393475</c:v>
                </c:pt>
                <c:pt idx="349">
                  <c:v>8.8852459016393475</c:v>
                </c:pt>
                <c:pt idx="350">
                  <c:v>8.9508196721311517</c:v>
                </c:pt>
                <c:pt idx="351">
                  <c:v>8.9508196721311517</c:v>
                </c:pt>
                <c:pt idx="352">
                  <c:v>8.9836065573770494</c:v>
                </c:pt>
                <c:pt idx="353">
                  <c:v>8.9836065573770494</c:v>
                </c:pt>
                <c:pt idx="354">
                  <c:v>9</c:v>
                </c:pt>
                <c:pt idx="355">
                  <c:v>9.0163934426229488</c:v>
                </c:pt>
                <c:pt idx="356">
                  <c:v>9.0819672131147513</c:v>
                </c:pt>
                <c:pt idx="357">
                  <c:v>9.0819672131147513</c:v>
                </c:pt>
                <c:pt idx="358">
                  <c:v>9.213114754098358</c:v>
                </c:pt>
                <c:pt idx="359">
                  <c:v>9.213114754098358</c:v>
                </c:pt>
                <c:pt idx="360">
                  <c:v>9.2459016393442628</c:v>
                </c:pt>
                <c:pt idx="361">
                  <c:v>9.2459016393442628</c:v>
                </c:pt>
                <c:pt idx="362">
                  <c:v>9.3114754098360635</c:v>
                </c:pt>
                <c:pt idx="363">
                  <c:v>9.34426229508197</c:v>
                </c:pt>
                <c:pt idx="364">
                  <c:v>9.34426229508197</c:v>
                </c:pt>
                <c:pt idx="365">
                  <c:v>9.3770491803278695</c:v>
                </c:pt>
                <c:pt idx="366">
                  <c:v>9.3770491803278695</c:v>
                </c:pt>
                <c:pt idx="367">
                  <c:v>9.5081967213114709</c:v>
                </c:pt>
                <c:pt idx="368">
                  <c:v>9.5081967213114709</c:v>
                </c:pt>
                <c:pt idx="369">
                  <c:v>9.5409836065573739</c:v>
                </c:pt>
                <c:pt idx="370">
                  <c:v>9.5409836065573739</c:v>
                </c:pt>
                <c:pt idx="371">
                  <c:v>9.5737704918032822</c:v>
                </c:pt>
                <c:pt idx="372">
                  <c:v>9.5737704918032822</c:v>
                </c:pt>
                <c:pt idx="373">
                  <c:v>9.6065573770491799</c:v>
                </c:pt>
                <c:pt idx="374">
                  <c:v>9.6065573770491799</c:v>
                </c:pt>
                <c:pt idx="375">
                  <c:v>9.70491803278688</c:v>
                </c:pt>
                <c:pt idx="376">
                  <c:v>9.70491803278688</c:v>
                </c:pt>
                <c:pt idx="377">
                  <c:v>9.7377049180327848</c:v>
                </c:pt>
                <c:pt idx="378">
                  <c:v>9.7377049180327848</c:v>
                </c:pt>
                <c:pt idx="379">
                  <c:v>9.7704918032786878</c:v>
                </c:pt>
                <c:pt idx="380">
                  <c:v>9.7704918032786878</c:v>
                </c:pt>
                <c:pt idx="381">
                  <c:v>9.8032786885245908</c:v>
                </c:pt>
                <c:pt idx="382">
                  <c:v>9.8032786885245908</c:v>
                </c:pt>
                <c:pt idx="383">
                  <c:v>9.8360655737704921</c:v>
                </c:pt>
                <c:pt idx="384">
                  <c:v>9.8360655737704921</c:v>
                </c:pt>
                <c:pt idx="385">
                  <c:v>9.9016393442622981</c:v>
                </c:pt>
                <c:pt idx="386">
                  <c:v>9.9016393442622981</c:v>
                </c:pt>
                <c:pt idx="387">
                  <c:v>9.9344262295081993</c:v>
                </c:pt>
                <c:pt idx="388">
                  <c:v>9.9344262295081993</c:v>
                </c:pt>
                <c:pt idx="389">
                  <c:v>9.9672131147540988</c:v>
                </c:pt>
                <c:pt idx="390">
                  <c:v>9.9672131147540988</c:v>
                </c:pt>
                <c:pt idx="391">
                  <c:v>10</c:v>
                </c:pt>
                <c:pt idx="392">
                  <c:v>10</c:v>
                </c:pt>
                <c:pt idx="393">
                  <c:v>10.032786885245899</c:v>
                </c:pt>
                <c:pt idx="394">
                  <c:v>10.032786885245899</c:v>
                </c:pt>
                <c:pt idx="395">
                  <c:v>10.065573770491801</c:v>
                </c:pt>
                <c:pt idx="396">
                  <c:v>10.065573770491801</c:v>
                </c:pt>
                <c:pt idx="397">
                  <c:v>10.0983606557377</c:v>
                </c:pt>
                <c:pt idx="398">
                  <c:v>10.0983606557377</c:v>
                </c:pt>
                <c:pt idx="399">
                  <c:v>10.13114754098361</c:v>
                </c:pt>
                <c:pt idx="400">
                  <c:v>10.13114754098361</c:v>
                </c:pt>
                <c:pt idx="401">
                  <c:v>10.16393442622951</c:v>
                </c:pt>
                <c:pt idx="402">
                  <c:v>10.16393442622951</c:v>
                </c:pt>
                <c:pt idx="403">
                  <c:v>10.22950819672131</c:v>
                </c:pt>
                <c:pt idx="404">
                  <c:v>10.22950819672131</c:v>
                </c:pt>
                <c:pt idx="405">
                  <c:v>10.26229508196721</c:v>
                </c:pt>
                <c:pt idx="406">
                  <c:v>10.26229508196721</c:v>
                </c:pt>
                <c:pt idx="407">
                  <c:v>10.29508196721312</c:v>
                </c:pt>
                <c:pt idx="408">
                  <c:v>10.327868852459019</c:v>
                </c:pt>
                <c:pt idx="409">
                  <c:v>10.327868852459019</c:v>
                </c:pt>
                <c:pt idx="410">
                  <c:v>10.360655737704921</c:v>
                </c:pt>
                <c:pt idx="411">
                  <c:v>10.360655737704921</c:v>
                </c:pt>
                <c:pt idx="412">
                  <c:v>10.39344262295082</c:v>
                </c:pt>
                <c:pt idx="413">
                  <c:v>10.39344262295082</c:v>
                </c:pt>
                <c:pt idx="414">
                  <c:v>10.45901639344263</c:v>
                </c:pt>
                <c:pt idx="415">
                  <c:v>10.622950819672131</c:v>
                </c:pt>
                <c:pt idx="416">
                  <c:v>10.622950819672131</c:v>
                </c:pt>
                <c:pt idx="417">
                  <c:v>10.65573770491803</c:v>
                </c:pt>
                <c:pt idx="418">
                  <c:v>10.65573770491803</c:v>
                </c:pt>
                <c:pt idx="419">
                  <c:v>10.68852459016394</c:v>
                </c:pt>
                <c:pt idx="420">
                  <c:v>10.68852459016394</c:v>
                </c:pt>
                <c:pt idx="421">
                  <c:v>10.721311475409831</c:v>
                </c:pt>
                <c:pt idx="422">
                  <c:v>10.721311475409831</c:v>
                </c:pt>
                <c:pt idx="423">
                  <c:v>10.754098360655741</c:v>
                </c:pt>
                <c:pt idx="424">
                  <c:v>10.754098360655741</c:v>
                </c:pt>
                <c:pt idx="425">
                  <c:v>10.78688524590164</c:v>
                </c:pt>
                <c:pt idx="426">
                  <c:v>10.78688524590164</c:v>
                </c:pt>
                <c:pt idx="427">
                  <c:v>10.81967213114754</c:v>
                </c:pt>
                <c:pt idx="428">
                  <c:v>10.81967213114754</c:v>
                </c:pt>
                <c:pt idx="429">
                  <c:v>10.852459016393439</c:v>
                </c:pt>
                <c:pt idx="430">
                  <c:v>10.852459016393439</c:v>
                </c:pt>
                <c:pt idx="431">
                  <c:v>10.885245901639349</c:v>
                </c:pt>
                <c:pt idx="432">
                  <c:v>10.885245901639349</c:v>
                </c:pt>
                <c:pt idx="433">
                  <c:v>10.91803278688525</c:v>
                </c:pt>
                <c:pt idx="434">
                  <c:v>10.91803278688525</c:v>
                </c:pt>
                <c:pt idx="435">
                  <c:v>10.95081967213115</c:v>
                </c:pt>
                <c:pt idx="436">
                  <c:v>10.95081967213115</c:v>
                </c:pt>
                <c:pt idx="437">
                  <c:v>11</c:v>
                </c:pt>
                <c:pt idx="438">
                  <c:v>11.08196721311475</c:v>
                </c:pt>
                <c:pt idx="439">
                  <c:v>11.08196721311475</c:v>
                </c:pt>
                <c:pt idx="440">
                  <c:v>11.11475409836066</c:v>
                </c:pt>
                <c:pt idx="441">
                  <c:v>11.11475409836066</c:v>
                </c:pt>
                <c:pt idx="442">
                  <c:v>11.147540983606561</c:v>
                </c:pt>
                <c:pt idx="443">
                  <c:v>11.147540983606561</c:v>
                </c:pt>
                <c:pt idx="444">
                  <c:v>11.18032786885246</c:v>
                </c:pt>
                <c:pt idx="445">
                  <c:v>11.18032786885246</c:v>
                </c:pt>
                <c:pt idx="446">
                  <c:v>11.21311475409836</c:v>
                </c:pt>
                <c:pt idx="447">
                  <c:v>11.21311475409836</c:v>
                </c:pt>
                <c:pt idx="448">
                  <c:v>11.245901639344259</c:v>
                </c:pt>
                <c:pt idx="449">
                  <c:v>11.245901639344259</c:v>
                </c:pt>
                <c:pt idx="450">
                  <c:v>11.27868852459016</c:v>
                </c:pt>
                <c:pt idx="451">
                  <c:v>11.27868852459016</c:v>
                </c:pt>
                <c:pt idx="452">
                  <c:v>11.34426229508197</c:v>
                </c:pt>
                <c:pt idx="453">
                  <c:v>11.34426229508197</c:v>
                </c:pt>
                <c:pt idx="454">
                  <c:v>11.409836065573771</c:v>
                </c:pt>
                <c:pt idx="455">
                  <c:v>11.409836065573771</c:v>
                </c:pt>
                <c:pt idx="456">
                  <c:v>11.44262295081967</c:v>
                </c:pt>
                <c:pt idx="457">
                  <c:v>11.47540983606558</c:v>
                </c:pt>
                <c:pt idx="458">
                  <c:v>11.47540983606558</c:v>
                </c:pt>
                <c:pt idx="459">
                  <c:v>11.50819672131148</c:v>
                </c:pt>
                <c:pt idx="460">
                  <c:v>11.50819672131148</c:v>
                </c:pt>
                <c:pt idx="461">
                  <c:v>11.57377049180328</c:v>
                </c:pt>
                <c:pt idx="462">
                  <c:v>11.57377049180328</c:v>
                </c:pt>
                <c:pt idx="463">
                  <c:v>11.60655737704918</c:v>
                </c:pt>
                <c:pt idx="464">
                  <c:v>11.60655737704918</c:v>
                </c:pt>
                <c:pt idx="465">
                  <c:v>11.639344262295079</c:v>
                </c:pt>
                <c:pt idx="466">
                  <c:v>11.639344262295079</c:v>
                </c:pt>
                <c:pt idx="467">
                  <c:v>11.672131147540981</c:v>
                </c:pt>
                <c:pt idx="468">
                  <c:v>11.672131147540981</c:v>
                </c:pt>
                <c:pt idx="469">
                  <c:v>11.70491803278688</c:v>
                </c:pt>
                <c:pt idx="470">
                  <c:v>11.70491803278688</c:v>
                </c:pt>
                <c:pt idx="471">
                  <c:v>11.737704918032801</c:v>
                </c:pt>
                <c:pt idx="472">
                  <c:v>11.737704918032801</c:v>
                </c:pt>
                <c:pt idx="473">
                  <c:v>11.77049180327869</c:v>
                </c:pt>
                <c:pt idx="474">
                  <c:v>11.77049180327869</c:v>
                </c:pt>
                <c:pt idx="475">
                  <c:v>11.83606557377049</c:v>
                </c:pt>
                <c:pt idx="476">
                  <c:v>11.83606557377049</c:v>
                </c:pt>
                <c:pt idx="477">
                  <c:v>11.8688524590164</c:v>
                </c:pt>
                <c:pt idx="478">
                  <c:v>11.8688524590164</c:v>
                </c:pt>
                <c:pt idx="479">
                  <c:v>11.9016393442623</c:v>
                </c:pt>
                <c:pt idx="480">
                  <c:v>11.9016393442623</c:v>
                </c:pt>
                <c:pt idx="481">
                  <c:v>11.93442622950821</c:v>
                </c:pt>
                <c:pt idx="482">
                  <c:v>11.93442622950821</c:v>
                </c:pt>
                <c:pt idx="483">
                  <c:v>11.967213114754101</c:v>
                </c:pt>
                <c:pt idx="484">
                  <c:v>11.967213114754101</c:v>
                </c:pt>
                <c:pt idx="485">
                  <c:v>12</c:v>
                </c:pt>
                <c:pt idx="486">
                  <c:v>12</c:v>
                </c:pt>
                <c:pt idx="487">
                  <c:v>12.032786885245899</c:v>
                </c:pt>
                <c:pt idx="488">
                  <c:v>12.032786885245899</c:v>
                </c:pt>
                <c:pt idx="489">
                  <c:v>12.0983606557377</c:v>
                </c:pt>
                <c:pt idx="490">
                  <c:v>12.0983606557377</c:v>
                </c:pt>
                <c:pt idx="491">
                  <c:v>12.16393442622951</c:v>
                </c:pt>
                <c:pt idx="492">
                  <c:v>12.22950819672131</c:v>
                </c:pt>
                <c:pt idx="493">
                  <c:v>12.22950819672131</c:v>
                </c:pt>
                <c:pt idx="494">
                  <c:v>12.26229508196721</c:v>
                </c:pt>
                <c:pt idx="495">
                  <c:v>12.26229508196721</c:v>
                </c:pt>
                <c:pt idx="496">
                  <c:v>12.295081967213109</c:v>
                </c:pt>
                <c:pt idx="497">
                  <c:v>12.327868852459019</c:v>
                </c:pt>
                <c:pt idx="498">
                  <c:v>12.42622950819672</c:v>
                </c:pt>
                <c:pt idx="499">
                  <c:v>12.42622950819672</c:v>
                </c:pt>
                <c:pt idx="500">
                  <c:v>12.45901639344263</c:v>
                </c:pt>
                <c:pt idx="501">
                  <c:v>12.45901639344263</c:v>
                </c:pt>
                <c:pt idx="502">
                  <c:v>12.52459016393442</c:v>
                </c:pt>
                <c:pt idx="503">
                  <c:v>12.52459016393442</c:v>
                </c:pt>
                <c:pt idx="504">
                  <c:v>12.590163934426229</c:v>
                </c:pt>
                <c:pt idx="505">
                  <c:v>12.622950819672131</c:v>
                </c:pt>
                <c:pt idx="506">
                  <c:v>12.68852459016394</c:v>
                </c:pt>
                <c:pt idx="507">
                  <c:v>12.68852459016394</c:v>
                </c:pt>
                <c:pt idx="508">
                  <c:v>12.721311475409831</c:v>
                </c:pt>
                <c:pt idx="509">
                  <c:v>12.721311475409831</c:v>
                </c:pt>
                <c:pt idx="510">
                  <c:v>12.754098360655741</c:v>
                </c:pt>
                <c:pt idx="511">
                  <c:v>12.754098360655741</c:v>
                </c:pt>
                <c:pt idx="512">
                  <c:v>12.78688524590164</c:v>
                </c:pt>
                <c:pt idx="513">
                  <c:v>12.81967213114754</c:v>
                </c:pt>
                <c:pt idx="514">
                  <c:v>12.81967213114754</c:v>
                </c:pt>
                <c:pt idx="515">
                  <c:v>12.852459016393439</c:v>
                </c:pt>
                <c:pt idx="516">
                  <c:v>12.852459016393439</c:v>
                </c:pt>
                <c:pt idx="517">
                  <c:v>12.88524590163934</c:v>
                </c:pt>
                <c:pt idx="518">
                  <c:v>12.88524590163934</c:v>
                </c:pt>
                <c:pt idx="519">
                  <c:v>12.91803278688525</c:v>
                </c:pt>
                <c:pt idx="520">
                  <c:v>12.91803278688525</c:v>
                </c:pt>
                <c:pt idx="521">
                  <c:v>12.95081967213115</c:v>
                </c:pt>
                <c:pt idx="522">
                  <c:v>12.95081967213115</c:v>
                </c:pt>
                <c:pt idx="523">
                  <c:v>12.983606557377049</c:v>
                </c:pt>
                <c:pt idx="524">
                  <c:v>12.983606557377049</c:v>
                </c:pt>
                <c:pt idx="525">
                  <c:v>13</c:v>
                </c:pt>
                <c:pt idx="526">
                  <c:v>13.016393442622951</c:v>
                </c:pt>
                <c:pt idx="527">
                  <c:v>13.016393442622951</c:v>
                </c:pt>
                <c:pt idx="528">
                  <c:v>13.04918032786885</c:v>
                </c:pt>
                <c:pt idx="529">
                  <c:v>13.04918032786885</c:v>
                </c:pt>
                <c:pt idx="530">
                  <c:v>13.11475409836066</c:v>
                </c:pt>
                <c:pt idx="531">
                  <c:v>13.11475409836066</c:v>
                </c:pt>
                <c:pt idx="532">
                  <c:v>13.147540983606561</c:v>
                </c:pt>
                <c:pt idx="533">
                  <c:v>13.18032786885246</c:v>
                </c:pt>
                <c:pt idx="534">
                  <c:v>13.18032786885246</c:v>
                </c:pt>
                <c:pt idx="535">
                  <c:v>13.245901639344259</c:v>
                </c:pt>
                <c:pt idx="536">
                  <c:v>13.245901639344259</c:v>
                </c:pt>
                <c:pt idx="537">
                  <c:v>13.27868852459016</c:v>
                </c:pt>
                <c:pt idx="538">
                  <c:v>13.27868852459016</c:v>
                </c:pt>
                <c:pt idx="539">
                  <c:v>13.31147540983606</c:v>
                </c:pt>
                <c:pt idx="540">
                  <c:v>13.377049180327869</c:v>
                </c:pt>
                <c:pt idx="541">
                  <c:v>13.377049180327869</c:v>
                </c:pt>
                <c:pt idx="542">
                  <c:v>13.47540983606558</c:v>
                </c:pt>
                <c:pt idx="543">
                  <c:v>13.47540983606558</c:v>
                </c:pt>
                <c:pt idx="544">
                  <c:v>13.508196721311471</c:v>
                </c:pt>
                <c:pt idx="545">
                  <c:v>13.508196721311471</c:v>
                </c:pt>
                <c:pt idx="546">
                  <c:v>13.57377049180328</c:v>
                </c:pt>
                <c:pt idx="547">
                  <c:v>13.60655737704918</c:v>
                </c:pt>
                <c:pt idx="548">
                  <c:v>13.60655737704918</c:v>
                </c:pt>
                <c:pt idx="549">
                  <c:v>13.639344262295079</c:v>
                </c:pt>
                <c:pt idx="550">
                  <c:v>13.737704918032801</c:v>
                </c:pt>
                <c:pt idx="551">
                  <c:v>13.737704918032801</c:v>
                </c:pt>
                <c:pt idx="552">
                  <c:v>13.770491803278681</c:v>
                </c:pt>
                <c:pt idx="553">
                  <c:v>13.803278688524591</c:v>
                </c:pt>
                <c:pt idx="554">
                  <c:v>13.836065573770499</c:v>
                </c:pt>
                <c:pt idx="555">
                  <c:v>13.836065573770499</c:v>
                </c:pt>
                <c:pt idx="556">
                  <c:v>13.8688524590164</c:v>
                </c:pt>
                <c:pt idx="557">
                  <c:v>13.967213114754101</c:v>
                </c:pt>
                <c:pt idx="558">
                  <c:v>13.967213114754101</c:v>
                </c:pt>
                <c:pt idx="559">
                  <c:v>14</c:v>
                </c:pt>
                <c:pt idx="560">
                  <c:v>14</c:v>
                </c:pt>
                <c:pt idx="561">
                  <c:v>14.032786885245899</c:v>
                </c:pt>
                <c:pt idx="562">
                  <c:v>14.065573770491801</c:v>
                </c:pt>
                <c:pt idx="563">
                  <c:v>14.0983606557377</c:v>
                </c:pt>
                <c:pt idx="564">
                  <c:v>14.0983606557377</c:v>
                </c:pt>
                <c:pt idx="565">
                  <c:v>14.163934426229501</c:v>
                </c:pt>
                <c:pt idx="566">
                  <c:v>14.163934426229501</c:v>
                </c:pt>
                <c:pt idx="567">
                  <c:v>14.196721311475409</c:v>
                </c:pt>
                <c:pt idx="568">
                  <c:v>14.196721311475409</c:v>
                </c:pt>
                <c:pt idx="569">
                  <c:v>14.295081967213109</c:v>
                </c:pt>
                <c:pt idx="570">
                  <c:v>14.295081967213109</c:v>
                </c:pt>
                <c:pt idx="571">
                  <c:v>14.327868852459011</c:v>
                </c:pt>
                <c:pt idx="572">
                  <c:v>14.327868852459011</c:v>
                </c:pt>
                <c:pt idx="573">
                  <c:v>14.360655737704921</c:v>
                </c:pt>
                <c:pt idx="574">
                  <c:v>14.39344262295082</c:v>
                </c:pt>
                <c:pt idx="575">
                  <c:v>14.39344262295082</c:v>
                </c:pt>
                <c:pt idx="576">
                  <c:v>14.42622950819672</c:v>
                </c:pt>
                <c:pt idx="577">
                  <c:v>14.42622950819672</c:v>
                </c:pt>
                <c:pt idx="578">
                  <c:v>14.459016393442621</c:v>
                </c:pt>
                <c:pt idx="579">
                  <c:v>14.459016393442621</c:v>
                </c:pt>
                <c:pt idx="580">
                  <c:v>14.49180327868852</c:v>
                </c:pt>
                <c:pt idx="581">
                  <c:v>14.49180327868852</c:v>
                </c:pt>
                <c:pt idx="582">
                  <c:v>14.557377049180319</c:v>
                </c:pt>
                <c:pt idx="583">
                  <c:v>14.557377049180319</c:v>
                </c:pt>
                <c:pt idx="584">
                  <c:v>14.622950819672131</c:v>
                </c:pt>
                <c:pt idx="585">
                  <c:v>14.65573770491803</c:v>
                </c:pt>
                <c:pt idx="586">
                  <c:v>14.65573770491803</c:v>
                </c:pt>
                <c:pt idx="587">
                  <c:v>14.68852459016394</c:v>
                </c:pt>
                <c:pt idx="588">
                  <c:v>14.72131147540984</c:v>
                </c:pt>
                <c:pt idx="589">
                  <c:v>14.81967213114754</c:v>
                </c:pt>
                <c:pt idx="590">
                  <c:v>14.81967213114754</c:v>
                </c:pt>
                <c:pt idx="591">
                  <c:v>14.852459016393439</c:v>
                </c:pt>
                <c:pt idx="592">
                  <c:v>14.852459016393439</c:v>
                </c:pt>
                <c:pt idx="593">
                  <c:v>14.88524590163934</c:v>
                </c:pt>
                <c:pt idx="594">
                  <c:v>14.88524590163934</c:v>
                </c:pt>
                <c:pt idx="595">
                  <c:v>14.91803278688525</c:v>
                </c:pt>
                <c:pt idx="596">
                  <c:v>14.91803278688525</c:v>
                </c:pt>
                <c:pt idx="597">
                  <c:v>14.983606557377049</c:v>
                </c:pt>
                <c:pt idx="598">
                  <c:v>14.983606557377049</c:v>
                </c:pt>
                <c:pt idx="599">
                  <c:v>15</c:v>
                </c:pt>
                <c:pt idx="600">
                  <c:v>15.016393442622951</c:v>
                </c:pt>
                <c:pt idx="601">
                  <c:v>15.016393442622951</c:v>
                </c:pt>
                <c:pt idx="602">
                  <c:v>15.04918032786885</c:v>
                </c:pt>
                <c:pt idx="603">
                  <c:v>15.04918032786885</c:v>
                </c:pt>
                <c:pt idx="604">
                  <c:v>15.08196721311475</c:v>
                </c:pt>
                <c:pt idx="605">
                  <c:v>15.08196721311475</c:v>
                </c:pt>
                <c:pt idx="606">
                  <c:v>15.147540983606561</c:v>
                </c:pt>
                <c:pt idx="607">
                  <c:v>15.147540983606561</c:v>
                </c:pt>
                <c:pt idx="608">
                  <c:v>15.18032786885246</c:v>
                </c:pt>
                <c:pt idx="609">
                  <c:v>15.18032786885246</c:v>
                </c:pt>
                <c:pt idx="610">
                  <c:v>15.21311475409836</c:v>
                </c:pt>
                <c:pt idx="611">
                  <c:v>15.21311475409836</c:v>
                </c:pt>
                <c:pt idx="612">
                  <c:v>15.245901639344259</c:v>
                </c:pt>
                <c:pt idx="613">
                  <c:v>15.34426229508197</c:v>
                </c:pt>
                <c:pt idx="614">
                  <c:v>15.377049180327869</c:v>
                </c:pt>
                <c:pt idx="615">
                  <c:v>15.377049180327869</c:v>
                </c:pt>
                <c:pt idx="616">
                  <c:v>15.409836065573771</c:v>
                </c:pt>
                <c:pt idx="617">
                  <c:v>15.409836065573771</c:v>
                </c:pt>
                <c:pt idx="618">
                  <c:v>15.44262295081967</c:v>
                </c:pt>
                <c:pt idx="619">
                  <c:v>15.508196721311471</c:v>
                </c:pt>
                <c:pt idx="620">
                  <c:v>15.508196721311471</c:v>
                </c:pt>
                <c:pt idx="621">
                  <c:v>15.540983606557379</c:v>
                </c:pt>
                <c:pt idx="622">
                  <c:v>15.540983606557379</c:v>
                </c:pt>
                <c:pt idx="623">
                  <c:v>15.57377049180328</c:v>
                </c:pt>
                <c:pt idx="624">
                  <c:v>15.57377049180328</c:v>
                </c:pt>
                <c:pt idx="625">
                  <c:v>15.639344262295079</c:v>
                </c:pt>
                <c:pt idx="626">
                  <c:v>15.639344262295079</c:v>
                </c:pt>
                <c:pt idx="627">
                  <c:v>15.70491803278688</c:v>
                </c:pt>
                <c:pt idx="628">
                  <c:v>15.70491803278688</c:v>
                </c:pt>
                <c:pt idx="629">
                  <c:v>15.73770491803279</c:v>
                </c:pt>
                <c:pt idx="630">
                  <c:v>15.803278688524591</c:v>
                </c:pt>
                <c:pt idx="631">
                  <c:v>15.803278688524591</c:v>
                </c:pt>
                <c:pt idx="632">
                  <c:v>15.836065573770499</c:v>
                </c:pt>
                <c:pt idx="633">
                  <c:v>15.8688524590164</c:v>
                </c:pt>
                <c:pt idx="634">
                  <c:v>15.8688524590164</c:v>
                </c:pt>
                <c:pt idx="635">
                  <c:v>15.934426229508199</c:v>
                </c:pt>
                <c:pt idx="636">
                  <c:v>15.934426229508199</c:v>
                </c:pt>
                <c:pt idx="637">
                  <c:v>16</c:v>
                </c:pt>
                <c:pt idx="638">
                  <c:v>16</c:v>
                </c:pt>
                <c:pt idx="639">
                  <c:v>16.065573770491799</c:v>
                </c:pt>
                <c:pt idx="640">
                  <c:v>16.065573770491799</c:v>
                </c:pt>
                <c:pt idx="641">
                  <c:v>16.0983606557377</c:v>
                </c:pt>
                <c:pt idx="642">
                  <c:v>16.0983606557377</c:v>
                </c:pt>
                <c:pt idx="643">
                  <c:v>16.163934426229499</c:v>
                </c:pt>
                <c:pt idx="644">
                  <c:v>16.163934426229499</c:v>
                </c:pt>
                <c:pt idx="645">
                  <c:v>16.196721311475411</c:v>
                </c:pt>
                <c:pt idx="646">
                  <c:v>16.196721311475411</c:v>
                </c:pt>
                <c:pt idx="647">
                  <c:v>16.229508196721309</c:v>
                </c:pt>
                <c:pt idx="648">
                  <c:v>16.229508196721309</c:v>
                </c:pt>
                <c:pt idx="649">
                  <c:v>16.26229508196721</c:v>
                </c:pt>
                <c:pt idx="650">
                  <c:v>16.26229508196721</c:v>
                </c:pt>
                <c:pt idx="651">
                  <c:v>16.295081967213111</c:v>
                </c:pt>
                <c:pt idx="652">
                  <c:v>16.295081967213111</c:v>
                </c:pt>
                <c:pt idx="653">
                  <c:v>16.327868852459019</c:v>
                </c:pt>
                <c:pt idx="654">
                  <c:v>16.327868852459019</c:v>
                </c:pt>
                <c:pt idx="655">
                  <c:v>16.360655737704921</c:v>
                </c:pt>
                <c:pt idx="656">
                  <c:v>16.360655737704921</c:v>
                </c:pt>
                <c:pt idx="657">
                  <c:v>16.393442622950811</c:v>
                </c:pt>
                <c:pt idx="658">
                  <c:v>16.393442622950811</c:v>
                </c:pt>
                <c:pt idx="659">
                  <c:v>16.426229508196709</c:v>
                </c:pt>
                <c:pt idx="660">
                  <c:v>16.426229508196709</c:v>
                </c:pt>
                <c:pt idx="661">
                  <c:v>16.459016393442631</c:v>
                </c:pt>
                <c:pt idx="662">
                  <c:v>16.459016393442631</c:v>
                </c:pt>
                <c:pt idx="663">
                  <c:v>16.491803278688529</c:v>
                </c:pt>
                <c:pt idx="664">
                  <c:v>16.52459016393443</c:v>
                </c:pt>
                <c:pt idx="665">
                  <c:v>16.52459016393443</c:v>
                </c:pt>
                <c:pt idx="666">
                  <c:v>16.622950819672131</c:v>
                </c:pt>
                <c:pt idx="667">
                  <c:v>16.622950819672131</c:v>
                </c:pt>
                <c:pt idx="668">
                  <c:v>16.655737704918032</c:v>
                </c:pt>
                <c:pt idx="669">
                  <c:v>16.655737704918032</c:v>
                </c:pt>
                <c:pt idx="670">
                  <c:v>16.721311475409831</c:v>
                </c:pt>
                <c:pt idx="671">
                  <c:v>16.721311475409831</c:v>
                </c:pt>
                <c:pt idx="672">
                  <c:v>16.754098360655739</c:v>
                </c:pt>
                <c:pt idx="673">
                  <c:v>16.754098360655739</c:v>
                </c:pt>
                <c:pt idx="674">
                  <c:v>16.852459016393439</c:v>
                </c:pt>
                <c:pt idx="675">
                  <c:v>16.852459016393439</c:v>
                </c:pt>
                <c:pt idx="676">
                  <c:v>16.88524590163934</c:v>
                </c:pt>
                <c:pt idx="677">
                  <c:v>16.88524590163934</c:v>
                </c:pt>
                <c:pt idx="678">
                  <c:v>16.918032786885249</c:v>
                </c:pt>
                <c:pt idx="679">
                  <c:v>16.918032786885249</c:v>
                </c:pt>
                <c:pt idx="680">
                  <c:v>16.950819672131139</c:v>
                </c:pt>
                <c:pt idx="681">
                  <c:v>16.950819672131139</c:v>
                </c:pt>
                <c:pt idx="682">
                  <c:v>16.983606557377041</c:v>
                </c:pt>
                <c:pt idx="683">
                  <c:v>16.983606557377041</c:v>
                </c:pt>
                <c:pt idx="684">
                  <c:v>17</c:v>
                </c:pt>
                <c:pt idx="685">
                  <c:v>17.016393442622949</c:v>
                </c:pt>
                <c:pt idx="686">
                  <c:v>17.016393442622949</c:v>
                </c:pt>
                <c:pt idx="687">
                  <c:v>17.04918032786885</c:v>
                </c:pt>
                <c:pt idx="688">
                  <c:v>17.04918032786885</c:v>
                </c:pt>
                <c:pt idx="689">
                  <c:v>17.081967213114751</c:v>
                </c:pt>
                <c:pt idx="690">
                  <c:v>17.147540983606561</c:v>
                </c:pt>
                <c:pt idx="691">
                  <c:v>17.147540983606561</c:v>
                </c:pt>
                <c:pt idx="692">
                  <c:v>17.180327868852459</c:v>
                </c:pt>
                <c:pt idx="693">
                  <c:v>17.21311475409836</c:v>
                </c:pt>
                <c:pt idx="694">
                  <c:v>17.278688524590159</c:v>
                </c:pt>
                <c:pt idx="695">
                  <c:v>17.278688524590159</c:v>
                </c:pt>
                <c:pt idx="696">
                  <c:v>17.377049180327869</c:v>
                </c:pt>
                <c:pt idx="697">
                  <c:v>17.409836065573771</c:v>
                </c:pt>
                <c:pt idx="698">
                  <c:v>17.409836065573771</c:v>
                </c:pt>
                <c:pt idx="699">
                  <c:v>17.47540983606557</c:v>
                </c:pt>
                <c:pt idx="700">
                  <c:v>17.47540983606557</c:v>
                </c:pt>
                <c:pt idx="701">
                  <c:v>17.508196721311471</c:v>
                </c:pt>
                <c:pt idx="702">
                  <c:v>17.508196721311471</c:v>
                </c:pt>
                <c:pt idx="703">
                  <c:v>17.57377049180328</c:v>
                </c:pt>
                <c:pt idx="704">
                  <c:v>17.57377049180328</c:v>
                </c:pt>
                <c:pt idx="705">
                  <c:v>17.639344262295079</c:v>
                </c:pt>
                <c:pt idx="706">
                  <c:v>17.704918032786871</c:v>
                </c:pt>
                <c:pt idx="707">
                  <c:v>17.704918032786871</c:v>
                </c:pt>
                <c:pt idx="708">
                  <c:v>17.737704918032801</c:v>
                </c:pt>
                <c:pt idx="709">
                  <c:v>17.770491803278691</c:v>
                </c:pt>
                <c:pt idx="710">
                  <c:v>17.770491803278691</c:v>
                </c:pt>
                <c:pt idx="711">
                  <c:v>17.836065573770501</c:v>
                </c:pt>
                <c:pt idx="712">
                  <c:v>17.868852459016399</c:v>
                </c:pt>
                <c:pt idx="713">
                  <c:v>17.868852459016399</c:v>
                </c:pt>
                <c:pt idx="714">
                  <c:v>17.901639344262289</c:v>
                </c:pt>
                <c:pt idx="715">
                  <c:v>17.901639344262289</c:v>
                </c:pt>
                <c:pt idx="716">
                  <c:v>17.93442622950819</c:v>
                </c:pt>
                <c:pt idx="717">
                  <c:v>17.93442622950819</c:v>
                </c:pt>
                <c:pt idx="718">
                  <c:v>18</c:v>
                </c:pt>
                <c:pt idx="719">
                  <c:v>18</c:v>
                </c:pt>
                <c:pt idx="720">
                  <c:v>18.032786885245891</c:v>
                </c:pt>
                <c:pt idx="721">
                  <c:v>18.032786885245891</c:v>
                </c:pt>
                <c:pt idx="722">
                  <c:v>18.065573770491799</c:v>
                </c:pt>
                <c:pt idx="723">
                  <c:v>18.065573770491799</c:v>
                </c:pt>
                <c:pt idx="724">
                  <c:v>18.131147540983601</c:v>
                </c:pt>
                <c:pt idx="725">
                  <c:v>18.131147540983601</c:v>
                </c:pt>
                <c:pt idx="726">
                  <c:v>18.16393442622951</c:v>
                </c:pt>
                <c:pt idx="727">
                  <c:v>18.16393442622951</c:v>
                </c:pt>
                <c:pt idx="728">
                  <c:v>18.196721311475411</c:v>
                </c:pt>
                <c:pt idx="729">
                  <c:v>18.229508196721309</c:v>
                </c:pt>
                <c:pt idx="730">
                  <c:v>18.229508196721309</c:v>
                </c:pt>
                <c:pt idx="731">
                  <c:v>18.26229508196721</c:v>
                </c:pt>
                <c:pt idx="732">
                  <c:v>18.295081967213129</c:v>
                </c:pt>
                <c:pt idx="733">
                  <c:v>18.295081967213129</c:v>
                </c:pt>
                <c:pt idx="734">
                  <c:v>18.327868852459019</c:v>
                </c:pt>
                <c:pt idx="735">
                  <c:v>18.327868852459019</c:v>
                </c:pt>
                <c:pt idx="736">
                  <c:v>18.426229508196709</c:v>
                </c:pt>
                <c:pt idx="737">
                  <c:v>18.426229508196709</c:v>
                </c:pt>
                <c:pt idx="738">
                  <c:v>18.459016393442621</c:v>
                </c:pt>
                <c:pt idx="739">
                  <c:v>18.491803278688529</c:v>
                </c:pt>
                <c:pt idx="740">
                  <c:v>18.491803278688529</c:v>
                </c:pt>
                <c:pt idx="741">
                  <c:v>18.557377049180332</c:v>
                </c:pt>
                <c:pt idx="742">
                  <c:v>18.590163934426229</c:v>
                </c:pt>
                <c:pt idx="743">
                  <c:v>18.590163934426229</c:v>
                </c:pt>
                <c:pt idx="744">
                  <c:v>18.655737704918032</c:v>
                </c:pt>
                <c:pt idx="745">
                  <c:v>18.655737704918032</c:v>
                </c:pt>
                <c:pt idx="746">
                  <c:v>18.721311475409831</c:v>
                </c:pt>
                <c:pt idx="747">
                  <c:v>18.721311475409831</c:v>
                </c:pt>
                <c:pt idx="748">
                  <c:v>18.754098360655739</c:v>
                </c:pt>
                <c:pt idx="749">
                  <c:v>18.78688524590164</c:v>
                </c:pt>
                <c:pt idx="750">
                  <c:v>18.78688524590164</c:v>
                </c:pt>
                <c:pt idx="751">
                  <c:v>18.88524590163934</c:v>
                </c:pt>
                <c:pt idx="752">
                  <c:v>18.88524590163934</c:v>
                </c:pt>
                <c:pt idx="753">
                  <c:v>18.983606557377041</c:v>
                </c:pt>
                <c:pt idx="754">
                  <c:v>18.983606557377041</c:v>
                </c:pt>
                <c:pt idx="755">
                  <c:v>19</c:v>
                </c:pt>
                <c:pt idx="756">
                  <c:v>19.016393442622949</c:v>
                </c:pt>
                <c:pt idx="757">
                  <c:v>19.016393442622949</c:v>
                </c:pt>
                <c:pt idx="758">
                  <c:v>19.04918032786885</c:v>
                </c:pt>
                <c:pt idx="759">
                  <c:v>19.04918032786885</c:v>
                </c:pt>
                <c:pt idx="760">
                  <c:v>19.081967213114751</c:v>
                </c:pt>
                <c:pt idx="761">
                  <c:v>19.081967213114751</c:v>
                </c:pt>
                <c:pt idx="762">
                  <c:v>19.11475409836066</c:v>
                </c:pt>
                <c:pt idx="763">
                  <c:v>19.147540983606561</c:v>
                </c:pt>
                <c:pt idx="764">
                  <c:v>19.147540983606561</c:v>
                </c:pt>
                <c:pt idx="765">
                  <c:v>19.180327868852469</c:v>
                </c:pt>
                <c:pt idx="766">
                  <c:v>19.180327868852469</c:v>
                </c:pt>
                <c:pt idx="767">
                  <c:v>19.21311475409836</c:v>
                </c:pt>
                <c:pt idx="768">
                  <c:v>19.278688524590159</c:v>
                </c:pt>
                <c:pt idx="769">
                  <c:v>19.311475409836071</c:v>
                </c:pt>
                <c:pt idx="770">
                  <c:v>19.311475409836071</c:v>
                </c:pt>
                <c:pt idx="771">
                  <c:v>19.344262295081961</c:v>
                </c:pt>
                <c:pt idx="772">
                  <c:v>19.344262295081961</c:v>
                </c:pt>
                <c:pt idx="773">
                  <c:v>19.377049180327869</c:v>
                </c:pt>
                <c:pt idx="774">
                  <c:v>19.40983606557376</c:v>
                </c:pt>
                <c:pt idx="775">
                  <c:v>19.40983606557376</c:v>
                </c:pt>
                <c:pt idx="776">
                  <c:v>19.442622950819668</c:v>
                </c:pt>
                <c:pt idx="777">
                  <c:v>19.442622950819668</c:v>
                </c:pt>
                <c:pt idx="778">
                  <c:v>19.47540983606557</c:v>
                </c:pt>
                <c:pt idx="779">
                  <c:v>19.47540983606557</c:v>
                </c:pt>
                <c:pt idx="780">
                  <c:v>19.508196721311471</c:v>
                </c:pt>
                <c:pt idx="781">
                  <c:v>19.540983606557379</c:v>
                </c:pt>
                <c:pt idx="782">
                  <c:v>19.540983606557379</c:v>
                </c:pt>
                <c:pt idx="783">
                  <c:v>19.57377049180328</c:v>
                </c:pt>
                <c:pt idx="784">
                  <c:v>19.57377049180328</c:v>
                </c:pt>
                <c:pt idx="785">
                  <c:v>19.606557377049189</c:v>
                </c:pt>
                <c:pt idx="786">
                  <c:v>19.639344262295079</c:v>
                </c:pt>
                <c:pt idx="787">
                  <c:v>19.672131147540981</c:v>
                </c:pt>
                <c:pt idx="788">
                  <c:v>19.672131147540981</c:v>
                </c:pt>
                <c:pt idx="789">
                  <c:v>19.704918032786871</c:v>
                </c:pt>
                <c:pt idx="790">
                  <c:v>19.737704918032801</c:v>
                </c:pt>
                <c:pt idx="791">
                  <c:v>19.770491803278691</c:v>
                </c:pt>
                <c:pt idx="792">
                  <c:v>19.803278688524589</c:v>
                </c:pt>
                <c:pt idx="793">
                  <c:v>19.803278688524589</c:v>
                </c:pt>
                <c:pt idx="794">
                  <c:v>19.836065573770501</c:v>
                </c:pt>
                <c:pt idx="795">
                  <c:v>19.868852459016399</c:v>
                </c:pt>
                <c:pt idx="796">
                  <c:v>19.868852459016399</c:v>
                </c:pt>
                <c:pt idx="797">
                  <c:v>19.901639344262289</c:v>
                </c:pt>
                <c:pt idx="798">
                  <c:v>19.901639344262289</c:v>
                </c:pt>
                <c:pt idx="799">
                  <c:v>19.934426229508201</c:v>
                </c:pt>
                <c:pt idx="800">
                  <c:v>19.934426229508201</c:v>
                </c:pt>
                <c:pt idx="801">
                  <c:v>19.967213114754099</c:v>
                </c:pt>
                <c:pt idx="802">
                  <c:v>19.967213114754099</c:v>
                </c:pt>
                <c:pt idx="803">
                  <c:v>20</c:v>
                </c:pt>
                <c:pt idx="804">
                  <c:v>20.032786885245891</c:v>
                </c:pt>
                <c:pt idx="805">
                  <c:v>20.032786885245891</c:v>
                </c:pt>
                <c:pt idx="806">
                  <c:v>20.065573770491799</c:v>
                </c:pt>
                <c:pt idx="807">
                  <c:v>20.0983606557377</c:v>
                </c:pt>
                <c:pt idx="808">
                  <c:v>20.131147540983601</c:v>
                </c:pt>
                <c:pt idx="809">
                  <c:v>20.16393442622951</c:v>
                </c:pt>
                <c:pt idx="810">
                  <c:v>20.16393442622951</c:v>
                </c:pt>
                <c:pt idx="811">
                  <c:v>20.196721311475411</c:v>
                </c:pt>
                <c:pt idx="812">
                  <c:v>20.196721311475411</c:v>
                </c:pt>
                <c:pt idx="813">
                  <c:v>20.229508196721309</c:v>
                </c:pt>
                <c:pt idx="814">
                  <c:v>20.229508196721309</c:v>
                </c:pt>
                <c:pt idx="815">
                  <c:v>20.26229508196721</c:v>
                </c:pt>
                <c:pt idx="816">
                  <c:v>20.26229508196721</c:v>
                </c:pt>
                <c:pt idx="817">
                  <c:v>20.295081967213129</c:v>
                </c:pt>
                <c:pt idx="818">
                  <c:v>20.327868852459019</c:v>
                </c:pt>
                <c:pt idx="819">
                  <c:v>20.327868852459019</c:v>
                </c:pt>
                <c:pt idx="820">
                  <c:v>20.360655737704921</c:v>
                </c:pt>
                <c:pt idx="821">
                  <c:v>20.393442622950811</c:v>
                </c:pt>
                <c:pt idx="822">
                  <c:v>20.426229508196709</c:v>
                </c:pt>
                <c:pt idx="823">
                  <c:v>20.426229508196709</c:v>
                </c:pt>
                <c:pt idx="824">
                  <c:v>20.459016393442621</c:v>
                </c:pt>
                <c:pt idx="825">
                  <c:v>20.459016393442621</c:v>
                </c:pt>
                <c:pt idx="826">
                  <c:v>20.491803278688529</c:v>
                </c:pt>
                <c:pt idx="827">
                  <c:v>20.491803278688529</c:v>
                </c:pt>
                <c:pt idx="828">
                  <c:v>20.52459016393443</c:v>
                </c:pt>
                <c:pt idx="829">
                  <c:v>20.52459016393443</c:v>
                </c:pt>
                <c:pt idx="830">
                  <c:v>20.557377049180332</c:v>
                </c:pt>
                <c:pt idx="831">
                  <c:v>20.557377049180332</c:v>
                </c:pt>
                <c:pt idx="832">
                  <c:v>20.590163934426229</c:v>
                </c:pt>
                <c:pt idx="833">
                  <c:v>20.622950819672131</c:v>
                </c:pt>
                <c:pt idx="834">
                  <c:v>20.622950819672131</c:v>
                </c:pt>
                <c:pt idx="835">
                  <c:v>20.655737704918032</c:v>
                </c:pt>
                <c:pt idx="836">
                  <c:v>20.688524590163929</c:v>
                </c:pt>
                <c:pt idx="837">
                  <c:v>20.688524590163929</c:v>
                </c:pt>
                <c:pt idx="838">
                  <c:v>20.721311475409831</c:v>
                </c:pt>
                <c:pt idx="839">
                  <c:v>20.754098360655739</c:v>
                </c:pt>
                <c:pt idx="840">
                  <c:v>20.78688524590164</c:v>
                </c:pt>
                <c:pt idx="841">
                  <c:v>20.78688524590164</c:v>
                </c:pt>
                <c:pt idx="842">
                  <c:v>20.819672131147531</c:v>
                </c:pt>
                <c:pt idx="843">
                  <c:v>20.819672131147531</c:v>
                </c:pt>
                <c:pt idx="844">
                  <c:v>20.852459016393439</c:v>
                </c:pt>
                <c:pt idx="845">
                  <c:v>20.852459016393439</c:v>
                </c:pt>
                <c:pt idx="846">
                  <c:v>20.88524590163934</c:v>
                </c:pt>
                <c:pt idx="847">
                  <c:v>20.88524590163934</c:v>
                </c:pt>
                <c:pt idx="848">
                  <c:v>20.918032786885249</c:v>
                </c:pt>
                <c:pt idx="849">
                  <c:v>20.95081967213115</c:v>
                </c:pt>
                <c:pt idx="850">
                  <c:v>20.983606557377041</c:v>
                </c:pt>
                <c:pt idx="851">
                  <c:v>21</c:v>
                </c:pt>
                <c:pt idx="852">
                  <c:v>21.016393442622949</c:v>
                </c:pt>
                <c:pt idx="853">
                  <c:v>21.016393442622949</c:v>
                </c:pt>
                <c:pt idx="854">
                  <c:v>21.04918032786885</c:v>
                </c:pt>
                <c:pt idx="855">
                  <c:v>21.081967213114751</c:v>
                </c:pt>
                <c:pt idx="856">
                  <c:v>21.11475409836066</c:v>
                </c:pt>
                <c:pt idx="857">
                  <c:v>21.11475409836066</c:v>
                </c:pt>
                <c:pt idx="858">
                  <c:v>21.147540983606561</c:v>
                </c:pt>
                <c:pt idx="859">
                  <c:v>21.147540983606561</c:v>
                </c:pt>
                <c:pt idx="860">
                  <c:v>21.180327868852469</c:v>
                </c:pt>
                <c:pt idx="861">
                  <c:v>21.21311475409836</c:v>
                </c:pt>
                <c:pt idx="862">
                  <c:v>21.21311475409836</c:v>
                </c:pt>
                <c:pt idx="863">
                  <c:v>21.245901639344261</c:v>
                </c:pt>
                <c:pt idx="864">
                  <c:v>21.278688524590159</c:v>
                </c:pt>
                <c:pt idx="865">
                  <c:v>21.278688524590159</c:v>
                </c:pt>
                <c:pt idx="866">
                  <c:v>21.311475409836071</c:v>
                </c:pt>
                <c:pt idx="867">
                  <c:v>21.311475409836071</c:v>
                </c:pt>
                <c:pt idx="868">
                  <c:v>21.344262295081961</c:v>
                </c:pt>
                <c:pt idx="869">
                  <c:v>21.377049180327869</c:v>
                </c:pt>
                <c:pt idx="870">
                  <c:v>21.40983606557376</c:v>
                </c:pt>
                <c:pt idx="871">
                  <c:v>21.40983606557376</c:v>
                </c:pt>
                <c:pt idx="872">
                  <c:v>21.442622950819668</c:v>
                </c:pt>
                <c:pt idx="873">
                  <c:v>21.47540983606557</c:v>
                </c:pt>
                <c:pt idx="874">
                  <c:v>21.47540983606557</c:v>
                </c:pt>
                <c:pt idx="875">
                  <c:v>21.508196721311471</c:v>
                </c:pt>
                <c:pt idx="876">
                  <c:v>21.508196721311471</c:v>
                </c:pt>
                <c:pt idx="877">
                  <c:v>21.540983606557379</c:v>
                </c:pt>
                <c:pt idx="878">
                  <c:v>21.57377049180328</c:v>
                </c:pt>
                <c:pt idx="879">
                  <c:v>21.606557377049189</c:v>
                </c:pt>
                <c:pt idx="880">
                  <c:v>21.606557377049189</c:v>
                </c:pt>
                <c:pt idx="881">
                  <c:v>21.639344262295079</c:v>
                </c:pt>
                <c:pt idx="882">
                  <c:v>21.672131147540991</c:v>
                </c:pt>
                <c:pt idx="883">
                  <c:v>21.672131147540991</c:v>
                </c:pt>
                <c:pt idx="884">
                  <c:v>21.704918032786878</c:v>
                </c:pt>
                <c:pt idx="885">
                  <c:v>21.704918032786878</c:v>
                </c:pt>
                <c:pt idx="886">
                  <c:v>21.737704918032801</c:v>
                </c:pt>
                <c:pt idx="887">
                  <c:v>21.737704918032801</c:v>
                </c:pt>
                <c:pt idx="888">
                  <c:v>21.770491803278691</c:v>
                </c:pt>
                <c:pt idx="889">
                  <c:v>21.803278688524589</c:v>
                </c:pt>
                <c:pt idx="890">
                  <c:v>21.836065573770501</c:v>
                </c:pt>
                <c:pt idx="891">
                  <c:v>21.868852459016409</c:v>
                </c:pt>
                <c:pt idx="892">
                  <c:v>21.868852459016409</c:v>
                </c:pt>
                <c:pt idx="893">
                  <c:v>21.901639344262289</c:v>
                </c:pt>
                <c:pt idx="894">
                  <c:v>21.934426229508201</c:v>
                </c:pt>
                <c:pt idx="895">
                  <c:v>21.967213114754099</c:v>
                </c:pt>
                <c:pt idx="896">
                  <c:v>22</c:v>
                </c:pt>
                <c:pt idx="897">
                  <c:v>22.032786885245891</c:v>
                </c:pt>
                <c:pt idx="898">
                  <c:v>22.065573770491788</c:v>
                </c:pt>
                <c:pt idx="899">
                  <c:v>22.0983606557377</c:v>
                </c:pt>
                <c:pt idx="900">
                  <c:v>22.131147540983591</c:v>
                </c:pt>
                <c:pt idx="901">
                  <c:v>22.16393442622951</c:v>
                </c:pt>
                <c:pt idx="902">
                  <c:v>22.16393442622951</c:v>
                </c:pt>
                <c:pt idx="903">
                  <c:v>22.196721311475411</c:v>
                </c:pt>
                <c:pt idx="904">
                  <c:v>22.229508196721309</c:v>
                </c:pt>
                <c:pt idx="905">
                  <c:v>22.262295081967199</c:v>
                </c:pt>
                <c:pt idx="906">
                  <c:v>22.262295081967199</c:v>
                </c:pt>
                <c:pt idx="907">
                  <c:v>22.295081967213129</c:v>
                </c:pt>
                <c:pt idx="908">
                  <c:v>22.327868852459019</c:v>
                </c:pt>
                <c:pt idx="909">
                  <c:v>22.327868852459019</c:v>
                </c:pt>
                <c:pt idx="910">
                  <c:v>22.360655737704921</c:v>
                </c:pt>
                <c:pt idx="911">
                  <c:v>22.360655737704921</c:v>
                </c:pt>
                <c:pt idx="912">
                  <c:v>22.393442622950811</c:v>
                </c:pt>
                <c:pt idx="913">
                  <c:v>22.393442622950811</c:v>
                </c:pt>
                <c:pt idx="914">
                  <c:v>22.42622950819672</c:v>
                </c:pt>
                <c:pt idx="915">
                  <c:v>22.459016393442621</c:v>
                </c:pt>
                <c:pt idx="916">
                  <c:v>22.491803278688529</c:v>
                </c:pt>
                <c:pt idx="917">
                  <c:v>22.491803278688529</c:v>
                </c:pt>
                <c:pt idx="918">
                  <c:v>22.52459016393442</c:v>
                </c:pt>
                <c:pt idx="919">
                  <c:v>22.557377049180332</c:v>
                </c:pt>
                <c:pt idx="920">
                  <c:v>22.590163934426229</c:v>
                </c:pt>
                <c:pt idx="921">
                  <c:v>22.622950819672131</c:v>
                </c:pt>
                <c:pt idx="922">
                  <c:v>22.655737704918032</c:v>
                </c:pt>
                <c:pt idx="923">
                  <c:v>22.655737704918032</c:v>
                </c:pt>
                <c:pt idx="924">
                  <c:v>22.688524590163929</c:v>
                </c:pt>
                <c:pt idx="925">
                  <c:v>22.688524590163929</c:v>
                </c:pt>
                <c:pt idx="926">
                  <c:v>22.721311475409841</c:v>
                </c:pt>
                <c:pt idx="927">
                  <c:v>22.721311475409841</c:v>
                </c:pt>
                <c:pt idx="928">
                  <c:v>22.75409836065575</c:v>
                </c:pt>
                <c:pt idx="929">
                  <c:v>22.78688524590164</c:v>
                </c:pt>
                <c:pt idx="930">
                  <c:v>22.78688524590164</c:v>
                </c:pt>
                <c:pt idx="931">
                  <c:v>22.819672131147541</c:v>
                </c:pt>
                <c:pt idx="932">
                  <c:v>22.852459016393439</c:v>
                </c:pt>
                <c:pt idx="933">
                  <c:v>22.852459016393439</c:v>
                </c:pt>
                <c:pt idx="934">
                  <c:v>22.88524590163934</c:v>
                </c:pt>
                <c:pt idx="935">
                  <c:v>22.918032786885249</c:v>
                </c:pt>
                <c:pt idx="936">
                  <c:v>22.95081967213115</c:v>
                </c:pt>
                <c:pt idx="937">
                  <c:v>22.95081967213115</c:v>
                </c:pt>
                <c:pt idx="938">
                  <c:v>22.98360655737703</c:v>
                </c:pt>
                <c:pt idx="939">
                  <c:v>22.98360655737703</c:v>
                </c:pt>
                <c:pt idx="940">
                  <c:v>23</c:v>
                </c:pt>
                <c:pt idx="941">
                  <c:v>23.016393442622959</c:v>
                </c:pt>
                <c:pt idx="942">
                  <c:v>23.04918032786885</c:v>
                </c:pt>
                <c:pt idx="943">
                  <c:v>23.04918032786885</c:v>
                </c:pt>
                <c:pt idx="944">
                  <c:v>23.081967213114751</c:v>
                </c:pt>
                <c:pt idx="945">
                  <c:v>23.081967213114751</c:v>
                </c:pt>
                <c:pt idx="946">
                  <c:v>23.11475409836066</c:v>
                </c:pt>
                <c:pt idx="947">
                  <c:v>23.147540983606561</c:v>
                </c:pt>
                <c:pt idx="948">
                  <c:v>23.147540983606561</c:v>
                </c:pt>
                <c:pt idx="949">
                  <c:v>23.180327868852459</c:v>
                </c:pt>
                <c:pt idx="950">
                  <c:v>23.21311475409836</c:v>
                </c:pt>
                <c:pt idx="951">
                  <c:v>23.24590163934425</c:v>
                </c:pt>
                <c:pt idx="952">
                  <c:v>23.24590163934425</c:v>
                </c:pt>
                <c:pt idx="953">
                  <c:v>23.278688524590159</c:v>
                </c:pt>
                <c:pt idx="954">
                  <c:v>23.278688524590159</c:v>
                </c:pt>
                <c:pt idx="955">
                  <c:v>23.31147540983606</c:v>
                </c:pt>
                <c:pt idx="956">
                  <c:v>23.344262295081961</c:v>
                </c:pt>
                <c:pt idx="957">
                  <c:v>23.377049180327869</c:v>
                </c:pt>
                <c:pt idx="958">
                  <c:v>23.40983606557376</c:v>
                </c:pt>
                <c:pt idx="959">
                  <c:v>23.442622950819668</c:v>
                </c:pt>
                <c:pt idx="960">
                  <c:v>23.47540983606557</c:v>
                </c:pt>
                <c:pt idx="961">
                  <c:v>23.508196721311471</c:v>
                </c:pt>
                <c:pt idx="962">
                  <c:v>23.540983606557379</c:v>
                </c:pt>
                <c:pt idx="963">
                  <c:v>23.540983606557379</c:v>
                </c:pt>
                <c:pt idx="964">
                  <c:v>23.57377049180328</c:v>
                </c:pt>
                <c:pt idx="965">
                  <c:v>23.606557377049189</c:v>
                </c:pt>
                <c:pt idx="966">
                  <c:v>23.606557377049189</c:v>
                </c:pt>
                <c:pt idx="967">
                  <c:v>23.639344262295079</c:v>
                </c:pt>
                <c:pt idx="968">
                  <c:v>23.672131147540981</c:v>
                </c:pt>
                <c:pt idx="969">
                  <c:v>23.704918032786878</c:v>
                </c:pt>
                <c:pt idx="970">
                  <c:v>23.704918032786878</c:v>
                </c:pt>
                <c:pt idx="971">
                  <c:v>23.737704918032801</c:v>
                </c:pt>
                <c:pt idx="972">
                  <c:v>23.770491803278691</c:v>
                </c:pt>
                <c:pt idx="973">
                  <c:v>23.770491803278691</c:v>
                </c:pt>
                <c:pt idx="974">
                  <c:v>23.803278688524589</c:v>
                </c:pt>
                <c:pt idx="975">
                  <c:v>23.836065573770501</c:v>
                </c:pt>
                <c:pt idx="976">
                  <c:v>23.868852459016409</c:v>
                </c:pt>
                <c:pt idx="977">
                  <c:v>23.868852459016409</c:v>
                </c:pt>
                <c:pt idx="978">
                  <c:v>23.901639344262289</c:v>
                </c:pt>
                <c:pt idx="979">
                  <c:v>23.901639344262289</c:v>
                </c:pt>
                <c:pt idx="980">
                  <c:v>23.934426229508201</c:v>
                </c:pt>
                <c:pt idx="981">
                  <c:v>23.934426229508201</c:v>
                </c:pt>
                <c:pt idx="982">
                  <c:v>23.967213114754099</c:v>
                </c:pt>
                <c:pt idx="983">
                  <c:v>23.967213114754099</c:v>
                </c:pt>
                <c:pt idx="984">
                  <c:v>24</c:v>
                </c:pt>
                <c:pt idx="985">
                  <c:v>24</c:v>
                </c:pt>
                <c:pt idx="986">
                  <c:v>24.032786885245891</c:v>
                </c:pt>
                <c:pt idx="987">
                  <c:v>24.032786885245891</c:v>
                </c:pt>
                <c:pt idx="988">
                  <c:v>24.065573770491788</c:v>
                </c:pt>
                <c:pt idx="989">
                  <c:v>24.065573770491788</c:v>
                </c:pt>
                <c:pt idx="990">
                  <c:v>24.0983606557377</c:v>
                </c:pt>
                <c:pt idx="991">
                  <c:v>24.131147540983591</c:v>
                </c:pt>
                <c:pt idx="992">
                  <c:v>24.131147540983591</c:v>
                </c:pt>
                <c:pt idx="993">
                  <c:v>24.16393442622951</c:v>
                </c:pt>
                <c:pt idx="994">
                  <c:v>24.16393442622951</c:v>
                </c:pt>
                <c:pt idx="995">
                  <c:v>24.196721311475411</c:v>
                </c:pt>
                <c:pt idx="996">
                  <c:v>24.229508196721309</c:v>
                </c:pt>
                <c:pt idx="997">
                  <c:v>24.262295081967199</c:v>
                </c:pt>
                <c:pt idx="998">
                  <c:v>24.295081967213129</c:v>
                </c:pt>
                <c:pt idx="999">
                  <c:v>24.327868852459019</c:v>
                </c:pt>
                <c:pt idx="1000">
                  <c:v>24.327868852459019</c:v>
                </c:pt>
                <c:pt idx="1001">
                  <c:v>24.360655737704921</c:v>
                </c:pt>
                <c:pt idx="1002">
                  <c:v>24.360655737704921</c:v>
                </c:pt>
                <c:pt idx="1003">
                  <c:v>24.393442622950811</c:v>
                </c:pt>
                <c:pt idx="1004">
                  <c:v>24.393442622950811</c:v>
                </c:pt>
                <c:pt idx="1005">
                  <c:v>24.42622950819672</c:v>
                </c:pt>
                <c:pt idx="1006">
                  <c:v>24.459016393442621</c:v>
                </c:pt>
                <c:pt idx="1007">
                  <c:v>24.459016393442621</c:v>
                </c:pt>
                <c:pt idx="1008">
                  <c:v>24.491803278688529</c:v>
                </c:pt>
                <c:pt idx="1009">
                  <c:v>24.52459016393442</c:v>
                </c:pt>
                <c:pt idx="1010">
                  <c:v>24.52459016393442</c:v>
                </c:pt>
                <c:pt idx="1011">
                  <c:v>24.557377049180332</c:v>
                </c:pt>
                <c:pt idx="1012">
                  <c:v>24.557377049180332</c:v>
                </c:pt>
                <c:pt idx="1013">
                  <c:v>24.590163934426229</c:v>
                </c:pt>
                <c:pt idx="1014">
                  <c:v>24.590163934426229</c:v>
                </c:pt>
                <c:pt idx="1015">
                  <c:v>24.622950819672131</c:v>
                </c:pt>
                <c:pt idx="1016">
                  <c:v>24.622950819672131</c:v>
                </c:pt>
                <c:pt idx="1017">
                  <c:v>24.655737704918032</c:v>
                </c:pt>
                <c:pt idx="1018">
                  <c:v>24.688524590163929</c:v>
                </c:pt>
                <c:pt idx="1019">
                  <c:v>24.721311475409841</c:v>
                </c:pt>
                <c:pt idx="1020">
                  <c:v>24.721311475409841</c:v>
                </c:pt>
                <c:pt idx="1021">
                  <c:v>24.75409836065575</c:v>
                </c:pt>
                <c:pt idx="1022">
                  <c:v>24.75409836065575</c:v>
                </c:pt>
                <c:pt idx="1023">
                  <c:v>24.78688524590164</c:v>
                </c:pt>
                <c:pt idx="1024">
                  <c:v>24.819672131147541</c:v>
                </c:pt>
                <c:pt idx="1025">
                  <c:v>24.819672131147541</c:v>
                </c:pt>
                <c:pt idx="1026">
                  <c:v>24.852459016393439</c:v>
                </c:pt>
                <c:pt idx="1027">
                  <c:v>24.852459016393439</c:v>
                </c:pt>
                <c:pt idx="1028">
                  <c:v>24.88524590163934</c:v>
                </c:pt>
                <c:pt idx="1029">
                  <c:v>24.918032786885249</c:v>
                </c:pt>
                <c:pt idx="1030">
                  <c:v>24.95081967213115</c:v>
                </c:pt>
                <c:pt idx="1031">
                  <c:v>24.98360655737703</c:v>
                </c:pt>
                <c:pt idx="1032">
                  <c:v>25</c:v>
                </c:pt>
                <c:pt idx="1033">
                  <c:v>25.016393442622959</c:v>
                </c:pt>
                <c:pt idx="1034">
                  <c:v>25.04918032786885</c:v>
                </c:pt>
                <c:pt idx="1035">
                  <c:v>25.081967213114751</c:v>
                </c:pt>
                <c:pt idx="1036">
                  <c:v>25.11475409836066</c:v>
                </c:pt>
                <c:pt idx="1037">
                  <c:v>25.147540983606561</c:v>
                </c:pt>
                <c:pt idx="1038">
                  <c:v>25.180327868852459</c:v>
                </c:pt>
                <c:pt idx="1039">
                  <c:v>25.180327868852459</c:v>
                </c:pt>
                <c:pt idx="1040">
                  <c:v>25.21311475409836</c:v>
                </c:pt>
                <c:pt idx="1041">
                  <c:v>25.24590163934425</c:v>
                </c:pt>
                <c:pt idx="1042">
                  <c:v>25.278688524590159</c:v>
                </c:pt>
                <c:pt idx="1043">
                  <c:v>25.31147540983606</c:v>
                </c:pt>
                <c:pt idx="1044">
                  <c:v>25.344262295081961</c:v>
                </c:pt>
                <c:pt idx="1045">
                  <c:v>25.377049180327869</c:v>
                </c:pt>
                <c:pt idx="1046">
                  <c:v>25.40983606557376</c:v>
                </c:pt>
                <c:pt idx="1047">
                  <c:v>25.40983606557376</c:v>
                </c:pt>
                <c:pt idx="1048">
                  <c:v>25.442622950819668</c:v>
                </c:pt>
                <c:pt idx="1049">
                  <c:v>25.442622950819668</c:v>
                </c:pt>
                <c:pt idx="1050">
                  <c:v>25.47540983606557</c:v>
                </c:pt>
                <c:pt idx="1051">
                  <c:v>25.47540983606557</c:v>
                </c:pt>
                <c:pt idx="1052">
                  <c:v>25.508196721311471</c:v>
                </c:pt>
                <c:pt idx="1053">
                  <c:v>25.540983606557379</c:v>
                </c:pt>
                <c:pt idx="1054">
                  <c:v>25.540983606557379</c:v>
                </c:pt>
                <c:pt idx="1055">
                  <c:v>25.57377049180328</c:v>
                </c:pt>
                <c:pt idx="1056">
                  <c:v>25.57377049180328</c:v>
                </c:pt>
                <c:pt idx="1057">
                  <c:v>25.606557377049189</c:v>
                </c:pt>
                <c:pt idx="1058">
                  <c:v>25.639344262295079</c:v>
                </c:pt>
                <c:pt idx="1059">
                  <c:v>25.639344262295079</c:v>
                </c:pt>
                <c:pt idx="1060">
                  <c:v>25.672131147540981</c:v>
                </c:pt>
                <c:pt idx="1061">
                  <c:v>25.704918032786878</c:v>
                </c:pt>
                <c:pt idx="1062">
                  <c:v>25.737704918032801</c:v>
                </c:pt>
                <c:pt idx="1063">
                  <c:v>25.770491803278681</c:v>
                </c:pt>
                <c:pt idx="1064">
                  <c:v>25.770491803278681</c:v>
                </c:pt>
                <c:pt idx="1065">
                  <c:v>25.803278688524589</c:v>
                </c:pt>
                <c:pt idx="1066">
                  <c:v>25.836065573770501</c:v>
                </c:pt>
                <c:pt idx="1067">
                  <c:v>25.868852459016409</c:v>
                </c:pt>
                <c:pt idx="1068">
                  <c:v>25.868852459016409</c:v>
                </c:pt>
                <c:pt idx="1069">
                  <c:v>25.901639344262289</c:v>
                </c:pt>
                <c:pt idx="1070">
                  <c:v>25.934426229508201</c:v>
                </c:pt>
                <c:pt idx="1071">
                  <c:v>25.967213114754099</c:v>
                </c:pt>
                <c:pt idx="1072">
                  <c:v>26</c:v>
                </c:pt>
                <c:pt idx="1073">
                  <c:v>26.032786885245891</c:v>
                </c:pt>
                <c:pt idx="1074">
                  <c:v>26.065573770491788</c:v>
                </c:pt>
                <c:pt idx="1075">
                  <c:v>26.065573770491788</c:v>
                </c:pt>
                <c:pt idx="1076">
                  <c:v>26.0983606557377</c:v>
                </c:pt>
                <c:pt idx="1077">
                  <c:v>26.131147540983591</c:v>
                </c:pt>
                <c:pt idx="1078">
                  <c:v>26.16393442622951</c:v>
                </c:pt>
                <c:pt idx="1079">
                  <c:v>26.196721311475411</c:v>
                </c:pt>
                <c:pt idx="1080">
                  <c:v>26.229508196721319</c:v>
                </c:pt>
                <c:pt idx="1081">
                  <c:v>26.262295081967199</c:v>
                </c:pt>
                <c:pt idx="1082">
                  <c:v>26.295081967213129</c:v>
                </c:pt>
                <c:pt idx="1083">
                  <c:v>26.327868852459019</c:v>
                </c:pt>
                <c:pt idx="1084">
                  <c:v>26.360655737704921</c:v>
                </c:pt>
                <c:pt idx="1085">
                  <c:v>26.393442622950811</c:v>
                </c:pt>
                <c:pt idx="1086">
                  <c:v>26.393442622950811</c:v>
                </c:pt>
                <c:pt idx="1087">
                  <c:v>26.42622950819672</c:v>
                </c:pt>
                <c:pt idx="1088">
                  <c:v>26.459016393442631</c:v>
                </c:pt>
                <c:pt idx="1089">
                  <c:v>26.491803278688529</c:v>
                </c:pt>
                <c:pt idx="1090">
                  <c:v>26.52459016393442</c:v>
                </c:pt>
                <c:pt idx="1091">
                  <c:v>26.557377049180332</c:v>
                </c:pt>
                <c:pt idx="1092">
                  <c:v>26.590163934426229</c:v>
                </c:pt>
                <c:pt idx="1093">
                  <c:v>26.622950819672131</c:v>
                </c:pt>
                <c:pt idx="1094">
                  <c:v>26.655737704918032</c:v>
                </c:pt>
                <c:pt idx="1095">
                  <c:v>26.688524590163929</c:v>
                </c:pt>
                <c:pt idx="1096">
                  <c:v>26.688524590163929</c:v>
                </c:pt>
                <c:pt idx="1097">
                  <c:v>26.721311475409841</c:v>
                </c:pt>
                <c:pt idx="1098">
                  <c:v>26.754098360655739</c:v>
                </c:pt>
                <c:pt idx="1099">
                  <c:v>26.754098360655739</c:v>
                </c:pt>
                <c:pt idx="1100">
                  <c:v>26.78688524590164</c:v>
                </c:pt>
                <c:pt idx="1101">
                  <c:v>26.78688524590164</c:v>
                </c:pt>
                <c:pt idx="1102">
                  <c:v>26.819672131147541</c:v>
                </c:pt>
                <c:pt idx="1103">
                  <c:v>26.852459016393439</c:v>
                </c:pt>
                <c:pt idx="1104">
                  <c:v>26.88524590163934</c:v>
                </c:pt>
                <c:pt idx="1105">
                  <c:v>26.918032786885242</c:v>
                </c:pt>
                <c:pt idx="1106">
                  <c:v>26.95081967213115</c:v>
                </c:pt>
                <c:pt idx="1107">
                  <c:v>26.983606557377041</c:v>
                </c:pt>
                <c:pt idx="1108">
                  <c:v>27</c:v>
                </c:pt>
                <c:pt idx="1109">
                  <c:v>27.016393442622949</c:v>
                </c:pt>
                <c:pt idx="1110">
                  <c:v>27.04918032786885</c:v>
                </c:pt>
                <c:pt idx="1111">
                  <c:v>27.04918032786885</c:v>
                </c:pt>
                <c:pt idx="1112">
                  <c:v>27.081967213114758</c:v>
                </c:pt>
                <c:pt idx="1113">
                  <c:v>27.11475409836066</c:v>
                </c:pt>
                <c:pt idx="1114">
                  <c:v>27.147540983606561</c:v>
                </c:pt>
                <c:pt idx="1115">
                  <c:v>27.180327868852459</c:v>
                </c:pt>
                <c:pt idx="1116">
                  <c:v>27.21311475409836</c:v>
                </c:pt>
                <c:pt idx="1117">
                  <c:v>27.245901639344261</c:v>
                </c:pt>
                <c:pt idx="1118">
                  <c:v>27.278688524590152</c:v>
                </c:pt>
                <c:pt idx="1119">
                  <c:v>27.278688524590152</c:v>
                </c:pt>
                <c:pt idx="1120">
                  <c:v>27.31147540983606</c:v>
                </c:pt>
                <c:pt idx="1121">
                  <c:v>27.344262295081961</c:v>
                </c:pt>
                <c:pt idx="1122">
                  <c:v>27.377049180327869</c:v>
                </c:pt>
                <c:pt idx="1123">
                  <c:v>27.40983606557376</c:v>
                </c:pt>
                <c:pt idx="1124">
                  <c:v>27.442622950819679</c:v>
                </c:pt>
                <c:pt idx="1125">
                  <c:v>27.47540983606557</c:v>
                </c:pt>
                <c:pt idx="1126">
                  <c:v>27.508196721311471</c:v>
                </c:pt>
                <c:pt idx="1127">
                  <c:v>27.540983606557369</c:v>
                </c:pt>
                <c:pt idx="1128">
                  <c:v>27.57377049180328</c:v>
                </c:pt>
                <c:pt idx="1129">
                  <c:v>27.606557377049189</c:v>
                </c:pt>
                <c:pt idx="1130">
                  <c:v>27.639344262295079</c:v>
                </c:pt>
                <c:pt idx="1131">
                  <c:v>27.672131147540991</c:v>
                </c:pt>
                <c:pt idx="1132">
                  <c:v>27.704918032786878</c:v>
                </c:pt>
                <c:pt idx="1133">
                  <c:v>27.73770491803279</c:v>
                </c:pt>
                <c:pt idx="1134">
                  <c:v>27.770491803278681</c:v>
                </c:pt>
                <c:pt idx="1135">
                  <c:v>27.803278688524589</c:v>
                </c:pt>
                <c:pt idx="1136">
                  <c:v>27.836065573770501</c:v>
                </c:pt>
                <c:pt idx="1137">
                  <c:v>27.868852459016399</c:v>
                </c:pt>
                <c:pt idx="1138">
                  <c:v>27.901639344262289</c:v>
                </c:pt>
                <c:pt idx="1139">
                  <c:v>27.934426229508201</c:v>
                </c:pt>
                <c:pt idx="1140">
                  <c:v>27.967213114754099</c:v>
                </c:pt>
                <c:pt idx="1141">
                  <c:v>28</c:v>
                </c:pt>
                <c:pt idx="1142">
                  <c:v>28.032786885245891</c:v>
                </c:pt>
                <c:pt idx="1143">
                  <c:v>28.032786885245891</c:v>
                </c:pt>
                <c:pt idx="1144">
                  <c:v>28.065573770491788</c:v>
                </c:pt>
                <c:pt idx="1145">
                  <c:v>28.0983606557377</c:v>
                </c:pt>
                <c:pt idx="1146">
                  <c:v>28.131147540983601</c:v>
                </c:pt>
                <c:pt idx="1147">
                  <c:v>28.163934426229499</c:v>
                </c:pt>
                <c:pt idx="1148">
                  <c:v>28.196721311475411</c:v>
                </c:pt>
                <c:pt idx="1149">
                  <c:v>28.229508196721319</c:v>
                </c:pt>
                <c:pt idx="1150">
                  <c:v>28.262295081967199</c:v>
                </c:pt>
                <c:pt idx="1151">
                  <c:v>28.295081967213129</c:v>
                </c:pt>
                <c:pt idx="1152">
                  <c:v>28.327868852459009</c:v>
                </c:pt>
                <c:pt idx="1153">
                  <c:v>28.360655737704921</c:v>
                </c:pt>
                <c:pt idx="1154">
                  <c:v>28.393442622950811</c:v>
                </c:pt>
                <c:pt idx="1155">
                  <c:v>28.42622950819672</c:v>
                </c:pt>
                <c:pt idx="1156">
                  <c:v>28.459016393442631</c:v>
                </c:pt>
                <c:pt idx="1157">
                  <c:v>28.491803278688529</c:v>
                </c:pt>
                <c:pt idx="1158">
                  <c:v>28.52459016393443</c:v>
                </c:pt>
                <c:pt idx="1159">
                  <c:v>28.557377049180321</c:v>
                </c:pt>
                <c:pt idx="1160">
                  <c:v>28.590163934426229</c:v>
                </c:pt>
                <c:pt idx="1161">
                  <c:v>28.622950819672131</c:v>
                </c:pt>
                <c:pt idx="1162">
                  <c:v>28.655737704918021</c:v>
                </c:pt>
                <c:pt idx="1163">
                  <c:v>28.655737704918021</c:v>
                </c:pt>
                <c:pt idx="1164">
                  <c:v>28.688524590163929</c:v>
                </c:pt>
                <c:pt idx="1165">
                  <c:v>28.721311475409841</c:v>
                </c:pt>
                <c:pt idx="1166">
                  <c:v>28.754098360655739</c:v>
                </c:pt>
                <c:pt idx="1167">
                  <c:v>28.78688524590164</c:v>
                </c:pt>
                <c:pt idx="1168">
                  <c:v>28.819672131147541</c:v>
                </c:pt>
                <c:pt idx="1169">
                  <c:v>28.852459016393439</c:v>
                </c:pt>
                <c:pt idx="1170">
                  <c:v>28.88524590163934</c:v>
                </c:pt>
                <c:pt idx="1171">
                  <c:v>28.918032786885242</c:v>
                </c:pt>
                <c:pt idx="1172">
                  <c:v>28.950819672131139</c:v>
                </c:pt>
                <c:pt idx="1173">
                  <c:v>28.983606557377041</c:v>
                </c:pt>
                <c:pt idx="1174">
                  <c:v>29</c:v>
                </c:pt>
                <c:pt idx="1175">
                  <c:v>29.016393442622949</c:v>
                </c:pt>
                <c:pt idx="1176">
                  <c:v>29.04918032786885</c:v>
                </c:pt>
                <c:pt idx="1177">
                  <c:v>29.081967213114758</c:v>
                </c:pt>
                <c:pt idx="1178">
                  <c:v>29.11475409836066</c:v>
                </c:pt>
                <c:pt idx="1179">
                  <c:v>29.147540983606561</c:v>
                </c:pt>
                <c:pt idx="1180">
                  <c:v>29.180327868852459</c:v>
                </c:pt>
                <c:pt idx="1181">
                  <c:v>29.21311475409836</c:v>
                </c:pt>
                <c:pt idx="1182">
                  <c:v>29.245901639344261</c:v>
                </c:pt>
                <c:pt idx="1183">
                  <c:v>29.278688524590152</c:v>
                </c:pt>
                <c:pt idx="1184">
                  <c:v>29.31147540983606</c:v>
                </c:pt>
                <c:pt idx="1185">
                  <c:v>29.31147540983606</c:v>
                </c:pt>
                <c:pt idx="1186">
                  <c:v>29.344262295081968</c:v>
                </c:pt>
                <c:pt idx="1187">
                  <c:v>29.377049180327869</c:v>
                </c:pt>
                <c:pt idx="1188">
                  <c:v>29.40983606557376</c:v>
                </c:pt>
                <c:pt idx="1189">
                  <c:v>29.442622950819679</c:v>
                </c:pt>
                <c:pt idx="1190">
                  <c:v>29.47540983606557</c:v>
                </c:pt>
                <c:pt idx="1191">
                  <c:v>29.508196721311471</c:v>
                </c:pt>
                <c:pt idx="1192">
                  <c:v>29.540983606557369</c:v>
                </c:pt>
                <c:pt idx="1193">
                  <c:v>29.57377049180328</c:v>
                </c:pt>
                <c:pt idx="1194">
                  <c:v>29.606557377049171</c:v>
                </c:pt>
                <c:pt idx="1195">
                  <c:v>29.639344262295079</c:v>
                </c:pt>
                <c:pt idx="1196">
                  <c:v>29.672131147540991</c:v>
                </c:pt>
                <c:pt idx="1197">
                  <c:v>29.704918032786878</c:v>
                </c:pt>
                <c:pt idx="1198">
                  <c:v>29.73770491803279</c:v>
                </c:pt>
                <c:pt idx="1199">
                  <c:v>29.770491803278681</c:v>
                </c:pt>
                <c:pt idx="1200">
                  <c:v>29.8032786885246</c:v>
                </c:pt>
                <c:pt idx="1201">
                  <c:v>29.836065573770501</c:v>
                </c:pt>
                <c:pt idx="1202">
                  <c:v>29.868852459016399</c:v>
                </c:pt>
                <c:pt idx="1203">
                  <c:v>29.901639344262289</c:v>
                </c:pt>
                <c:pt idx="1204">
                  <c:v>29.934426229508201</c:v>
                </c:pt>
                <c:pt idx="1205">
                  <c:v>29.967213114754099</c:v>
                </c:pt>
                <c:pt idx="1206">
                  <c:v>30</c:v>
                </c:pt>
                <c:pt idx="1207">
                  <c:v>30.032786885245891</c:v>
                </c:pt>
                <c:pt idx="1208">
                  <c:v>30.065573770491799</c:v>
                </c:pt>
                <c:pt idx="1209">
                  <c:v>30.0983606557377</c:v>
                </c:pt>
                <c:pt idx="1210">
                  <c:v>30.131147540983601</c:v>
                </c:pt>
                <c:pt idx="1211">
                  <c:v>30.163934426229499</c:v>
                </c:pt>
                <c:pt idx="1212">
                  <c:v>30.1967213114754</c:v>
                </c:pt>
                <c:pt idx="1213">
                  <c:v>30.229508196721319</c:v>
                </c:pt>
                <c:pt idx="1214">
                  <c:v>30.262295081967199</c:v>
                </c:pt>
                <c:pt idx="1215">
                  <c:v>30.295081967213129</c:v>
                </c:pt>
                <c:pt idx="1216">
                  <c:v>30.327868852459009</c:v>
                </c:pt>
                <c:pt idx="1217">
                  <c:v>30.360655737704921</c:v>
                </c:pt>
                <c:pt idx="1218">
                  <c:v>30.393442622950818</c:v>
                </c:pt>
                <c:pt idx="1219">
                  <c:v>30.42622950819672</c:v>
                </c:pt>
                <c:pt idx="1220">
                  <c:v>30.459016393442631</c:v>
                </c:pt>
                <c:pt idx="1221">
                  <c:v>30.491803278688529</c:v>
                </c:pt>
                <c:pt idx="1222">
                  <c:v>30.52459016393443</c:v>
                </c:pt>
                <c:pt idx="1223">
                  <c:v>30.557377049180321</c:v>
                </c:pt>
                <c:pt idx="1224">
                  <c:v>30.590163934426229</c:v>
                </c:pt>
                <c:pt idx="1225">
                  <c:v>30.622950819672131</c:v>
                </c:pt>
                <c:pt idx="1226">
                  <c:v>30.655737704918021</c:v>
                </c:pt>
                <c:pt idx="1227">
                  <c:v>30.688524590163929</c:v>
                </c:pt>
                <c:pt idx="1228">
                  <c:v>30.721311475409841</c:v>
                </c:pt>
                <c:pt idx="1229">
                  <c:v>30.754098360655739</c:v>
                </c:pt>
                <c:pt idx="1230">
                  <c:v>30.78688524590164</c:v>
                </c:pt>
                <c:pt idx="1231">
                  <c:v>30.819672131147541</c:v>
                </c:pt>
                <c:pt idx="1232">
                  <c:v>30.852459016393439</c:v>
                </c:pt>
                <c:pt idx="1233">
                  <c:v>30.88524590163934</c:v>
                </c:pt>
                <c:pt idx="1234">
                  <c:v>30.918032786885242</c:v>
                </c:pt>
                <c:pt idx="1235">
                  <c:v>30.950819672131139</c:v>
                </c:pt>
                <c:pt idx="1236">
                  <c:v>30.983606557377041</c:v>
                </c:pt>
                <c:pt idx="1237">
                  <c:v>31</c:v>
                </c:pt>
                <c:pt idx="1238">
                  <c:v>31.016393442622949</c:v>
                </c:pt>
                <c:pt idx="1239">
                  <c:v>31.04918032786885</c:v>
                </c:pt>
                <c:pt idx="1240">
                  <c:v>31.081967213114758</c:v>
                </c:pt>
                <c:pt idx="1241">
                  <c:v>31.11475409836066</c:v>
                </c:pt>
                <c:pt idx="1242">
                  <c:v>31.147540983606561</c:v>
                </c:pt>
                <c:pt idx="1243">
                  <c:v>31.180327868852459</c:v>
                </c:pt>
                <c:pt idx="1244">
                  <c:v>31.21311475409836</c:v>
                </c:pt>
                <c:pt idx="1245">
                  <c:v>31.245901639344261</c:v>
                </c:pt>
                <c:pt idx="1246">
                  <c:v>31.278688524590152</c:v>
                </c:pt>
                <c:pt idx="1247">
                  <c:v>31.31147540983606</c:v>
                </c:pt>
                <c:pt idx="1248">
                  <c:v>31.344262295081968</c:v>
                </c:pt>
                <c:pt idx="1249">
                  <c:v>31.377049180327869</c:v>
                </c:pt>
                <c:pt idx="1250">
                  <c:v>31.40983606557376</c:v>
                </c:pt>
                <c:pt idx="1251">
                  <c:v>31.442622950819679</c:v>
                </c:pt>
                <c:pt idx="1252">
                  <c:v>31.47540983606557</c:v>
                </c:pt>
                <c:pt idx="1253">
                  <c:v>31.508196721311471</c:v>
                </c:pt>
                <c:pt idx="1254">
                  <c:v>31.540983606557369</c:v>
                </c:pt>
                <c:pt idx="1255">
                  <c:v>31.57377049180328</c:v>
                </c:pt>
                <c:pt idx="1256">
                  <c:v>31.606557377049171</c:v>
                </c:pt>
                <c:pt idx="1257">
                  <c:v>31.639344262295079</c:v>
                </c:pt>
                <c:pt idx="1258">
                  <c:v>31.672131147540991</c:v>
                </c:pt>
                <c:pt idx="1259">
                  <c:v>31.704918032786878</c:v>
                </c:pt>
                <c:pt idx="1260">
                  <c:v>31.73770491803279</c:v>
                </c:pt>
                <c:pt idx="1261">
                  <c:v>31.770491803278681</c:v>
                </c:pt>
                <c:pt idx="1262">
                  <c:v>31.8032786885246</c:v>
                </c:pt>
                <c:pt idx="1263">
                  <c:v>31.836065573770501</c:v>
                </c:pt>
                <c:pt idx="1264">
                  <c:v>31.868852459016399</c:v>
                </c:pt>
                <c:pt idx="1265">
                  <c:v>31.901639344262289</c:v>
                </c:pt>
                <c:pt idx="1266">
                  <c:v>31.934426229508201</c:v>
                </c:pt>
                <c:pt idx="1267">
                  <c:v>31.967213114754099</c:v>
                </c:pt>
                <c:pt idx="1268">
                  <c:v>32</c:v>
                </c:pt>
                <c:pt idx="1269">
                  <c:v>32.032786885245898</c:v>
                </c:pt>
                <c:pt idx="1270">
                  <c:v>32.065573770491802</c:v>
                </c:pt>
                <c:pt idx="1271">
                  <c:v>32.098360655737707</c:v>
                </c:pt>
                <c:pt idx="1272">
                  <c:v>32.131147540983598</c:v>
                </c:pt>
                <c:pt idx="1273">
                  <c:v>32.163934426229503</c:v>
                </c:pt>
                <c:pt idx="1274">
                  <c:v>32.196721311475407</c:v>
                </c:pt>
                <c:pt idx="1275">
                  <c:v>32.229508196721319</c:v>
                </c:pt>
                <c:pt idx="1276">
                  <c:v>32.26229508196721</c:v>
                </c:pt>
                <c:pt idx="1277">
                  <c:v>32.327868852458998</c:v>
                </c:pt>
                <c:pt idx="1278">
                  <c:v>32.360655737704917</c:v>
                </c:pt>
                <c:pt idx="1279">
                  <c:v>32.393442622950822</c:v>
                </c:pt>
                <c:pt idx="1280">
                  <c:v>32.426229508196727</c:v>
                </c:pt>
                <c:pt idx="1281">
                  <c:v>32.459016393442617</c:v>
                </c:pt>
                <c:pt idx="1282">
                  <c:v>32.55737704918031</c:v>
                </c:pt>
                <c:pt idx="1283">
                  <c:v>32.590163934426229</c:v>
                </c:pt>
                <c:pt idx="1284">
                  <c:v>32.622950819672127</c:v>
                </c:pt>
                <c:pt idx="1285">
                  <c:v>32.655737704918032</c:v>
                </c:pt>
                <c:pt idx="1286">
                  <c:v>32.721311475409841</c:v>
                </c:pt>
                <c:pt idx="1287">
                  <c:v>32.754098360655739</c:v>
                </c:pt>
                <c:pt idx="1288">
                  <c:v>32.786885245901637</c:v>
                </c:pt>
                <c:pt idx="1289">
                  <c:v>32.885245901639337</c:v>
                </c:pt>
                <c:pt idx="1290">
                  <c:v>33</c:v>
                </c:pt>
              </c:numCache>
            </c:numRef>
          </c:xVal>
          <c:yVal>
            <c:numRef>
              <c:f>'Scatter chart - by week'!$C$2:$C$1292</c:f>
              <c:numCache>
                <c:formatCode>ge\ne\r\r\a\l</c:formatCode>
                <c:ptCount val="1291"/>
                <c:pt idx="0">
                  <c:v>0</c:v>
                </c:pt>
                <c:pt idx="1">
                  <c:v>0</c:v>
                </c:pt>
                <c:pt idx="2">
                  <c:v>0</c:v>
                </c:pt>
                <c:pt idx="3">
                  <c:v>0</c:v>
                </c:pt>
                <c:pt idx="4">
                  <c:v>0</c:v>
                </c:pt>
                <c:pt idx="5">
                  <c:v>0</c:v>
                </c:pt>
                <c:pt idx="6">
                  <c:v>2.62054507337517E-2</c:v>
                </c:pt>
                <c:pt idx="7">
                  <c:v>2.62054507337517E-2</c:v>
                </c:pt>
                <c:pt idx="8">
                  <c:v>2.62054507337517E-2</c:v>
                </c:pt>
                <c:pt idx="9">
                  <c:v>2.62054507337517E-2</c:v>
                </c:pt>
                <c:pt idx="10">
                  <c:v>7.8616352201255096E-2</c:v>
                </c:pt>
                <c:pt idx="11">
                  <c:v>7.8616352201255096E-2</c:v>
                </c:pt>
                <c:pt idx="12">
                  <c:v>7.8616352201255096E-2</c:v>
                </c:pt>
                <c:pt idx="13">
                  <c:v>7.8616352201255096E-2</c:v>
                </c:pt>
                <c:pt idx="14">
                  <c:v>7.8616352201255096E-2</c:v>
                </c:pt>
                <c:pt idx="15">
                  <c:v>0.104828677397417</c:v>
                </c:pt>
                <c:pt idx="16">
                  <c:v>0.104828677397417</c:v>
                </c:pt>
                <c:pt idx="17">
                  <c:v>0.13104100259359</c:v>
                </c:pt>
                <c:pt idx="18">
                  <c:v>0.13104100259359</c:v>
                </c:pt>
                <c:pt idx="19">
                  <c:v>0.13104100259359</c:v>
                </c:pt>
                <c:pt idx="20">
                  <c:v>0.13104100259359</c:v>
                </c:pt>
                <c:pt idx="21">
                  <c:v>0.13104100259359</c:v>
                </c:pt>
                <c:pt idx="22">
                  <c:v>0.13104100259359</c:v>
                </c:pt>
                <c:pt idx="23">
                  <c:v>0.13104100259359</c:v>
                </c:pt>
                <c:pt idx="24">
                  <c:v>0.157253327789764</c:v>
                </c:pt>
                <c:pt idx="25">
                  <c:v>0.157253327789764</c:v>
                </c:pt>
                <c:pt idx="26">
                  <c:v>0.157253327789764</c:v>
                </c:pt>
                <c:pt idx="27">
                  <c:v>0.157253327789764</c:v>
                </c:pt>
                <c:pt idx="28">
                  <c:v>0.20967797818209899</c:v>
                </c:pt>
                <c:pt idx="29">
                  <c:v>0.20967797818209899</c:v>
                </c:pt>
                <c:pt idx="30">
                  <c:v>0.235890303378261</c:v>
                </c:pt>
                <c:pt idx="31">
                  <c:v>0.235890303378261</c:v>
                </c:pt>
                <c:pt idx="32">
                  <c:v>0.235890303378261</c:v>
                </c:pt>
                <c:pt idx="33">
                  <c:v>0.235890303378261</c:v>
                </c:pt>
                <c:pt idx="34">
                  <c:v>0.262102628574434</c:v>
                </c:pt>
                <c:pt idx="35">
                  <c:v>0.262102628574434</c:v>
                </c:pt>
                <c:pt idx="36">
                  <c:v>0.262102628574434</c:v>
                </c:pt>
                <c:pt idx="37">
                  <c:v>0.262102628574434</c:v>
                </c:pt>
                <c:pt idx="38">
                  <c:v>0.31452727896678101</c:v>
                </c:pt>
                <c:pt idx="39">
                  <c:v>0.31452727896678101</c:v>
                </c:pt>
                <c:pt idx="40">
                  <c:v>0.31452727896678101</c:v>
                </c:pt>
                <c:pt idx="41">
                  <c:v>0.34074649851466599</c:v>
                </c:pt>
                <c:pt idx="42">
                  <c:v>0.34074649851466599</c:v>
                </c:pt>
                <c:pt idx="43">
                  <c:v>0.34074649851466599</c:v>
                </c:pt>
                <c:pt idx="44">
                  <c:v>0.36696571806255102</c:v>
                </c:pt>
                <c:pt idx="45">
                  <c:v>0.36696571806255102</c:v>
                </c:pt>
                <c:pt idx="46">
                  <c:v>0.36696571806255102</c:v>
                </c:pt>
                <c:pt idx="47">
                  <c:v>0.36696571806255102</c:v>
                </c:pt>
                <c:pt idx="48">
                  <c:v>0.39318493761043599</c:v>
                </c:pt>
                <c:pt idx="49">
                  <c:v>0.39318493761043599</c:v>
                </c:pt>
                <c:pt idx="50">
                  <c:v>0.44562337670619401</c:v>
                </c:pt>
                <c:pt idx="51">
                  <c:v>0.44562337670619401</c:v>
                </c:pt>
                <c:pt idx="52">
                  <c:v>0.49807562993237098</c:v>
                </c:pt>
                <c:pt idx="53">
                  <c:v>0.49807562993237098</c:v>
                </c:pt>
                <c:pt idx="54">
                  <c:v>0.52430175654546496</c:v>
                </c:pt>
                <c:pt idx="55">
                  <c:v>0.52430175654546496</c:v>
                </c:pt>
                <c:pt idx="56">
                  <c:v>0.55052788315854695</c:v>
                </c:pt>
                <c:pt idx="57">
                  <c:v>0.55052788315854695</c:v>
                </c:pt>
                <c:pt idx="58">
                  <c:v>0.55052788315854695</c:v>
                </c:pt>
                <c:pt idx="59">
                  <c:v>0.55052788315854695</c:v>
                </c:pt>
                <c:pt idx="60">
                  <c:v>0.57675400977164004</c:v>
                </c:pt>
                <c:pt idx="61">
                  <c:v>0.57675400977164004</c:v>
                </c:pt>
                <c:pt idx="62">
                  <c:v>0.57675400977164004</c:v>
                </c:pt>
                <c:pt idx="63">
                  <c:v>0.57675400977164004</c:v>
                </c:pt>
                <c:pt idx="64">
                  <c:v>0.60298013638473402</c:v>
                </c:pt>
                <c:pt idx="65">
                  <c:v>0.60298013638473402</c:v>
                </c:pt>
                <c:pt idx="66">
                  <c:v>0.60298013638473402</c:v>
                </c:pt>
                <c:pt idx="67">
                  <c:v>0.60298013638473402</c:v>
                </c:pt>
                <c:pt idx="68">
                  <c:v>0.65544623290815196</c:v>
                </c:pt>
                <c:pt idx="69">
                  <c:v>0.65544623290815196</c:v>
                </c:pt>
                <c:pt idx="70">
                  <c:v>0.68167928116985599</c:v>
                </c:pt>
                <c:pt idx="71">
                  <c:v>0.68167928116985599</c:v>
                </c:pt>
                <c:pt idx="72">
                  <c:v>0.70791232943157001</c:v>
                </c:pt>
                <c:pt idx="73">
                  <c:v>0.70791232943157001</c:v>
                </c:pt>
                <c:pt idx="74">
                  <c:v>0.73414537769327404</c:v>
                </c:pt>
                <c:pt idx="75">
                  <c:v>0.73414537769327404</c:v>
                </c:pt>
                <c:pt idx="76">
                  <c:v>0.76037842595498795</c:v>
                </c:pt>
                <c:pt idx="77">
                  <c:v>0.76037842595498795</c:v>
                </c:pt>
                <c:pt idx="78">
                  <c:v>0.78661147421669197</c:v>
                </c:pt>
                <c:pt idx="79">
                  <c:v>0.78661147421669197</c:v>
                </c:pt>
                <c:pt idx="80">
                  <c:v>0.83907757074011002</c:v>
                </c:pt>
                <c:pt idx="81">
                  <c:v>0.83907757074011002</c:v>
                </c:pt>
                <c:pt idx="82">
                  <c:v>0.83907757074011002</c:v>
                </c:pt>
                <c:pt idx="83">
                  <c:v>0.83907757074011002</c:v>
                </c:pt>
                <c:pt idx="84">
                  <c:v>0.86531756079812905</c:v>
                </c:pt>
                <c:pt idx="85">
                  <c:v>0.86531756079812905</c:v>
                </c:pt>
                <c:pt idx="86">
                  <c:v>0.89155755085614796</c:v>
                </c:pt>
                <c:pt idx="87">
                  <c:v>0.89155755085614796</c:v>
                </c:pt>
                <c:pt idx="88">
                  <c:v>0.97027752103021603</c:v>
                </c:pt>
                <c:pt idx="89">
                  <c:v>0.97027752103021603</c:v>
                </c:pt>
                <c:pt idx="90">
                  <c:v>0.99653142412644602</c:v>
                </c:pt>
                <c:pt idx="91">
                  <c:v>0.99653142412644602</c:v>
                </c:pt>
                <c:pt idx="92">
                  <c:v>0.99653142412644602</c:v>
                </c:pt>
                <c:pt idx="93">
                  <c:v>0.99653142412644602</c:v>
                </c:pt>
                <c:pt idx="94">
                  <c:v>1.022785327222675</c:v>
                </c:pt>
                <c:pt idx="95">
                  <c:v>1.022785327222675</c:v>
                </c:pt>
                <c:pt idx="96">
                  <c:v>1.022785327222675</c:v>
                </c:pt>
                <c:pt idx="97">
                  <c:v>1.022785327222675</c:v>
                </c:pt>
                <c:pt idx="98">
                  <c:v>1.049039230318894</c:v>
                </c:pt>
                <c:pt idx="99">
                  <c:v>1.049039230318894</c:v>
                </c:pt>
                <c:pt idx="100">
                  <c:v>1.049039230318894</c:v>
                </c:pt>
                <c:pt idx="101">
                  <c:v>1.049039230318894</c:v>
                </c:pt>
                <c:pt idx="102">
                  <c:v>1.075293133415123</c:v>
                </c:pt>
                <c:pt idx="103">
                  <c:v>1.075293133415123</c:v>
                </c:pt>
                <c:pt idx="104">
                  <c:v>1.1015470365113531</c:v>
                </c:pt>
                <c:pt idx="105">
                  <c:v>1.1015470365113531</c:v>
                </c:pt>
                <c:pt idx="106">
                  <c:v>1.1015470365113531</c:v>
                </c:pt>
                <c:pt idx="107">
                  <c:v>1.1015470365113531</c:v>
                </c:pt>
                <c:pt idx="108">
                  <c:v>1.1278009396075821</c:v>
                </c:pt>
                <c:pt idx="109">
                  <c:v>1.1278009396075821</c:v>
                </c:pt>
                <c:pt idx="110">
                  <c:v>1.1540548427038111</c:v>
                </c:pt>
                <c:pt idx="111">
                  <c:v>1.1540548427038111</c:v>
                </c:pt>
                <c:pt idx="112">
                  <c:v>1.1803157208008619</c:v>
                </c:pt>
                <c:pt idx="113">
                  <c:v>1.1803157208008619</c:v>
                </c:pt>
                <c:pt idx="114">
                  <c:v>1.1803157208008619</c:v>
                </c:pt>
                <c:pt idx="115">
                  <c:v>1.206576598897902</c:v>
                </c:pt>
                <c:pt idx="116">
                  <c:v>1.206576598897902</c:v>
                </c:pt>
                <c:pt idx="117">
                  <c:v>1.206576598897902</c:v>
                </c:pt>
                <c:pt idx="118">
                  <c:v>1.206576598897902</c:v>
                </c:pt>
                <c:pt idx="119">
                  <c:v>1.2591123199301339</c:v>
                </c:pt>
                <c:pt idx="120">
                  <c:v>1.2591123199301339</c:v>
                </c:pt>
                <c:pt idx="121">
                  <c:v>1.2591123199301339</c:v>
                </c:pt>
                <c:pt idx="122">
                  <c:v>1.2591123199301339</c:v>
                </c:pt>
                <c:pt idx="123">
                  <c:v>1.2591123199301339</c:v>
                </c:pt>
                <c:pt idx="124">
                  <c:v>1.2591123199301339</c:v>
                </c:pt>
                <c:pt idx="125">
                  <c:v>1.2853871702973581</c:v>
                </c:pt>
                <c:pt idx="126">
                  <c:v>1.2853871702973581</c:v>
                </c:pt>
                <c:pt idx="127">
                  <c:v>1.311662020664595</c:v>
                </c:pt>
                <c:pt idx="128">
                  <c:v>1.311662020664595</c:v>
                </c:pt>
                <c:pt idx="129">
                  <c:v>1.33793687103183</c:v>
                </c:pt>
                <c:pt idx="130">
                  <c:v>1.33793687103183</c:v>
                </c:pt>
                <c:pt idx="131">
                  <c:v>1.364211721399067</c:v>
                </c:pt>
                <c:pt idx="132">
                  <c:v>1.364211721399067</c:v>
                </c:pt>
                <c:pt idx="133">
                  <c:v>1.3904865717663031</c:v>
                </c:pt>
                <c:pt idx="134">
                  <c:v>1.3904865717663031</c:v>
                </c:pt>
                <c:pt idx="135">
                  <c:v>1.3904865717663031</c:v>
                </c:pt>
                <c:pt idx="136">
                  <c:v>1.3904865717663031</c:v>
                </c:pt>
                <c:pt idx="137">
                  <c:v>1.4167684250254271</c:v>
                </c:pt>
                <c:pt idx="138">
                  <c:v>1.4167684250254271</c:v>
                </c:pt>
                <c:pt idx="139">
                  <c:v>1.443050278284552</c:v>
                </c:pt>
                <c:pt idx="140">
                  <c:v>1.443050278284552</c:v>
                </c:pt>
                <c:pt idx="141">
                  <c:v>1.4693321315436769</c:v>
                </c:pt>
                <c:pt idx="142">
                  <c:v>1.4693321315436769</c:v>
                </c:pt>
                <c:pt idx="143">
                  <c:v>1.4956139848028021</c:v>
                </c:pt>
                <c:pt idx="144">
                  <c:v>1.4956139848028021</c:v>
                </c:pt>
                <c:pt idx="145">
                  <c:v>1.5218958380619261</c:v>
                </c:pt>
                <c:pt idx="146">
                  <c:v>1.5218958380619261</c:v>
                </c:pt>
                <c:pt idx="147">
                  <c:v>1.5218958380619261</c:v>
                </c:pt>
                <c:pt idx="148">
                  <c:v>1.5218958380619261</c:v>
                </c:pt>
                <c:pt idx="149">
                  <c:v>1.5218958380619261</c:v>
                </c:pt>
                <c:pt idx="150">
                  <c:v>1.5744595445801639</c:v>
                </c:pt>
                <c:pt idx="151">
                  <c:v>1.5744595445801639</c:v>
                </c:pt>
                <c:pt idx="152">
                  <c:v>1.6270232510984131</c:v>
                </c:pt>
                <c:pt idx="153">
                  <c:v>1.6270232510984131</c:v>
                </c:pt>
                <c:pt idx="154">
                  <c:v>1.6533051043575391</c:v>
                </c:pt>
                <c:pt idx="155">
                  <c:v>1.6533051043575391</c:v>
                </c:pt>
                <c:pt idx="156">
                  <c:v>1.6795869576166631</c:v>
                </c:pt>
                <c:pt idx="157">
                  <c:v>1.6795869576166631</c:v>
                </c:pt>
                <c:pt idx="158">
                  <c:v>1.7321506641349129</c:v>
                </c:pt>
                <c:pt idx="159">
                  <c:v>1.7321506641349129</c:v>
                </c:pt>
                <c:pt idx="160">
                  <c:v>1.7584395483874251</c:v>
                </c:pt>
                <c:pt idx="161">
                  <c:v>1.7584395483874251</c:v>
                </c:pt>
                <c:pt idx="162">
                  <c:v>1.7847284326399371</c:v>
                </c:pt>
                <c:pt idx="163">
                  <c:v>1.7847284326399371</c:v>
                </c:pt>
                <c:pt idx="164">
                  <c:v>1.8373062011449499</c:v>
                </c:pt>
                <c:pt idx="165">
                  <c:v>1.8373062011449499</c:v>
                </c:pt>
                <c:pt idx="166">
                  <c:v>1.8373062011449499</c:v>
                </c:pt>
                <c:pt idx="167">
                  <c:v>1.8373062011449499</c:v>
                </c:pt>
                <c:pt idx="168">
                  <c:v>1.8373062011449499</c:v>
                </c:pt>
                <c:pt idx="169">
                  <c:v>1.863595085397451</c:v>
                </c:pt>
                <c:pt idx="170">
                  <c:v>1.863595085397451</c:v>
                </c:pt>
                <c:pt idx="171">
                  <c:v>1.863595085397451</c:v>
                </c:pt>
                <c:pt idx="172">
                  <c:v>1.863595085397451</c:v>
                </c:pt>
                <c:pt idx="173">
                  <c:v>1.863595085397451</c:v>
                </c:pt>
                <c:pt idx="174">
                  <c:v>1.889905113524692</c:v>
                </c:pt>
                <c:pt idx="175">
                  <c:v>1.889905113524692</c:v>
                </c:pt>
                <c:pt idx="176">
                  <c:v>1.889905113524692</c:v>
                </c:pt>
                <c:pt idx="177">
                  <c:v>1.889905113524692</c:v>
                </c:pt>
                <c:pt idx="178">
                  <c:v>1.889905113524692</c:v>
                </c:pt>
                <c:pt idx="179">
                  <c:v>1.889905113524692</c:v>
                </c:pt>
                <c:pt idx="180">
                  <c:v>1.916215141651934</c:v>
                </c:pt>
                <c:pt idx="181">
                  <c:v>1.916215141651934</c:v>
                </c:pt>
                <c:pt idx="182">
                  <c:v>1.916215141651934</c:v>
                </c:pt>
                <c:pt idx="183">
                  <c:v>1.916215141651934</c:v>
                </c:pt>
                <c:pt idx="184">
                  <c:v>1.916215141651934</c:v>
                </c:pt>
                <c:pt idx="185">
                  <c:v>1.916215141651934</c:v>
                </c:pt>
                <c:pt idx="186">
                  <c:v>1.9425251697791741</c:v>
                </c:pt>
                <c:pt idx="187">
                  <c:v>1.9425251697791741</c:v>
                </c:pt>
                <c:pt idx="188">
                  <c:v>1.968835197906416</c:v>
                </c:pt>
                <c:pt idx="189">
                  <c:v>1.968835197906416</c:v>
                </c:pt>
                <c:pt idx="190">
                  <c:v>1.968835197906416</c:v>
                </c:pt>
                <c:pt idx="191">
                  <c:v>2.0214693803504931</c:v>
                </c:pt>
                <c:pt idx="192">
                  <c:v>2.0214693803504931</c:v>
                </c:pt>
                <c:pt idx="193">
                  <c:v>2.0477864715725329</c:v>
                </c:pt>
                <c:pt idx="194">
                  <c:v>2.0477864715725329</c:v>
                </c:pt>
                <c:pt idx="195">
                  <c:v>2.074103562794571</c:v>
                </c:pt>
                <c:pt idx="196">
                  <c:v>2.074103562794571</c:v>
                </c:pt>
                <c:pt idx="197">
                  <c:v>2.1004206540166122</c:v>
                </c:pt>
                <c:pt idx="198">
                  <c:v>2.1004206540166122</c:v>
                </c:pt>
                <c:pt idx="199">
                  <c:v>2.1267377452386498</c:v>
                </c:pt>
                <c:pt idx="200">
                  <c:v>2.1267377452386498</c:v>
                </c:pt>
                <c:pt idx="201">
                  <c:v>2.153054836460687</c:v>
                </c:pt>
                <c:pt idx="202">
                  <c:v>2.153054836460687</c:v>
                </c:pt>
                <c:pt idx="203">
                  <c:v>2.153054836460687</c:v>
                </c:pt>
                <c:pt idx="204">
                  <c:v>2.153054836460687</c:v>
                </c:pt>
                <c:pt idx="205">
                  <c:v>2.1793719276827281</c:v>
                </c:pt>
                <c:pt idx="206">
                  <c:v>2.1793719276827281</c:v>
                </c:pt>
                <c:pt idx="207">
                  <c:v>2.1793719276827281</c:v>
                </c:pt>
                <c:pt idx="208">
                  <c:v>2.1793719276827281</c:v>
                </c:pt>
                <c:pt idx="209">
                  <c:v>2.1793719276827281</c:v>
                </c:pt>
                <c:pt idx="210">
                  <c:v>2.1793719276827281</c:v>
                </c:pt>
                <c:pt idx="211">
                  <c:v>2.205696101006815</c:v>
                </c:pt>
                <c:pt idx="212">
                  <c:v>2.205696101006815</c:v>
                </c:pt>
                <c:pt idx="213">
                  <c:v>2.2320202743309041</c:v>
                </c:pt>
                <c:pt idx="214">
                  <c:v>2.2320202743309041</c:v>
                </c:pt>
                <c:pt idx="215">
                  <c:v>2.2320202743309041</c:v>
                </c:pt>
                <c:pt idx="216">
                  <c:v>2.2320202743309041</c:v>
                </c:pt>
                <c:pt idx="217">
                  <c:v>2.2320202743309041</c:v>
                </c:pt>
                <c:pt idx="218">
                  <c:v>2.2320202743309041</c:v>
                </c:pt>
                <c:pt idx="219">
                  <c:v>2.2320202743309041</c:v>
                </c:pt>
                <c:pt idx="220">
                  <c:v>2.2320202743309041</c:v>
                </c:pt>
                <c:pt idx="221">
                  <c:v>2.258358630938027</c:v>
                </c:pt>
                <c:pt idx="222">
                  <c:v>2.258358630938027</c:v>
                </c:pt>
                <c:pt idx="223">
                  <c:v>2.284696987545165</c:v>
                </c:pt>
                <c:pt idx="224">
                  <c:v>2.284696987545165</c:v>
                </c:pt>
                <c:pt idx="225">
                  <c:v>2.337373700759426</c:v>
                </c:pt>
                <c:pt idx="226">
                  <c:v>2.337373700759426</c:v>
                </c:pt>
                <c:pt idx="227">
                  <c:v>2.337373700759426</c:v>
                </c:pt>
                <c:pt idx="228">
                  <c:v>2.337373700759426</c:v>
                </c:pt>
                <c:pt idx="229">
                  <c:v>2.3637120573665529</c:v>
                </c:pt>
                <c:pt idx="230">
                  <c:v>2.3637120573665529</c:v>
                </c:pt>
                <c:pt idx="231">
                  <c:v>2.3637120573665529</c:v>
                </c:pt>
                <c:pt idx="232">
                  <c:v>2.3637120573665529</c:v>
                </c:pt>
                <c:pt idx="233">
                  <c:v>2.3637120573665529</c:v>
                </c:pt>
                <c:pt idx="234">
                  <c:v>2.3637120573665529</c:v>
                </c:pt>
                <c:pt idx="235">
                  <c:v>2.3900504139736869</c:v>
                </c:pt>
                <c:pt idx="236">
                  <c:v>2.3900504139736869</c:v>
                </c:pt>
                <c:pt idx="237">
                  <c:v>2.44272712718795</c:v>
                </c:pt>
                <c:pt idx="238">
                  <c:v>2.44272712718795</c:v>
                </c:pt>
                <c:pt idx="239">
                  <c:v>2.44272712718795</c:v>
                </c:pt>
                <c:pt idx="240">
                  <c:v>2.44272712718795</c:v>
                </c:pt>
                <c:pt idx="241">
                  <c:v>2.44272712718795</c:v>
                </c:pt>
                <c:pt idx="242">
                  <c:v>2.44272712718795</c:v>
                </c:pt>
                <c:pt idx="243">
                  <c:v>2.44272712718795</c:v>
                </c:pt>
                <c:pt idx="244">
                  <c:v>2.44272712718795</c:v>
                </c:pt>
                <c:pt idx="245">
                  <c:v>2.4690725965027851</c:v>
                </c:pt>
                <c:pt idx="246">
                  <c:v>2.4690725965027851</c:v>
                </c:pt>
                <c:pt idx="247">
                  <c:v>2.4954180658176219</c:v>
                </c:pt>
                <c:pt idx="248">
                  <c:v>2.4954180658176219</c:v>
                </c:pt>
                <c:pt idx="249">
                  <c:v>2.5217635351324601</c:v>
                </c:pt>
                <c:pt idx="250">
                  <c:v>2.5217635351324601</c:v>
                </c:pt>
                <c:pt idx="251">
                  <c:v>2.5217635351324601</c:v>
                </c:pt>
                <c:pt idx="252">
                  <c:v>2.5217635351324601</c:v>
                </c:pt>
                <c:pt idx="253">
                  <c:v>2.5481090044472849</c:v>
                </c:pt>
                <c:pt idx="254">
                  <c:v>2.5481090044472849</c:v>
                </c:pt>
                <c:pt idx="255">
                  <c:v>2.5481090044472849</c:v>
                </c:pt>
                <c:pt idx="256">
                  <c:v>2.5481090044472849</c:v>
                </c:pt>
                <c:pt idx="257">
                  <c:v>2.5481090044472849</c:v>
                </c:pt>
                <c:pt idx="258">
                  <c:v>2.5481090044472849</c:v>
                </c:pt>
                <c:pt idx="259">
                  <c:v>2.5744544737621209</c:v>
                </c:pt>
                <c:pt idx="260">
                  <c:v>2.5744544737621209</c:v>
                </c:pt>
                <c:pt idx="261">
                  <c:v>2.600799943076948</c:v>
                </c:pt>
                <c:pt idx="262">
                  <c:v>2.600799943076948</c:v>
                </c:pt>
                <c:pt idx="263">
                  <c:v>2.6534908817066118</c:v>
                </c:pt>
                <c:pt idx="264">
                  <c:v>2.6534908817066118</c:v>
                </c:pt>
                <c:pt idx="265">
                  <c:v>2.6798363510214478</c:v>
                </c:pt>
                <c:pt idx="266">
                  <c:v>2.6798363510214478</c:v>
                </c:pt>
                <c:pt idx="267">
                  <c:v>2.6798363510214478</c:v>
                </c:pt>
                <c:pt idx="268">
                  <c:v>2.6798363510214478</c:v>
                </c:pt>
                <c:pt idx="269">
                  <c:v>2.7061818203362842</c:v>
                </c:pt>
                <c:pt idx="270">
                  <c:v>2.7061818203362842</c:v>
                </c:pt>
                <c:pt idx="271">
                  <c:v>2.7061818203362842</c:v>
                </c:pt>
                <c:pt idx="272">
                  <c:v>2.7061818203362842</c:v>
                </c:pt>
                <c:pt idx="273">
                  <c:v>2.7061818203362842</c:v>
                </c:pt>
                <c:pt idx="274">
                  <c:v>2.7061818203362842</c:v>
                </c:pt>
                <c:pt idx="275">
                  <c:v>2.7061818203362842</c:v>
                </c:pt>
                <c:pt idx="276">
                  <c:v>2.7061818203362842</c:v>
                </c:pt>
                <c:pt idx="277">
                  <c:v>2.7061818203362842</c:v>
                </c:pt>
                <c:pt idx="278">
                  <c:v>2.7061818203362842</c:v>
                </c:pt>
                <c:pt idx="279">
                  <c:v>2.7061818203362842</c:v>
                </c:pt>
                <c:pt idx="280">
                  <c:v>2.7061818203362842</c:v>
                </c:pt>
                <c:pt idx="281">
                  <c:v>2.7061818203362842</c:v>
                </c:pt>
                <c:pt idx="282">
                  <c:v>2.7061818203362842</c:v>
                </c:pt>
                <c:pt idx="283">
                  <c:v>2.7061818203362842</c:v>
                </c:pt>
                <c:pt idx="284">
                  <c:v>2.7061818203362842</c:v>
                </c:pt>
                <c:pt idx="285">
                  <c:v>2.7325344254770401</c:v>
                </c:pt>
                <c:pt idx="286">
                  <c:v>2.7325344254770401</c:v>
                </c:pt>
                <c:pt idx="287">
                  <c:v>2.7325344254770401</c:v>
                </c:pt>
                <c:pt idx="288">
                  <c:v>2.7325344254770401</c:v>
                </c:pt>
                <c:pt idx="289">
                  <c:v>2.7325344254770401</c:v>
                </c:pt>
                <c:pt idx="290">
                  <c:v>2.7325344254770401</c:v>
                </c:pt>
                <c:pt idx="291">
                  <c:v>2.7325344254770401</c:v>
                </c:pt>
                <c:pt idx="292">
                  <c:v>2.7325344254770401</c:v>
                </c:pt>
                <c:pt idx="293">
                  <c:v>2.7588870306177959</c:v>
                </c:pt>
                <c:pt idx="294">
                  <c:v>2.7588870306177959</c:v>
                </c:pt>
                <c:pt idx="295">
                  <c:v>2.7588870306177959</c:v>
                </c:pt>
                <c:pt idx="296">
                  <c:v>2.7588870306177959</c:v>
                </c:pt>
                <c:pt idx="297">
                  <c:v>2.7588870306177959</c:v>
                </c:pt>
                <c:pt idx="298">
                  <c:v>2.811606528025977</c:v>
                </c:pt>
                <c:pt idx="299">
                  <c:v>2.811606528025977</c:v>
                </c:pt>
                <c:pt idx="300">
                  <c:v>2.811606528025977</c:v>
                </c:pt>
                <c:pt idx="301">
                  <c:v>2.811606528025977</c:v>
                </c:pt>
                <c:pt idx="302">
                  <c:v>2.837966276730064</c:v>
                </c:pt>
                <c:pt idx="303">
                  <c:v>2.837966276730064</c:v>
                </c:pt>
                <c:pt idx="304">
                  <c:v>2.837966276730064</c:v>
                </c:pt>
                <c:pt idx="305">
                  <c:v>2.837966276730064</c:v>
                </c:pt>
                <c:pt idx="306">
                  <c:v>2.837966276730064</c:v>
                </c:pt>
                <c:pt idx="307">
                  <c:v>2.8643331786902491</c:v>
                </c:pt>
                <c:pt idx="308">
                  <c:v>2.8643331786902491</c:v>
                </c:pt>
                <c:pt idx="309">
                  <c:v>2.8643331786902491</c:v>
                </c:pt>
                <c:pt idx="310">
                  <c:v>2.8643331786902491</c:v>
                </c:pt>
                <c:pt idx="311">
                  <c:v>2.8643331786902491</c:v>
                </c:pt>
                <c:pt idx="312">
                  <c:v>2.9170813007762142</c:v>
                </c:pt>
                <c:pt idx="313">
                  <c:v>2.9170813007762142</c:v>
                </c:pt>
                <c:pt idx="314">
                  <c:v>2.943455361819193</c:v>
                </c:pt>
                <c:pt idx="315">
                  <c:v>2.943455361819193</c:v>
                </c:pt>
                <c:pt idx="316">
                  <c:v>2.943455361819193</c:v>
                </c:pt>
                <c:pt idx="317">
                  <c:v>2.943455361819193</c:v>
                </c:pt>
                <c:pt idx="318">
                  <c:v>2.943455361819193</c:v>
                </c:pt>
                <c:pt idx="319">
                  <c:v>2.943455361819193</c:v>
                </c:pt>
                <c:pt idx="320">
                  <c:v>2.9698294228621691</c:v>
                </c:pt>
                <c:pt idx="321">
                  <c:v>2.9698294228621691</c:v>
                </c:pt>
                <c:pt idx="322">
                  <c:v>2.9698294228621691</c:v>
                </c:pt>
                <c:pt idx="323">
                  <c:v>3.0225775449481351</c:v>
                </c:pt>
                <c:pt idx="324">
                  <c:v>3.0225775449481351</c:v>
                </c:pt>
                <c:pt idx="325">
                  <c:v>3.0225775449481351</c:v>
                </c:pt>
                <c:pt idx="326">
                  <c:v>3.0225775449481351</c:v>
                </c:pt>
                <c:pt idx="327">
                  <c:v>3.0489587806540759</c:v>
                </c:pt>
                <c:pt idx="328">
                  <c:v>3.0489587806540759</c:v>
                </c:pt>
                <c:pt idx="329">
                  <c:v>3.1017212520659578</c:v>
                </c:pt>
                <c:pt idx="330">
                  <c:v>3.1017212520659578</c:v>
                </c:pt>
                <c:pt idx="331">
                  <c:v>3.1281024877719119</c:v>
                </c:pt>
                <c:pt idx="332">
                  <c:v>3.1281024877719119</c:v>
                </c:pt>
                <c:pt idx="333">
                  <c:v>3.1281024877719119</c:v>
                </c:pt>
                <c:pt idx="334">
                  <c:v>3.1808793319627151</c:v>
                </c:pt>
                <c:pt idx="335">
                  <c:v>3.1808793319627151</c:v>
                </c:pt>
                <c:pt idx="336">
                  <c:v>3.1808793319627151</c:v>
                </c:pt>
                <c:pt idx="337">
                  <c:v>3.1808793319627151</c:v>
                </c:pt>
                <c:pt idx="338">
                  <c:v>3.207267754058118</c:v>
                </c:pt>
                <c:pt idx="339">
                  <c:v>3.207267754058118</c:v>
                </c:pt>
                <c:pt idx="340">
                  <c:v>3.207267754058118</c:v>
                </c:pt>
                <c:pt idx="341">
                  <c:v>3.207267754058118</c:v>
                </c:pt>
                <c:pt idx="342">
                  <c:v>3.207267754058118</c:v>
                </c:pt>
                <c:pt idx="343">
                  <c:v>3.2864978213808631</c:v>
                </c:pt>
                <c:pt idx="344">
                  <c:v>3.2864978213808631</c:v>
                </c:pt>
                <c:pt idx="345">
                  <c:v>3.2864978213808631</c:v>
                </c:pt>
                <c:pt idx="346">
                  <c:v>3.2864978213808631</c:v>
                </c:pt>
                <c:pt idx="347">
                  <c:v>3.2864978213808631</c:v>
                </c:pt>
                <c:pt idx="348">
                  <c:v>3.3129222755280301</c:v>
                </c:pt>
                <c:pt idx="349">
                  <c:v>3.3129222755280301</c:v>
                </c:pt>
                <c:pt idx="350">
                  <c:v>3.3393467296751962</c:v>
                </c:pt>
                <c:pt idx="351">
                  <c:v>3.3393467296751962</c:v>
                </c:pt>
                <c:pt idx="352">
                  <c:v>3.365771183822353</c:v>
                </c:pt>
                <c:pt idx="353">
                  <c:v>3.365771183822353</c:v>
                </c:pt>
                <c:pt idx="354">
                  <c:v>3.4186200921166869</c:v>
                </c:pt>
                <c:pt idx="355">
                  <c:v>3.4186200921166869</c:v>
                </c:pt>
                <c:pt idx="356">
                  <c:v>3.4186200921166869</c:v>
                </c:pt>
                <c:pt idx="357">
                  <c:v>3.4186200921166869</c:v>
                </c:pt>
                <c:pt idx="358">
                  <c:v>3.4450517779152321</c:v>
                </c:pt>
                <c:pt idx="359">
                  <c:v>3.4450517779152321</c:v>
                </c:pt>
                <c:pt idx="360">
                  <c:v>3.4450517779152321</c:v>
                </c:pt>
                <c:pt idx="361">
                  <c:v>3.4450517779152321</c:v>
                </c:pt>
                <c:pt idx="362">
                  <c:v>3.497929624696217</c:v>
                </c:pt>
                <c:pt idx="363">
                  <c:v>3.497929624696217</c:v>
                </c:pt>
                <c:pt idx="364">
                  <c:v>3.497929624696217</c:v>
                </c:pt>
                <c:pt idx="365">
                  <c:v>3.5243830431105012</c:v>
                </c:pt>
                <c:pt idx="366">
                  <c:v>3.5243830431105012</c:v>
                </c:pt>
                <c:pt idx="367">
                  <c:v>3.5243830431105012</c:v>
                </c:pt>
                <c:pt idx="368">
                  <c:v>3.5243830431105012</c:v>
                </c:pt>
                <c:pt idx="369">
                  <c:v>3.5508364615247752</c:v>
                </c:pt>
                <c:pt idx="370">
                  <c:v>3.5508364615247752</c:v>
                </c:pt>
                <c:pt idx="371">
                  <c:v>3.6037432983533351</c:v>
                </c:pt>
                <c:pt idx="372">
                  <c:v>3.6037432983533351</c:v>
                </c:pt>
                <c:pt idx="373">
                  <c:v>3.6301967167676201</c:v>
                </c:pt>
                <c:pt idx="374">
                  <c:v>3.6301967167676201</c:v>
                </c:pt>
                <c:pt idx="375">
                  <c:v>3.6831326153027648</c:v>
                </c:pt>
                <c:pt idx="376">
                  <c:v>3.6831326153027648</c:v>
                </c:pt>
                <c:pt idx="377">
                  <c:v>3.7096005645703372</c:v>
                </c:pt>
                <c:pt idx="378">
                  <c:v>3.7096005645703372</c:v>
                </c:pt>
                <c:pt idx="379">
                  <c:v>3.7096005645703372</c:v>
                </c:pt>
                <c:pt idx="380">
                  <c:v>3.7096005645703372</c:v>
                </c:pt>
                <c:pt idx="381">
                  <c:v>3.7096005645703372</c:v>
                </c:pt>
                <c:pt idx="382">
                  <c:v>3.7096005645703372</c:v>
                </c:pt>
                <c:pt idx="383">
                  <c:v>3.7360685138379091</c:v>
                </c:pt>
                <c:pt idx="384">
                  <c:v>3.7360685138379091</c:v>
                </c:pt>
                <c:pt idx="385">
                  <c:v>3.7625364631054832</c:v>
                </c:pt>
                <c:pt idx="386">
                  <c:v>3.7625364631054832</c:v>
                </c:pt>
                <c:pt idx="387">
                  <c:v>3.7890044123730542</c:v>
                </c:pt>
                <c:pt idx="388">
                  <c:v>3.7890044123730542</c:v>
                </c:pt>
                <c:pt idx="389">
                  <c:v>3.7890044123730542</c:v>
                </c:pt>
                <c:pt idx="390">
                  <c:v>3.7890044123730542</c:v>
                </c:pt>
                <c:pt idx="391">
                  <c:v>3.8154723616406252</c:v>
                </c:pt>
                <c:pt idx="392">
                  <c:v>3.8154723616406252</c:v>
                </c:pt>
                <c:pt idx="393">
                  <c:v>3.8154723616406252</c:v>
                </c:pt>
                <c:pt idx="394">
                  <c:v>3.8154723616406252</c:v>
                </c:pt>
                <c:pt idx="395">
                  <c:v>3.8154723616406252</c:v>
                </c:pt>
                <c:pt idx="396">
                  <c:v>3.8154723616406252</c:v>
                </c:pt>
                <c:pt idx="397">
                  <c:v>3.8419403109081989</c:v>
                </c:pt>
                <c:pt idx="398">
                  <c:v>3.8419403109081989</c:v>
                </c:pt>
                <c:pt idx="399">
                  <c:v>3.8419403109081989</c:v>
                </c:pt>
                <c:pt idx="400">
                  <c:v>3.8419403109081989</c:v>
                </c:pt>
                <c:pt idx="401">
                  <c:v>3.8684082601757721</c:v>
                </c:pt>
                <c:pt idx="402">
                  <c:v>3.8684082601757721</c:v>
                </c:pt>
                <c:pt idx="403">
                  <c:v>3.8948762094433418</c:v>
                </c:pt>
                <c:pt idx="404">
                  <c:v>3.8948762094433418</c:v>
                </c:pt>
                <c:pt idx="405">
                  <c:v>3.8948762094433418</c:v>
                </c:pt>
                <c:pt idx="406">
                  <c:v>3.8948762094433418</c:v>
                </c:pt>
                <c:pt idx="407">
                  <c:v>3.8948762094433418</c:v>
                </c:pt>
                <c:pt idx="408">
                  <c:v>3.8948762094433418</c:v>
                </c:pt>
                <c:pt idx="409">
                  <c:v>3.8948762094433418</c:v>
                </c:pt>
                <c:pt idx="410">
                  <c:v>3.9743238179778322</c:v>
                </c:pt>
                <c:pt idx="411">
                  <c:v>3.9743238179778322</c:v>
                </c:pt>
                <c:pt idx="412">
                  <c:v>3.9743238179778322</c:v>
                </c:pt>
                <c:pt idx="413">
                  <c:v>3.9743238179778322</c:v>
                </c:pt>
                <c:pt idx="414">
                  <c:v>4.0008136596832227</c:v>
                </c:pt>
                <c:pt idx="415">
                  <c:v>4.0008136596832227</c:v>
                </c:pt>
                <c:pt idx="416">
                  <c:v>4.0008136596832227</c:v>
                </c:pt>
                <c:pt idx="417">
                  <c:v>4.0008136596832227</c:v>
                </c:pt>
                <c:pt idx="418">
                  <c:v>4.0008136596832227</c:v>
                </c:pt>
                <c:pt idx="419">
                  <c:v>4.0008136596832227</c:v>
                </c:pt>
                <c:pt idx="420">
                  <c:v>4.0008136596832227</c:v>
                </c:pt>
                <c:pt idx="421">
                  <c:v>4.0008136596832227</c:v>
                </c:pt>
                <c:pt idx="422">
                  <c:v>4.0008136596832227</c:v>
                </c:pt>
                <c:pt idx="423">
                  <c:v>4.0273035013886123</c:v>
                </c:pt>
                <c:pt idx="424">
                  <c:v>4.0273035013886123</c:v>
                </c:pt>
                <c:pt idx="425">
                  <c:v>4.0537933430940036</c:v>
                </c:pt>
                <c:pt idx="426">
                  <c:v>4.0537933430940036</c:v>
                </c:pt>
                <c:pt idx="427">
                  <c:v>4.0537933430940036</c:v>
                </c:pt>
                <c:pt idx="428">
                  <c:v>4.0537933430940036</c:v>
                </c:pt>
                <c:pt idx="429">
                  <c:v>4.0537933430940036</c:v>
                </c:pt>
                <c:pt idx="430">
                  <c:v>4.0537933430940036</c:v>
                </c:pt>
                <c:pt idx="431">
                  <c:v>4.1067876577346567</c:v>
                </c:pt>
                <c:pt idx="432">
                  <c:v>4.1067876577346567</c:v>
                </c:pt>
                <c:pt idx="433">
                  <c:v>4.1067876577346567</c:v>
                </c:pt>
                <c:pt idx="434">
                  <c:v>4.1067876577346567</c:v>
                </c:pt>
                <c:pt idx="435">
                  <c:v>4.1332994665105076</c:v>
                </c:pt>
                <c:pt idx="436">
                  <c:v>4.1332994665105076</c:v>
                </c:pt>
                <c:pt idx="437">
                  <c:v>4.1332994665105076</c:v>
                </c:pt>
                <c:pt idx="438">
                  <c:v>4.1332994665105076</c:v>
                </c:pt>
                <c:pt idx="439">
                  <c:v>4.1332994665105076</c:v>
                </c:pt>
                <c:pt idx="440">
                  <c:v>4.1863377517295852</c:v>
                </c:pt>
                <c:pt idx="441">
                  <c:v>4.1863377517295852</c:v>
                </c:pt>
                <c:pt idx="442">
                  <c:v>4.1863377517295852</c:v>
                </c:pt>
                <c:pt idx="443">
                  <c:v>4.1863377517295852</c:v>
                </c:pt>
                <c:pt idx="444">
                  <c:v>4.1863377517295852</c:v>
                </c:pt>
                <c:pt idx="445">
                  <c:v>4.1863377517295852</c:v>
                </c:pt>
                <c:pt idx="446">
                  <c:v>4.212856894339124</c:v>
                </c:pt>
                <c:pt idx="447">
                  <c:v>4.212856894339124</c:v>
                </c:pt>
                <c:pt idx="448">
                  <c:v>4.2393760369486708</c:v>
                </c:pt>
                <c:pt idx="449">
                  <c:v>4.2393760369486708</c:v>
                </c:pt>
                <c:pt idx="450">
                  <c:v>4.2393760369486708</c:v>
                </c:pt>
                <c:pt idx="451">
                  <c:v>4.2393760369486708</c:v>
                </c:pt>
                <c:pt idx="452">
                  <c:v>4.2658951795582087</c:v>
                </c:pt>
                <c:pt idx="453">
                  <c:v>4.2658951795582087</c:v>
                </c:pt>
                <c:pt idx="454">
                  <c:v>4.2924143221677573</c:v>
                </c:pt>
                <c:pt idx="455">
                  <c:v>4.2924143221677573</c:v>
                </c:pt>
                <c:pt idx="456">
                  <c:v>4.3189334647773068</c:v>
                </c:pt>
                <c:pt idx="457">
                  <c:v>4.3189334647773068</c:v>
                </c:pt>
                <c:pt idx="458">
                  <c:v>4.3189334647773068</c:v>
                </c:pt>
                <c:pt idx="459">
                  <c:v>4.3189334647773068</c:v>
                </c:pt>
                <c:pt idx="460">
                  <c:v>4.3189334647773068</c:v>
                </c:pt>
                <c:pt idx="461">
                  <c:v>4.3719717499963924</c:v>
                </c:pt>
                <c:pt idx="462">
                  <c:v>4.3719717499963924</c:v>
                </c:pt>
                <c:pt idx="463">
                  <c:v>4.3719717499963924</c:v>
                </c:pt>
                <c:pt idx="464">
                  <c:v>4.3719717499963924</c:v>
                </c:pt>
                <c:pt idx="465">
                  <c:v>4.3719717499963924</c:v>
                </c:pt>
                <c:pt idx="466">
                  <c:v>4.3719717499963924</c:v>
                </c:pt>
                <c:pt idx="467">
                  <c:v>4.3984908926059321</c:v>
                </c:pt>
                <c:pt idx="468">
                  <c:v>4.3984908926059321</c:v>
                </c:pt>
                <c:pt idx="469">
                  <c:v>4.4515291778250088</c:v>
                </c:pt>
                <c:pt idx="470">
                  <c:v>4.4515291778250088</c:v>
                </c:pt>
                <c:pt idx="471">
                  <c:v>4.4780483204345503</c:v>
                </c:pt>
                <c:pt idx="472">
                  <c:v>4.4780483204345503</c:v>
                </c:pt>
                <c:pt idx="473">
                  <c:v>4.5045674630440837</c:v>
                </c:pt>
                <c:pt idx="474">
                  <c:v>4.5045674630440837</c:v>
                </c:pt>
                <c:pt idx="475">
                  <c:v>4.5310866056536243</c:v>
                </c:pt>
                <c:pt idx="476">
                  <c:v>4.5310866056536243</c:v>
                </c:pt>
                <c:pt idx="477">
                  <c:v>4.5310866056536243</c:v>
                </c:pt>
                <c:pt idx="478">
                  <c:v>4.5310866056536243</c:v>
                </c:pt>
                <c:pt idx="479">
                  <c:v>4.557605748263172</c:v>
                </c:pt>
                <c:pt idx="480">
                  <c:v>4.557605748263172</c:v>
                </c:pt>
                <c:pt idx="481">
                  <c:v>4.5841248908727099</c:v>
                </c:pt>
                <c:pt idx="482">
                  <c:v>4.5841248908727099</c:v>
                </c:pt>
                <c:pt idx="483">
                  <c:v>4.6106440334822469</c:v>
                </c:pt>
                <c:pt idx="484">
                  <c:v>4.6106440334822469</c:v>
                </c:pt>
                <c:pt idx="485">
                  <c:v>4.6636823187013237</c:v>
                </c:pt>
                <c:pt idx="486">
                  <c:v>4.6636823187013237</c:v>
                </c:pt>
                <c:pt idx="487">
                  <c:v>4.7167206039204004</c:v>
                </c:pt>
                <c:pt idx="488">
                  <c:v>4.7167206039204004</c:v>
                </c:pt>
                <c:pt idx="489">
                  <c:v>4.7432397465299374</c:v>
                </c:pt>
                <c:pt idx="490">
                  <c:v>4.7432397465299374</c:v>
                </c:pt>
                <c:pt idx="491">
                  <c:v>4.7697588891394718</c:v>
                </c:pt>
                <c:pt idx="492">
                  <c:v>4.7697588891394718</c:v>
                </c:pt>
                <c:pt idx="493">
                  <c:v>4.7697588891394718</c:v>
                </c:pt>
                <c:pt idx="494">
                  <c:v>4.7962780317490239</c:v>
                </c:pt>
                <c:pt idx="495">
                  <c:v>4.7962780317490239</c:v>
                </c:pt>
                <c:pt idx="496">
                  <c:v>4.8228045633645769</c:v>
                </c:pt>
                <c:pt idx="497">
                  <c:v>4.8228045633645769</c:v>
                </c:pt>
                <c:pt idx="498">
                  <c:v>4.8228045633645769</c:v>
                </c:pt>
                <c:pt idx="499">
                  <c:v>4.8228045633645769</c:v>
                </c:pt>
                <c:pt idx="500">
                  <c:v>4.8493458894762966</c:v>
                </c:pt>
                <c:pt idx="501">
                  <c:v>4.8493458894762966</c:v>
                </c:pt>
                <c:pt idx="502">
                  <c:v>4.8758872155880146</c:v>
                </c:pt>
                <c:pt idx="503">
                  <c:v>4.8758872155880146</c:v>
                </c:pt>
                <c:pt idx="504">
                  <c:v>4.9024285416997442</c:v>
                </c:pt>
                <c:pt idx="505">
                  <c:v>4.9024285416997442</c:v>
                </c:pt>
                <c:pt idx="506">
                  <c:v>4.9024285416997442</c:v>
                </c:pt>
                <c:pt idx="507">
                  <c:v>4.9024285416997442</c:v>
                </c:pt>
                <c:pt idx="508">
                  <c:v>4.9289772774502394</c:v>
                </c:pt>
                <c:pt idx="509">
                  <c:v>4.9289772774502394</c:v>
                </c:pt>
                <c:pt idx="510">
                  <c:v>4.9289772774502394</c:v>
                </c:pt>
                <c:pt idx="511">
                  <c:v>4.9289772774502394</c:v>
                </c:pt>
                <c:pt idx="512">
                  <c:v>4.9555260132007506</c:v>
                </c:pt>
                <c:pt idx="513">
                  <c:v>4.9555260132007506</c:v>
                </c:pt>
                <c:pt idx="514">
                  <c:v>4.9555260132007506</c:v>
                </c:pt>
                <c:pt idx="515">
                  <c:v>5.0086383205418032</c:v>
                </c:pt>
                <c:pt idx="516">
                  <c:v>5.0086383205418032</c:v>
                </c:pt>
                <c:pt idx="517">
                  <c:v>5.0617506278828444</c:v>
                </c:pt>
                <c:pt idx="518">
                  <c:v>5.0617506278828444</c:v>
                </c:pt>
                <c:pt idx="519">
                  <c:v>5.0883067815533654</c:v>
                </c:pt>
                <c:pt idx="520">
                  <c:v>5.0883067815533654</c:v>
                </c:pt>
                <c:pt idx="521">
                  <c:v>5.1148703676766374</c:v>
                </c:pt>
                <c:pt idx="522">
                  <c:v>5.1148703676766374</c:v>
                </c:pt>
                <c:pt idx="523">
                  <c:v>5.1414339537999103</c:v>
                </c:pt>
                <c:pt idx="524">
                  <c:v>5.1414339537999103</c:v>
                </c:pt>
                <c:pt idx="525">
                  <c:v>5.1414339537999103</c:v>
                </c:pt>
                <c:pt idx="526">
                  <c:v>5.1414339537999103</c:v>
                </c:pt>
                <c:pt idx="527">
                  <c:v>5.1414339537999103</c:v>
                </c:pt>
                <c:pt idx="528">
                  <c:v>5.1414339537999103</c:v>
                </c:pt>
                <c:pt idx="529">
                  <c:v>5.1414339537999103</c:v>
                </c:pt>
                <c:pt idx="530">
                  <c:v>5.1680124256537008</c:v>
                </c:pt>
                <c:pt idx="531">
                  <c:v>5.1680124256537008</c:v>
                </c:pt>
                <c:pt idx="532">
                  <c:v>5.1680124256537008</c:v>
                </c:pt>
                <c:pt idx="533">
                  <c:v>5.1680124256537008</c:v>
                </c:pt>
                <c:pt idx="534">
                  <c:v>5.1680124256537008</c:v>
                </c:pt>
                <c:pt idx="535">
                  <c:v>5.1945908975074859</c:v>
                </c:pt>
                <c:pt idx="536">
                  <c:v>5.1945908975074859</c:v>
                </c:pt>
                <c:pt idx="537">
                  <c:v>5.1945908975074859</c:v>
                </c:pt>
                <c:pt idx="538">
                  <c:v>5.1945908975074859</c:v>
                </c:pt>
                <c:pt idx="539">
                  <c:v>5.1945908975074859</c:v>
                </c:pt>
                <c:pt idx="540">
                  <c:v>5.1945908975074859</c:v>
                </c:pt>
                <c:pt idx="541">
                  <c:v>5.1945908975074859</c:v>
                </c:pt>
                <c:pt idx="542">
                  <c:v>5.2211768226624207</c:v>
                </c:pt>
                <c:pt idx="543">
                  <c:v>5.2211768226624207</c:v>
                </c:pt>
                <c:pt idx="544">
                  <c:v>5.2211768226624207</c:v>
                </c:pt>
                <c:pt idx="545">
                  <c:v>5.2211768226624207</c:v>
                </c:pt>
                <c:pt idx="546">
                  <c:v>5.2211768226624207</c:v>
                </c:pt>
                <c:pt idx="547">
                  <c:v>5.2211768226624207</c:v>
                </c:pt>
                <c:pt idx="548">
                  <c:v>5.2211768226624207</c:v>
                </c:pt>
                <c:pt idx="549">
                  <c:v>5.2743785196466062</c:v>
                </c:pt>
                <c:pt idx="550">
                  <c:v>5.2743785196466062</c:v>
                </c:pt>
                <c:pt idx="551">
                  <c:v>5.2743785196466062</c:v>
                </c:pt>
                <c:pt idx="552">
                  <c:v>5.3009793681387016</c:v>
                </c:pt>
                <c:pt idx="553">
                  <c:v>5.3009793681387016</c:v>
                </c:pt>
                <c:pt idx="554">
                  <c:v>5.3009793681387016</c:v>
                </c:pt>
                <c:pt idx="555">
                  <c:v>5.3009793681387016</c:v>
                </c:pt>
                <c:pt idx="556">
                  <c:v>5.3009793681387016</c:v>
                </c:pt>
                <c:pt idx="557">
                  <c:v>5.3009793681387016</c:v>
                </c:pt>
                <c:pt idx="558">
                  <c:v>5.3009793681387016</c:v>
                </c:pt>
                <c:pt idx="559">
                  <c:v>5.3009793681387016</c:v>
                </c:pt>
                <c:pt idx="560">
                  <c:v>5.3009793681387016</c:v>
                </c:pt>
                <c:pt idx="561">
                  <c:v>5.3009793681387016</c:v>
                </c:pt>
                <c:pt idx="562">
                  <c:v>5.3009793681387016</c:v>
                </c:pt>
                <c:pt idx="563">
                  <c:v>5.3009793681387016</c:v>
                </c:pt>
                <c:pt idx="564">
                  <c:v>5.3009793681387016</c:v>
                </c:pt>
                <c:pt idx="565">
                  <c:v>5.3275876908787652</c:v>
                </c:pt>
                <c:pt idx="566">
                  <c:v>5.3275876908787652</c:v>
                </c:pt>
                <c:pt idx="567">
                  <c:v>5.3542034941706182</c:v>
                </c:pt>
                <c:pt idx="568">
                  <c:v>5.3542034941706182</c:v>
                </c:pt>
                <c:pt idx="569">
                  <c:v>5.3808192974624802</c:v>
                </c:pt>
                <c:pt idx="570">
                  <c:v>5.3808192974624802</c:v>
                </c:pt>
                <c:pt idx="571">
                  <c:v>5.4074351007543324</c:v>
                </c:pt>
                <c:pt idx="572">
                  <c:v>5.4074351007543324</c:v>
                </c:pt>
                <c:pt idx="573">
                  <c:v>5.4340509040461926</c:v>
                </c:pt>
                <c:pt idx="574">
                  <c:v>5.4340509040461926</c:v>
                </c:pt>
                <c:pt idx="575">
                  <c:v>5.4340509040461926</c:v>
                </c:pt>
                <c:pt idx="576">
                  <c:v>5.4606742005259177</c:v>
                </c:pt>
                <c:pt idx="577">
                  <c:v>5.4606742005259177</c:v>
                </c:pt>
                <c:pt idx="578">
                  <c:v>5.5139207934853509</c:v>
                </c:pt>
                <c:pt idx="579">
                  <c:v>5.5139207934853509</c:v>
                </c:pt>
                <c:pt idx="580">
                  <c:v>5.5405440899650706</c:v>
                </c:pt>
                <c:pt idx="581">
                  <c:v>5.5405440899650706</c:v>
                </c:pt>
                <c:pt idx="582">
                  <c:v>5.567167386444793</c:v>
                </c:pt>
                <c:pt idx="583">
                  <c:v>5.567167386444793</c:v>
                </c:pt>
                <c:pt idx="584">
                  <c:v>5.5937906829245136</c:v>
                </c:pt>
                <c:pt idx="585">
                  <c:v>5.5937906829245136</c:v>
                </c:pt>
                <c:pt idx="586">
                  <c:v>5.5937906829245136</c:v>
                </c:pt>
                <c:pt idx="587">
                  <c:v>5.6736831026568799</c:v>
                </c:pt>
                <c:pt idx="588">
                  <c:v>5.6736831026568799</c:v>
                </c:pt>
                <c:pt idx="589">
                  <c:v>5.6736831026568799</c:v>
                </c:pt>
                <c:pt idx="590">
                  <c:v>5.6736831026568799</c:v>
                </c:pt>
                <c:pt idx="591">
                  <c:v>5.6736831026568799</c:v>
                </c:pt>
                <c:pt idx="592">
                  <c:v>5.6736831026568799</c:v>
                </c:pt>
                <c:pt idx="593">
                  <c:v>5.7003515552713324</c:v>
                </c:pt>
                <c:pt idx="594">
                  <c:v>5.7003515552713324</c:v>
                </c:pt>
                <c:pt idx="595">
                  <c:v>5.7270200078857947</c:v>
                </c:pt>
                <c:pt idx="596">
                  <c:v>5.7270200078857947</c:v>
                </c:pt>
                <c:pt idx="597">
                  <c:v>5.7803871066642314</c:v>
                </c:pt>
                <c:pt idx="598">
                  <c:v>5.7803871066642314</c:v>
                </c:pt>
                <c:pt idx="599">
                  <c:v>5.7803871066642314</c:v>
                </c:pt>
                <c:pt idx="600">
                  <c:v>5.7803871066642314</c:v>
                </c:pt>
                <c:pt idx="601">
                  <c:v>5.7803871066642314</c:v>
                </c:pt>
                <c:pt idx="602">
                  <c:v>5.7803871066642314</c:v>
                </c:pt>
                <c:pt idx="603">
                  <c:v>5.7803871066642314</c:v>
                </c:pt>
                <c:pt idx="604">
                  <c:v>5.7803871066642314</c:v>
                </c:pt>
                <c:pt idx="605">
                  <c:v>5.7803871066642314</c:v>
                </c:pt>
                <c:pt idx="606">
                  <c:v>5.8070782151325977</c:v>
                </c:pt>
                <c:pt idx="607">
                  <c:v>5.8070782151325977</c:v>
                </c:pt>
                <c:pt idx="608">
                  <c:v>5.8337693236009702</c:v>
                </c:pt>
                <c:pt idx="609">
                  <c:v>5.8337693236009702</c:v>
                </c:pt>
                <c:pt idx="610">
                  <c:v>5.8337693236009702</c:v>
                </c:pt>
                <c:pt idx="611">
                  <c:v>5.8337693236009702</c:v>
                </c:pt>
                <c:pt idx="612">
                  <c:v>5.8871666758416259</c:v>
                </c:pt>
                <c:pt idx="613">
                  <c:v>5.8871666758416259</c:v>
                </c:pt>
                <c:pt idx="614">
                  <c:v>5.8871666758416259</c:v>
                </c:pt>
                <c:pt idx="615">
                  <c:v>5.8871666758416259</c:v>
                </c:pt>
                <c:pt idx="616">
                  <c:v>5.8871666758416259</c:v>
                </c:pt>
                <c:pt idx="617">
                  <c:v>5.8871666758416259</c:v>
                </c:pt>
                <c:pt idx="618">
                  <c:v>5.9138880935940801</c:v>
                </c:pt>
                <c:pt idx="619">
                  <c:v>5.9138880935940801</c:v>
                </c:pt>
                <c:pt idx="620">
                  <c:v>5.9138880935940801</c:v>
                </c:pt>
                <c:pt idx="621">
                  <c:v>5.9406171026583996</c:v>
                </c:pt>
                <c:pt idx="622">
                  <c:v>5.9406171026583996</c:v>
                </c:pt>
                <c:pt idx="623">
                  <c:v>5.9673461117227182</c:v>
                </c:pt>
                <c:pt idx="624">
                  <c:v>5.9673461117227182</c:v>
                </c:pt>
                <c:pt idx="625">
                  <c:v>5.9673461117227182</c:v>
                </c:pt>
                <c:pt idx="626">
                  <c:v>5.9673461117227182</c:v>
                </c:pt>
                <c:pt idx="627">
                  <c:v>5.9940827207327523</c:v>
                </c:pt>
                <c:pt idx="628">
                  <c:v>5.9940827207327523</c:v>
                </c:pt>
                <c:pt idx="629">
                  <c:v>5.9940827207327523</c:v>
                </c:pt>
                <c:pt idx="630">
                  <c:v>5.9940827207327523</c:v>
                </c:pt>
                <c:pt idx="631">
                  <c:v>5.9940827207327523</c:v>
                </c:pt>
                <c:pt idx="632">
                  <c:v>5.9940827207327523</c:v>
                </c:pt>
                <c:pt idx="633">
                  <c:v>5.9940827207327523</c:v>
                </c:pt>
                <c:pt idx="634">
                  <c:v>5.9940827207327523</c:v>
                </c:pt>
                <c:pt idx="635">
                  <c:v>6.0475863731398567</c:v>
                </c:pt>
                <c:pt idx="636">
                  <c:v>6.0475863731398567</c:v>
                </c:pt>
                <c:pt idx="637">
                  <c:v>6.0743381993433996</c:v>
                </c:pt>
                <c:pt idx="638">
                  <c:v>6.0743381993433996</c:v>
                </c:pt>
                <c:pt idx="639">
                  <c:v>6.1010900255469513</c:v>
                </c:pt>
                <c:pt idx="640">
                  <c:v>6.1010900255469513</c:v>
                </c:pt>
                <c:pt idx="641">
                  <c:v>6.1010900255469513</c:v>
                </c:pt>
                <c:pt idx="642">
                  <c:v>6.1010900255469513</c:v>
                </c:pt>
                <c:pt idx="643">
                  <c:v>6.1813455041575986</c:v>
                </c:pt>
                <c:pt idx="644">
                  <c:v>6.1813455041575986</c:v>
                </c:pt>
                <c:pt idx="645">
                  <c:v>6.1813455041575986</c:v>
                </c:pt>
                <c:pt idx="646">
                  <c:v>6.1813455041575986</c:v>
                </c:pt>
                <c:pt idx="647">
                  <c:v>6.2080973303611398</c:v>
                </c:pt>
                <c:pt idx="648">
                  <c:v>6.2080973303611398</c:v>
                </c:pt>
                <c:pt idx="649">
                  <c:v>6.2348491565646924</c:v>
                </c:pt>
                <c:pt idx="650">
                  <c:v>6.2348491565646924</c:v>
                </c:pt>
                <c:pt idx="651">
                  <c:v>6.2348491565646924</c:v>
                </c:pt>
                <c:pt idx="652">
                  <c:v>6.2348491565646924</c:v>
                </c:pt>
                <c:pt idx="653">
                  <c:v>6.2616009827682451</c:v>
                </c:pt>
                <c:pt idx="654">
                  <c:v>6.2616009827682451</c:v>
                </c:pt>
                <c:pt idx="655">
                  <c:v>6.2883528089717871</c:v>
                </c:pt>
                <c:pt idx="656">
                  <c:v>6.2883528089717871</c:v>
                </c:pt>
                <c:pt idx="657">
                  <c:v>6.3151046351753379</c:v>
                </c:pt>
                <c:pt idx="658">
                  <c:v>6.3151046351753379</c:v>
                </c:pt>
                <c:pt idx="659">
                  <c:v>6.341856461378895</c:v>
                </c:pt>
                <c:pt idx="660">
                  <c:v>6.341856461378895</c:v>
                </c:pt>
                <c:pt idx="661">
                  <c:v>6.341856461378895</c:v>
                </c:pt>
                <c:pt idx="662">
                  <c:v>6.341856461378895</c:v>
                </c:pt>
                <c:pt idx="663">
                  <c:v>6.341856461378895</c:v>
                </c:pt>
                <c:pt idx="664">
                  <c:v>6.341856461378895</c:v>
                </c:pt>
                <c:pt idx="665">
                  <c:v>6.341856461378895</c:v>
                </c:pt>
                <c:pt idx="666">
                  <c:v>6.341856461378895</c:v>
                </c:pt>
                <c:pt idx="667">
                  <c:v>6.341856461378895</c:v>
                </c:pt>
                <c:pt idx="668">
                  <c:v>6.341856461378895</c:v>
                </c:pt>
                <c:pt idx="669">
                  <c:v>6.341856461378895</c:v>
                </c:pt>
                <c:pt idx="670">
                  <c:v>6.3686082875824326</c:v>
                </c:pt>
                <c:pt idx="671">
                  <c:v>6.3686082875824326</c:v>
                </c:pt>
                <c:pt idx="672">
                  <c:v>6.4221119399895263</c:v>
                </c:pt>
                <c:pt idx="673">
                  <c:v>6.4221119399895263</c:v>
                </c:pt>
                <c:pt idx="674">
                  <c:v>6.4221119399895263</c:v>
                </c:pt>
                <c:pt idx="675">
                  <c:v>6.4221119399895263</c:v>
                </c:pt>
                <c:pt idx="676">
                  <c:v>6.4488714161290774</c:v>
                </c:pt>
                <c:pt idx="677">
                  <c:v>6.4488714161290774</c:v>
                </c:pt>
                <c:pt idx="678">
                  <c:v>6.475638548771089</c:v>
                </c:pt>
                <c:pt idx="679">
                  <c:v>6.475638548771089</c:v>
                </c:pt>
                <c:pt idx="680">
                  <c:v>6.475638548771089</c:v>
                </c:pt>
                <c:pt idx="681">
                  <c:v>6.475638548771089</c:v>
                </c:pt>
                <c:pt idx="682">
                  <c:v>6.5291881402118159</c:v>
                </c:pt>
                <c:pt idx="683">
                  <c:v>6.5291881402118159</c:v>
                </c:pt>
                <c:pt idx="684">
                  <c:v>6.5559629359321807</c:v>
                </c:pt>
                <c:pt idx="685">
                  <c:v>6.5559629359321807</c:v>
                </c:pt>
                <c:pt idx="686">
                  <c:v>6.5559629359321807</c:v>
                </c:pt>
                <c:pt idx="687">
                  <c:v>6.5559629359321807</c:v>
                </c:pt>
                <c:pt idx="688">
                  <c:v>6.5559629359321807</c:v>
                </c:pt>
                <c:pt idx="689">
                  <c:v>6.5559629359321807</c:v>
                </c:pt>
                <c:pt idx="690">
                  <c:v>6.5559629359321807</c:v>
                </c:pt>
                <c:pt idx="691">
                  <c:v>6.5559629359321807</c:v>
                </c:pt>
                <c:pt idx="692">
                  <c:v>6.6095125273729067</c:v>
                </c:pt>
                <c:pt idx="693">
                  <c:v>6.6095125273729067</c:v>
                </c:pt>
                <c:pt idx="694">
                  <c:v>6.6095125273729067</c:v>
                </c:pt>
                <c:pt idx="695">
                  <c:v>6.6095125273729067</c:v>
                </c:pt>
                <c:pt idx="696">
                  <c:v>6.6095125273729067</c:v>
                </c:pt>
                <c:pt idx="697">
                  <c:v>6.6095125273729067</c:v>
                </c:pt>
                <c:pt idx="698">
                  <c:v>6.6095125273729067</c:v>
                </c:pt>
                <c:pt idx="699">
                  <c:v>6.6362950015549051</c:v>
                </c:pt>
                <c:pt idx="700">
                  <c:v>6.6362950015549051</c:v>
                </c:pt>
                <c:pt idx="701">
                  <c:v>6.6630774757369098</c:v>
                </c:pt>
                <c:pt idx="702">
                  <c:v>6.6630774757369098</c:v>
                </c:pt>
                <c:pt idx="703">
                  <c:v>6.7166424241009182</c:v>
                </c:pt>
                <c:pt idx="704">
                  <c:v>6.7166424241009182</c:v>
                </c:pt>
                <c:pt idx="705">
                  <c:v>6.7166424241009182</c:v>
                </c:pt>
                <c:pt idx="706">
                  <c:v>6.7166424241009182</c:v>
                </c:pt>
                <c:pt idx="707">
                  <c:v>6.7166424241009182</c:v>
                </c:pt>
                <c:pt idx="708">
                  <c:v>6.7434325899756624</c:v>
                </c:pt>
                <c:pt idx="709">
                  <c:v>6.7434325899756624</c:v>
                </c:pt>
                <c:pt idx="710">
                  <c:v>6.7434325899756624</c:v>
                </c:pt>
                <c:pt idx="711">
                  <c:v>6.7434325899756624</c:v>
                </c:pt>
                <c:pt idx="712">
                  <c:v>6.7434325899756624</c:v>
                </c:pt>
                <c:pt idx="713">
                  <c:v>6.7434325899756624</c:v>
                </c:pt>
                <c:pt idx="714">
                  <c:v>6.8238030875999343</c:v>
                </c:pt>
                <c:pt idx="715">
                  <c:v>6.8238030875999343</c:v>
                </c:pt>
                <c:pt idx="716">
                  <c:v>6.8506009584404213</c:v>
                </c:pt>
                <c:pt idx="717">
                  <c:v>6.8506009584404213</c:v>
                </c:pt>
                <c:pt idx="718">
                  <c:v>6.904212123356424</c:v>
                </c:pt>
                <c:pt idx="719">
                  <c:v>6.904212123356424</c:v>
                </c:pt>
                <c:pt idx="720">
                  <c:v>6.9310254263162854</c:v>
                </c:pt>
                <c:pt idx="721">
                  <c:v>6.9310254263162854</c:v>
                </c:pt>
                <c:pt idx="722">
                  <c:v>6.9578464564527884</c:v>
                </c:pt>
                <c:pt idx="723">
                  <c:v>6.9578464564527884</c:v>
                </c:pt>
                <c:pt idx="724">
                  <c:v>6.9578464564527884</c:v>
                </c:pt>
                <c:pt idx="725">
                  <c:v>6.9578464564527884</c:v>
                </c:pt>
                <c:pt idx="726">
                  <c:v>6.9846829587728143</c:v>
                </c:pt>
                <c:pt idx="727">
                  <c:v>6.9846829587728143</c:v>
                </c:pt>
                <c:pt idx="728">
                  <c:v>7.0115194610928411</c:v>
                </c:pt>
                <c:pt idx="729">
                  <c:v>7.0115194610928411</c:v>
                </c:pt>
                <c:pt idx="730">
                  <c:v>7.0115194610928411</c:v>
                </c:pt>
                <c:pt idx="731">
                  <c:v>7.0115194610928411</c:v>
                </c:pt>
                <c:pt idx="732">
                  <c:v>7.0115194610928411</c:v>
                </c:pt>
                <c:pt idx="733">
                  <c:v>7.0115194610928411</c:v>
                </c:pt>
                <c:pt idx="734">
                  <c:v>7.0383559634128803</c:v>
                </c:pt>
                <c:pt idx="735">
                  <c:v>7.0383559634128803</c:v>
                </c:pt>
                <c:pt idx="736">
                  <c:v>7.065192465732907</c:v>
                </c:pt>
                <c:pt idx="737">
                  <c:v>7.065192465732907</c:v>
                </c:pt>
                <c:pt idx="738">
                  <c:v>7.1188654703729686</c:v>
                </c:pt>
                <c:pt idx="739">
                  <c:v>7.1188654703729686</c:v>
                </c:pt>
                <c:pt idx="740">
                  <c:v>7.1188654703729686</c:v>
                </c:pt>
                <c:pt idx="741">
                  <c:v>7.1457019726929971</c:v>
                </c:pt>
                <c:pt idx="742">
                  <c:v>7.1457019726929971</c:v>
                </c:pt>
                <c:pt idx="743">
                  <c:v>7.1457019726929971</c:v>
                </c:pt>
                <c:pt idx="744">
                  <c:v>7.2530790158006111</c:v>
                </c:pt>
                <c:pt idx="745">
                  <c:v>7.2530790158006111</c:v>
                </c:pt>
                <c:pt idx="746">
                  <c:v>7.2799232765775148</c:v>
                </c:pt>
                <c:pt idx="747">
                  <c:v>7.2799232765775148</c:v>
                </c:pt>
                <c:pt idx="748">
                  <c:v>7.3067675373544176</c:v>
                </c:pt>
                <c:pt idx="749">
                  <c:v>7.3067675373544176</c:v>
                </c:pt>
                <c:pt idx="750">
                  <c:v>7.3067675373544176</c:v>
                </c:pt>
                <c:pt idx="751">
                  <c:v>7.3336351409667868</c:v>
                </c:pt>
                <c:pt idx="752">
                  <c:v>7.3336351409667868</c:v>
                </c:pt>
                <c:pt idx="753">
                  <c:v>7.3873703481915003</c:v>
                </c:pt>
                <c:pt idx="754">
                  <c:v>7.3873703481915003</c:v>
                </c:pt>
                <c:pt idx="755">
                  <c:v>7.4142379518038579</c:v>
                </c:pt>
                <c:pt idx="756">
                  <c:v>7.4142379518038579</c:v>
                </c:pt>
                <c:pt idx="757">
                  <c:v>7.4142379518038579</c:v>
                </c:pt>
                <c:pt idx="758">
                  <c:v>7.4142379518038579</c:v>
                </c:pt>
                <c:pt idx="759">
                  <c:v>7.4142379518038579</c:v>
                </c:pt>
                <c:pt idx="760">
                  <c:v>7.4142379518038579</c:v>
                </c:pt>
                <c:pt idx="761">
                  <c:v>7.4142379518038579</c:v>
                </c:pt>
                <c:pt idx="762">
                  <c:v>7.4142379518038579</c:v>
                </c:pt>
                <c:pt idx="763">
                  <c:v>7.4142379518038579</c:v>
                </c:pt>
                <c:pt idx="764">
                  <c:v>7.4142379518038579</c:v>
                </c:pt>
                <c:pt idx="765">
                  <c:v>7.4680043641431118</c:v>
                </c:pt>
                <c:pt idx="766">
                  <c:v>7.4680043641431118</c:v>
                </c:pt>
                <c:pt idx="767">
                  <c:v>7.521770776482362</c:v>
                </c:pt>
                <c:pt idx="768">
                  <c:v>7.521770776482362</c:v>
                </c:pt>
                <c:pt idx="769">
                  <c:v>7.521770776482362</c:v>
                </c:pt>
                <c:pt idx="770">
                  <c:v>7.521770776482362</c:v>
                </c:pt>
                <c:pt idx="771">
                  <c:v>7.5755997806869697</c:v>
                </c:pt>
                <c:pt idx="772">
                  <c:v>7.5755997806869697</c:v>
                </c:pt>
                <c:pt idx="773">
                  <c:v>7.6025142827892704</c:v>
                </c:pt>
                <c:pt idx="774">
                  <c:v>7.6025142827892704</c:v>
                </c:pt>
                <c:pt idx="775">
                  <c:v>7.6025142827892704</c:v>
                </c:pt>
                <c:pt idx="776">
                  <c:v>7.6025142827892704</c:v>
                </c:pt>
                <c:pt idx="777">
                  <c:v>7.6025142827892704</c:v>
                </c:pt>
                <c:pt idx="778">
                  <c:v>7.6025142827892704</c:v>
                </c:pt>
                <c:pt idx="779">
                  <c:v>7.6025142827892704</c:v>
                </c:pt>
                <c:pt idx="780">
                  <c:v>7.6294680417499494</c:v>
                </c:pt>
                <c:pt idx="781">
                  <c:v>7.6294680417499494</c:v>
                </c:pt>
                <c:pt idx="782">
                  <c:v>7.6294680417499494</c:v>
                </c:pt>
                <c:pt idx="783">
                  <c:v>7.6564375401319307</c:v>
                </c:pt>
                <c:pt idx="784">
                  <c:v>7.6564375401319307</c:v>
                </c:pt>
                <c:pt idx="785">
                  <c:v>7.6834228009325907</c:v>
                </c:pt>
                <c:pt idx="786">
                  <c:v>7.6834228009325907</c:v>
                </c:pt>
                <c:pt idx="787">
                  <c:v>7.6834228009325907</c:v>
                </c:pt>
                <c:pt idx="788">
                  <c:v>7.6834228009325907</c:v>
                </c:pt>
                <c:pt idx="789">
                  <c:v>7.6834228009325907</c:v>
                </c:pt>
                <c:pt idx="790">
                  <c:v>7.6834228009325907</c:v>
                </c:pt>
                <c:pt idx="791">
                  <c:v>7.6834228009325907</c:v>
                </c:pt>
                <c:pt idx="792">
                  <c:v>7.6834228009325907</c:v>
                </c:pt>
                <c:pt idx="793">
                  <c:v>7.6834228009325907</c:v>
                </c:pt>
                <c:pt idx="794">
                  <c:v>7.6834228009325907</c:v>
                </c:pt>
                <c:pt idx="795">
                  <c:v>7.6834228009325907</c:v>
                </c:pt>
                <c:pt idx="796">
                  <c:v>7.6834228009325907</c:v>
                </c:pt>
                <c:pt idx="797">
                  <c:v>7.7108897980165176</c:v>
                </c:pt>
                <c:pt idx="798">
                  <c:v>7.7108897980165176</c:v>
                </c:pt>
                <c:pt idx="799">
                  <c:v>7.766004226324652</c:v>
                </c:pt>
                <c:pt idx="800">
                  <c:v>7.766004226324652</c:v>
                </c:pt>
                <c:pt idx="801">
                  <c:v>7.7936523065925352</c:v>
                </c:pt>
                <c:pt idx="802">
                  <c:v>7.7936523065925352</c:v>
                </c:pt>
                <c:pt idx="803">
                  <c:v>7.8490814305440813</c:v>
                </c:pt>
                <c:pt idx="804">
                  <c:v>7.8490814305440813</c:v>
                </c:pt>
                <c:pt idx="805">
                  <c:v>7.8490814305440813</c:v>
                </c:pt>
                <c:pt idx="806">
                  <c:v>7.8490814305440813</c:v>
                </c:pt>
                <c:pt idx="807">
                  <c:v>7.8490814305440813</c:v>
                </c:pt>
                <c:pt idx="808">
                  <c:v>7.8490814305440813</c:v>
                </c:pt>
                <c:pt idx="809">
                  <c:v>7.8490814305440813</c:v>
                </c:pt>
                <c:pt idx="810">
                  <c:v>7.8490814305440813</c:v>
                </c:pt>
                <c:pt idx="811">
                  <c:v>7.8490814305440813</c:v>
                </c:pt>
                <c:pt idx="812">
                  <c:v>7.8490814305440813</c:v>
                </c:pt>
                <c:pt idx="813">
                  <c:v>7.8775934721806662</c:v>
                </c:pt>
                <c:pt idx="814">
                  <c:v>7.8775934721806662</c:v>
                </c:pt>
                <c:pt idx="815">
                  <c:v>7.9061851563916656</c:v>
                </c:pt>
                <c:pt idx="816">
                  <c:v>7.9061851563916656</c:v>
                </c:pt>
                <c:pt idx="817">
                  <c:v>7.9061851563916656</c:v>
                </c:pt>
                <c:pt idx="818">
                  <c:v>7.9061851563916656</c:v>
                </c:pt>
                <c:pt idx="819">
                  <c:v>7.9061851563916656</c:v>
                </c:pt>
                <c:pt idx="820">
                  <c:v>7.9061851563916656</c:v>
                </c:pt>
                <c:pt idx="821">
                  <c:v>7.9061851563916656</c:v>
                </c:pt>
                <c:pt idx="822">
                  <c:v>7.9061851563916656</c:v>
                </c:pt>
                <c:pt idx="823">
                  <c:v>7.9061851563916656</c:v>
                </c:pt>
                <c:pt idx="824">
                  <c:v>7.9355893118334366</c:v>
                </c:pt>
                <c:pt idx="825">
                  <c:v>7.9355893118334366</c:v>
                </c:pt>
                <c:pt idx="826">
                  <c:v>7.9651634880904796</c:v>
                </c:pt>
                <c:pt idx="827">
                  <c:v>7.9651634880904796</c:v>
                </c:pt>
                <c:pt idx="828">
                  <c:v>7.9950740621924856</c:v>
                </c:pt>
                <c:pt idx="829">
                  <c:v>7.9950740621924856</c:v>
                </c:pt>
                <c:pt idx="830">
                  <c:v>8.0551687231577329</c:v>
                </c:pt>
                <c:pt idx="831">
                  <c:v>8.0551687231577329</c:v>
                </c:pt>
                <c:pt idx="832">
                  <c:v>8.0853145694780189</c:v>
                </c:pt>
                <c:pt idx="833">
                  <c:v>8.0853145694780189</c:v>
                </c:pt>
                <c:pt idx="834">
                  <c:v>8.0853145694780189</c:v>
                </c:pt>
                <c:pt idx="835">
                  <c:v>8.1156995894550494</c:v>
                </c:pt>
                <c:pt idx="836">
                  <c:v>8.1156995894550494</c:v>
                </c:pt>
                <c:pt idx="837">
                  <c:v>8.1156995894550494</c:v>
                </c:pt>
                <c:pt idx="838">
                  <c:v>8.1463583483507911</c:v>
                </c:pt>
                <c:pt idx="839">
                  <c:v>8.1463583483507911</c:v>
                </c:pt>
                <c:pt idx="840">
                  <c:v>8.1463583483507911</c:v>
                </c:pt>
                <c:pt idx="841">
                  <c:v>8.1463583483507911</c:v>
                </c:pt>
                <c:pt idx="842">
                  <c:v>8.1775480399133293</c:v>
                </c:pt>
                <c:pt idx="843">
                  <c:v>8.1775480399133293</c:v>
                </c:pt>
                <c:pt idx="844">
                  <c:v>8.1775480399133293</c:v>
                </c:pt>
                <c:pt idx="845">
                  <c:v>8.1775480399133293</c:v>
                </c:pt>
                <c:pt idx="846">
                  <c:v>8.2090804753391815</c:v>
                </c:pt>
                <c:pt idx="847">
                  <c:v>8.2090804753391815</c:v>
                </c:pt>
                <c:pt idx="848">
                  <c:v>8.2407325165545853</c:v>
                </c:pt>
                <c:pt idx="849">
                  <c:v>8.2407325165545853</c:v>
                </c:pt>
                <c:pt idx="850">
                  <c:v>8.2407325165545853</c:v>
                </c:pt>
                <c:pt idx="851">
                  <c:v>8.2407325165545853</c:v>
                </c:pt>
                <c:pt idx="852">
                  <c:v>8.2407325165545853</c:v>
                </c:pt>
                <c:pt idx="853">
                  <c:v>8.2407325165545853</c:v>
                </c:pt>
                <c:pt idx="854">
                  <c:v>8.2731333878411117</c:v>
                </c:pt>
                <c:pt idx="855">
                  <c:v>8.2731333878411117</c:v>
                </c:pt>
                <c:pt idx="856">
                  <c:v>8.2731333878411117</c:v>
                </c:pt>
                <c:pt idx="857">
                  <c:v>8.2731333878411117</c:v>
                </c:pt>
                <c:pt idx="858">
                  <c:v>8.3059515869867955</c:v>
                </c:pt>
                <c:pt idx="859">
                  <c:v>8.3059515869867955</c:v>
                </c:pt>
                <c:pt idx="860">
                  <c:v>8.3389588038381213</c:v>
                </c:pt>
                <c:pt idx="861">
                  <c:v>8.3389588038381213</c:v>
                </c:pt>
                <c:pt idx="862">
                  <c:v>8.3389588038381213</c:v>
                </c:pt>
                <c:pt idx="863">
                  <c:v>8.3389588038381213</c:v>
                </c:pt>
                <c:pt idx="864">
                  <c:v>8.3389588038381213</c:v>
                </c:pt>
                <c:pt idx="865">
                  <c:v>8.3389588038381213</c:v>
                </c:pt>
                <c:pt idx="866">
                  <c:v>8.3389588038381213</c:v>
                </c:pt>
                <c:pt idx="867">
                  <c:v>8.3389588038381213</c:v>
                </c:pt>
                <c:pt idx="868">
                  <c:v>8.3729199158041006</c:v>
                </c:pt>
                <c:pt idx="869">
                  <c:v>8.3729199158041006</c:v>
                </c:pt>
                <c:pt idx="870">
                  <c:v>8.3729199158041006</c:v>
                </c:pt>
                <c:pt idx="871">
                  <c:v>8.3729199158041006</c:v>
                </c:pt>
                <c:pt idx="872">
                  <c:v>8.3729199158041006</c:v>
                </c:pt>
                <c:pt idx="873">
                  <c:v>8.3729199158041006</c:v>
                </c:pt>
                <c:pt idx="874">
                  <c:v>8.3729199158041006</c:v>
                </c:pt>
                <c:pt idx="875">
                  <c:v>8.4427310244396736</c:v>
                </c:pt>
                <c:pt idx="876">
                  <c:v>8.4427310244396736</c:v>
                </c:pt>
                <c:pt idx="877">
                  <c:v>8.4427310244396736</c:v>
                </c:pt>
                <c:pt idx="878">
                  <c:v>8.4427310244396736</c:v>
                </c:pt>
                <c:pt idx="879">
                  <c:v>8.4427310244396736</c:v>
                </c:pt>
                <c:pt idx="880">
                  <c:v>8.4427310244396736</c:v>
                </c:pt>
                <c:pt idx="881">
                  <c:v>8.4782045885526376</c:v>
                </c:pt>
                <c:pt idx="882">
                  <c:v>8.4782045885526376</c:v>
                </c:pt>
                <c:pt idx="883">
                  <c:v>8.4782045885526376</c:v>
                </c:pt>
                <c:pt idx="884">
                  <c:v>8.5142084419796422</c:v>
                </c:pt>
                <c:pt idx="885">
                  <c:v>8.5142084419796422</c:v>
                </c:pt>
                <c:pt idx="886">
                  <c:v>8.5142084419796422</c:v>
                </c:pt>
                <c:pt idx="887">
                  <c:v>8.5142084419796422</c:v>
                </c:pt>
                <c:pt idx="888">
                  <c:v>8.5504835377599786</c:v>
                </c:pt>
                <c:pt idx="889">
                  <c:v>8.5504835377599786</c:v>
                </c:pt>
                <c:pt idx="890">
                  <c:v>8.5504835377599786</c:v>
                </c:pt>
                <c:pt idx="891">
                  <c:v>8.5504835377599786</c:v>
                </c:pt>
                <c:pt idx="892">
                  <c:v>8.5504835377599786</c:v>
                </c:pt>
                <c:pt idx="893">
                  <c:v>8.5878251124689342</c:v>
                </c:pt>
                <c:pt idx="894">
                  <c:v>8.5878251124689342</c:v>
                </c:pt>
                <c:pt idx="895">
                  <c:v>8.5878251124689342</c:v>
                </c:pt>
                <c:pt idx="896">
                  <c:v>8.5878251124689342</c:v>
                </c:pt>
                <c:pt idx="897">
                  <c:v>8.5878251124689342</c:v>
                </c:pt>
                <c:pt idx="898">
                  <c:v>8.5878251124689342</c:v>
                </c:pt>
                <c:pt idx="899">
                  <c:v>8.5878251124689342</c:v>
                </c:pt>
                <c:pt idx="900">
                  <c:v>8.5878251124689342</c:v>
                </c:pt>
                <c:pt idx="901">
                  <c:v>8.5878251124689342</c:v>
                </c:pt>
                <c:pt idx="902">
                  <c:v>8.5878251124689342</c:v>
                </c:pt>
                <c:pt idx="903">
                  <c:v>8.5878251124689342</c:v>
                </c:pt>
                <c:pt idx="904">
                  <c:v>8.5878251124689342</c:v>
                </c:pt>
                <c:pt idx="905">
                  <c:v>8.5878251124689342</c:v>
                </c:pt>
                <c:pt idx="906">
                  <c:v>8.5878251124689342</c:v>
                </c:pt>
                <c:pt idx="907">
                  <c:v>8.6279533718576644</c:v>
                </c:pt>
                <c:pt idx="908">
                  <c:v>8.6279533718576644</c:v>
                </c:pt>
                <c:pt idx="909">
                  <c:v>8.6279533718576644</c:v>
                </c:pt>
                <c:pt idx="910">
                  <c:v>8.66858122718366</c:v>
                </c:pt>
                <c:pt idx="911">
                  <c:v>8.66858122718366</c:v>
                </c:pt>
                <c:pt idx="912">
                  <c:v>8.66858122718366</c:v>
                </c:pt>
                <c:pt idx="913">
                  <c:v>8.66858122718366</c:v>
                </c:pt>
                <c:pt idx="914">
                  <c:v>8.66858122718366</c:v>
                </c:pt>
                <c:pt idx="915">
                  <c:v>8.66858122718366</c:v>
                </c:pt>
                <c:pt idx="916">
                  <c:v>8.66858122718366</c:v>
                </c:pt>
                <c:pt idx="917">
                  <c:v>8.66858122718366</c:v>
                </c:pt>
                <c:pt idx="918">
                  <c:v>8.7096475126030892</c:v>
                </c:pt>
                <c:pt idx="919">
                  <c:v>8.7096475126030892</c:v>
                </c:pt>
                <c:pt idx="920">
                  <c:v>8.7096475126030892</c:v>
                </c:pt>
                <c:pt idx="921">
                  <c:v>8.7096475126030892</c:v>
                </c:pt>
                <c:pt idx="922">
                  <c:v>8.7096475126030892</c:v>
                </c:pt>
                <c:pt idx="923">
                  <c:v>8.7096475126030892</c:v>
                </c:pt>
                <c:pt idx="924">
                  <c:v>8.7096475126030892</c:v>
                </c:pt>
                <c:pt idx="925">
                  <c:v>8.7096475126030892</c:v>
                </c:pt>
                <c:pt idx="926">
                  <c:v>8.7516200884593651</c:v>
                </c:pt>
                <c:pt idx="927">
                  <c:v>8.7516200884593651</c:v>
                </c:pt>
                <c:pt idx="928">
                  <c:v>8.7936313130963608</c:v>
                </c:pt>
                <c:pt idx="929">
                  <c:v>8.7936313130963608</c:v>
                </c:pt>
                <c:pt idx="930">
                  <c:v>8.7936313130963608</c:v>
                </c:pt>
                <c:pt idx="931">
                  <c:v>8.8358956173998386</c:v>
                </c:pt>
                <c:pt idx="932">
                  <c:v>8.8358956173998386</c:v>
                </c:pt>
                <c:pt idx="933">
                  <c:v>8.8358956173998386</c:v>
                </c:pt>
                <c:pt idx="934">
                  <c:v>8.9208575040565012</c:v>
                </c:pt>
                <c:pt idx="935">
                  <c:v>8.9208575040565012</c:v>
                </c:pt>
                <c:pt idx="936">
                  <c:v>8.9208575040565012</c:v>
                </c:pt>
                <c:pt idx="937">
                  <c:v>8.9208575040565012</c:v>
                </c:pt>
                <c:pt idx="938">
                  <c:v>8.9638193637244008</c:v>
                </c:pt>
                <c:pt idx="939">
                  <c:v>8.9638193637244008</c:v>
                </c:pt>
                <c:pt idx="940">
                  <c:v>9.093623803795138</c:v>
                </c:pt>
                <c:pt idx="941">
                  <c:v>9.093623803795138</c:v>
                </c:pt>
                <c:pt idx="942">
                  <c:v>9.093623803795138</c:v>
                </c:pt>
                <c:pt idx="943">
                  <c:v>9.093623803795138</c:v>
                </c:pt>
                <c:pt idx="944">
                  <c:v>9.093623803795138</c:v>
                </c:pt>
                <c:pt idx="945">
                  <c:v>9.093623803795138</c:v>
                </c:pt>
                <c:pt idx="946">
                  <c:v>9.093623803795138</c:v>
                </c:pt>
                <c:pt idx="947">
                  <c:v>9.093623803795138</c:v>
                </c:pt>
                <c:pt idx="948">
                  <c:v>9.093623803795138</c:v>
                </c:pt>
                <c:pt idx="949">
                  <c:v>9.1380767994900989</c:v>
                </c:pt>
                <c:pt idx="950">
                  <c:v>9.1380767994900989</c:v>
                </c:pt>
                <c:pt idx="951">
                  <c:v>9.1380767994900989</c:v>
                </c:pt>
                <c:pt idx="952">
                  <c:v>9.1380767994900989</c:v>
                </c:pt>
                <c:pt idx="953">
                  <c:v>9.1380767994900989</c:v>
                </c:pt>
                <c:pt idx="954">
                  <c:v>9.1380767994900989</c:v>
                </c:pt>
                <c:pt idx="955">
                  <c:v>9.1836444640841375</c:v>
                </c:pt>
                <c:pt idx="956">
                  <c:v>9.1836444640841375</c:v>
                </c:pt>
                <c:pt idx="957">
                  <c:v>9.1836444640841375</c:v>
                </c:pt>
                <c:pt idx="958">
                  <c:v>9.1836444640841375</c:v>
                </c:pt>
                <c:pt idx="959">
                  <c:v>9.1836444640841375</c:v>
                </c:pt>
                <c:pt idx="960">
                  <c:v>9.1836444640841375</c:v>
                </c:pt>
                <c:pt idx="961">
                  <c:v>9.1836444640841375</c:v>
                </c:pt>
                <c:pt idx="962">
                  <c:v>9.1836444640841375</c:v>
                </c:pt>
                <c:pt idx="963">
                  <c:v>9.1836444640841375</c:v>
                </c:pt>
                <c:pt idx="964">
                  <c:v>9.1836444640841375</c:v>
                </c:pt>
                <c:pt idx="965">
                  <c:v>9.1836444640841375</c:v>
                </c:pt>
                <c:pt idx="966">
                  <c:v>9.1836444640841375</c:v>
                </c:pt>
                <c:pt idx="967">
                  <c:v>9.1836444640841375</c:v>
                </c:pt>
                <c:pt idx="968">
                  <c:v>9.1836444640841375</c:v>
                </c:pt>
                <c:pt idx="969">
                  <c:v>9.1836444640841375</c:v>
                </c:pt>
                <c:pt idx="970">
                  <c:v>9.1836444640841375</c:v>
                </c:pt>
                <c:pt idx="971">
                  <c:v>9.1836444640841375</c:v>
                </c:pt>
                <c:pt idx="972">
                  <c:v>9.1836444640841375</c:v>
                </c:pt>
                <c:pt idx="973">
                  <c:v>9.1836444640841375</c:v>
                </c:pt>
                <c:pt idx="974">
                  <c:v>9.2328941145916836</c:v>
                </c:pt>
                <c:pt idx="975">
                  <c:v>9.2328941145916836</c:v>
                </c:pt>
                <c:pt idx="976">
                  <c:v>9.2328941145916836</c:v>
                </c:pt>
                <c:pt idx="977">
                  <c:v>9.2328941145916836</c:v>
                </c:pt>
                <c:pt idx="978">
                  <c:v>9.2829587069167854</c:v>
                </c:pt>
                <c:pt idx="979">
                  <c:v>9.2829587069167854</c:v>
                </c:pt>
                <c:pt idx="980">
                  <c:v>9.3839799110293534</c:v>
                </c:pt>
                <c:pt idx="981">
                  <c:v>9.3839799110293534</c:v>
                </c:pt>
                <c:pt idx="982">
                  <c:v>9.3839799110293534</c:v>
                </c:pt>
                <c:pt idx="983">
                  <c:v>9.3839799110293534</c:v>
                </c:pt>
                <c:pt idx="984">
                  <c:v>9.43543704906965</c:v>
                </c:pt>
                <c:pt idx="985">
                  <c:v>9.43543704906965</c:v>
                </c:pt>
                <c:pt idx="986">
                  <c:v>9.43543704906965</c:v>
                </c:pt>
                <c:pt idx="987">
                  <c:v>9.43543704906965</c:v>
                </c:pt>
                <c:pt idx="988">
                  <c:v>9.4875455432876805</c:v>
                </c:pt>
                <c:pt idx="989">
                  <c:v>9.4875455432876805</c:v>
                </c:pt>
                <c:pt idx="990">
                  <c:v>9.5398648811239237</c:v>
                </c:pt>
                <c:pt idx="991">
                  <c:v>9.5398648811239237</c:v>
                </c:pt>
                <c:pt idx="992">
                  <c:v>9.5398648811239237</c:v>
                </c:pt>
                <c:pt idx="993">
                  <c:v>9.5398648811239237</c:v>
                </c:pt>
                <c:pt idx="994">
                  <c:v>9.5398648811239237</c:v>
                </c:pt>
                <c:pt idx="995">
                  <c:v>9.5931707945705238</c:v>
                </c:pt>
                <c:pt idx="996">
                  <c:v>9.5931707945705238</c:v>
                </c:pt>
                <c:pt idx="997">
                  <c:v>9.5931707945705238</c:v>
                </c:pt>
                <c:pt idx="998">
                  <c:v>9.5931707945705238</c:v>
                </c:pt>
                <c:pt idx="999">
                  <c:v>9.5931707945705238</c:v>
                </c:pt>
                <c:pt idx="1000">
                  <c:v>9.5931707945705238</c:v>
                </c:pt>
                <c:pt idx="1001">
                  <c:v>9.6480626155817184</c:v>
                </c:pt>
                <c:pt idx="1002">
                  <c:v>9.6480626155817184</c:v>
                </c:pt>
                <c:pt idx="1003">
                  <c:v>9.7033914198587627</c:v>
                </c:pt>
                <c:pt idx="1004">
                  <c:v>9.7033914198587627</c:v>
                </c:pt>
                <c:pt idx="1005">
                  <c:v>9.7593026326018872</c:v>
                </c:pt>
                <c:pt idx="1006">
                  <c:v>9.7593026326018872</c:v>
                </c:pt>
                <c:pt idx="1007">
                  <c:v>9.7593026326018872</c:v>
                </c:pt>
                <c:pt idx="1008">
                  <c:v>9.8159509046467068</c:v>
                </c:pt>
                <c:pt idx="1009">
                  <c:v>9.8159509046467068</c:v>
                </c:pt>
                <c:pt idx="1010">
                  <c:v>9.8159509046467068</c:v>
                </c:pt>
                <c:pt idx="1011">
                  <c:v>9.8730294167323702</c:v>
                </c:pt>
                <c:pt idx="1012">
                  <c:v>9.8730294167323702</c:v>
                </c:pt>
                <c:pt idx="1013">
                  <c:v>9.9304351304796761</c:v>
                </c:pt>
                <c:pt idx="1014">
                  <c:v>9.9304351304796761</c:v>
                </c:pt>
                <c:pt idx="1015">
                  <c:v>9.9304351304796761</c:v>
                </c:pt>
                <c:pt idx="1016">
                  <c:v>9.9304351304796761</c:v>
                </c:pt>
                <c:pt idx="1017">
                  <c:v>9.9890741701082693</c:v>
                </c:pt>
                <c:pt idx="1018">
                  <c:v>9.9890741701082693</c:v>
                </c:pt>
                <c:pt idx="1019">
                  <c:v>9.9890741701082693</c:v>
                </c:pt>
                <c:pt idx="1020">
                  <c:v>9.9890741701082693</c:v>
                </c:pt>
                <c:pt idx="1021">
                  <c:v>9.9890741701082693</c:v>
                </c:pt>
                <c:pt idx="1022">
                  <c:v>9.9890741701082693</c:v>
                </c:pt>
                <c:pt idx="1023">
                  <c:v>9.9890741701082693</c:v>
                </c:pt>
                <c:pt idx="1024">
                  <c:v>9.9890741701082693</c:v>
                </c:pt>
                <c:pt idx="1025">
                  <c:v>9.9890741701082693</c:v>
                </c:pt>
                <c:pt idx="1026">
                  <c:v>9.9890741701082693</c:v>
                </c:pt>
                <c:pt idx="1027">
                  <c:v>9.9890741701082693</c:v>
                </c:pt>
                <c:pt idx="1028">
                  <c:v>9.9890741701082693</c:v>
                </c:pt>
                <c:pt idx="1029">
                  <c:v>9.9890741701082693</c:v>
                </c:pt>
                <c:pt idx="1030">
                  <c:v>9.9890741701082693</c:v>
                </c:pt>
                <c:pt idx="1031">
                  <c:v>9.9890741701082693</c:v>
                </c:pt>
                <c:pt idx="1032">
                  <c:v>9.9890741701082693</c:v>
                </c:pt>
                <c:pt idx="1033">
                  <c:v>9.9890741701082693</c:v>
                </c:pt>
                <c:pt idx="1034">
                  <c:v>9.9890741701082693</c:v>
                </c:pt>
                <c:pt idx="1035">
                  <c:v>9.9890741701082693</c:v>
                </c:pt>
                <c:pt idx="1036">
                  <c:v>9.9890741701082693</c:v>
                </c:pt>
                <c:pt idx="1037">
                  <c:v>9.9890741701082693</c:v>
                </c:pt>
                <c:pt idx="1038">
                  <c:v>9.9890741701082693</c:v>
                </c:pt>
                <c:pt idx="1039">
                  <c:v>9.9890741701082693</c:v>
                </c:pt>
                <c:pt idx="1040">
                  <c:v>9.9890741701082693</c:v>
                </c:pt>
                <c:pt idx="1041">
                  <c:v>9.9890741701082693</c:v>
                </c:pt>
                <c:pt idx="1042">
                  <c:v>9.9890741701082693</c:v>
                </c:pt>
                <c:pt idx="1043">
                  <c:v>9.9890741701082693</c:v>
                </c:pt>
                <c:pt idx="1044">
                  <c:v>9.9890741701082693</c:v>
                </c:pt>
                <c:pt idx="1045">
                  <c:v>9.9890741701082693</c:v>
                </c:pt>
                <c:pt idx="1046">
                  <c:v>9.9890741701082693</c:v>
                </c:pt>
                <c:pt idx="1047">
                  <c:v>9.9890741701082693</c:v>
                </c:pt>
                <c:pt idx="1048">
                  <c:v>10.06249254354212</c:v>
                </c:pt>
                <c:pt idx="1049">
                  <c:v>10.06249254354212</c:v>
                </c:pt>
                <c:pt idx="1050">
                  <c:v>10.13639353570025</c:v>
                </c:pt>
                <c:pt idx="1051">
                  <c:v>10.13639353570025</c:v>
                </c:pt>
                <c:pt idx="1052">
                  <c:v>10.21066097905917</c:v>
                </c:pt>
                <c:pt idx="1053">
                  <c:v>10.21066097905917</c:v>
                </c:pt>
                <c:pt idx="1054">
                  <c:v>10.21066097905917</c:v>
                </c:pt>
                <c:pt idx="1055">
                  <c:v>10.21066097905917</c:v>
                </c:pt>
                <c:pt idx="1056">
                  <c:v>10.21066097905917</c:v>
                </c:pt>
                <c:pt idx="1057">
                  <c:v>10.21066097905917</c:v>
                </c:pt>
                <c:pt idx="1058">
                  <c:v>10.21066097905917</c:v>
                </c:pt>
                <c:pt idx="1059">
                  <c:v>10.21066097905917</c:v>
                </c:pt>
                <c:pt idx="1060">
                  <c:v>10.28675363924642</c:v>
                </c:pt>
                <c:pt idx="1061">
                  <c:v>10.28675363924642</c:v>
                </c:pt>
                <c:pt idx="1062">
                  <c:v>10.28675363924642</c:v>
                </c:pt>
                <c:pt idx="1063">
                  <c:v>10.28675363924642</c:v>
                </c:pt>
                <c:pt idx="1064">
                  <c:v>10.28675363924642</c:v>
                </c:pt>
                <c:pt idx="1065">
                  <c:v>10.28675363924642</c:v>
                </c:pt>
                <c:pt idx="1066">
                  <c:v>10.28675363924642</c:v>
                </c:pt>
                <c:pt idx="1067">
                  <c:v>10.28675363924642</c:v>
                </c:pt>
                <c:pt idx="1068">
                  <c:v>10.28675363924642</c:v>
                </c:pt>
                <c:pt idx="1069">
                  <c:v>10.28675363924642</c:v>
                </c:pt>
                <c:pt idx="1070">
                  <c:v>10.28675363924642</c:v>
                </c:pt>
                <c:pt idx="1071">
                  <c:v>10.28675363924642</c:v>
                </c:pt>
                <c:pt idx="1072">
                  <c:v>10.28675363924642</c:v>
                </c:pt>
                <c:pt idx="1073">
                  <c:v>10.28675363924642</c:v>
                </c:pt>
                <c:pt idx="1074">
                  <c:v>10.28675363924642</c:v>
                </c:pt>
                <c:pt idx="1075">
                  <c:v>10.28675363924642</c:v>
                </c:pt>
                <c:pt idx="1076">
                  <c:v>10.28675363924642</c:v>
                </c:pt>
                <c:pt idx="1077">
                  <c:v>10.28675363924642</c:v>
                </c:pt>
                <c:pt idx="1078">
                  <c:v>10.28675363924642</c:v>
                </c:pt>
                <c:pt idx="1079">
                  <c:v>10.28675363924642</c:v>
                </c:pt>
                <c:pt idx="1080">
                  <c:v>10.28675363924642</c:v>
                </c:pt>
                <c:pt idx="1081">
                  <c:v>10.28675363924642</c:v>
                </c:pt>
                <c:pt idx="1082">
                  <c:v>10.28675363924642</c:v>
                </c:pt>
                <c:pt idx="1083">
                  <c:v>10.28675363924642</c:v>
                </c:pt>
                <c:pt idx="1084">
                  <c:v>10.28675363924642</c:v>
                </c:pt>
                <c:pt idx="1085">
                  <c:v>10.28675363924642</c:v>
                </c:pt>
                <c:pt idx="1086">
                  <c:v>10.28675363924642</c:v>
                </c:pt>
                <c:pt idx="1087">
                  <c:v>10.28675363924642</c:v>
                </c:pt>
                <c:pt idx="1088">
                  <c:v>10.28675363924642</c:v>
                </c:pt>
                <c:pt idx="1089">
                  <c:v>10.28675363924642</c:v>
                </c:pt>
                <c:pt idx="1090">
                  <c:v>10.28675363924642</c:v>
                </c:pt>
                <c:pt idx="1091">
                  <c:v>10.28675363924642</c:v>
                </c:pt>
                <c:pt idx="1092">
                  <c:v>10.28675363924642</c:v>
                </c:pt>
                <c:pt idx="1093">
                  <c:v>10.28675363924642</c:v>
                </c:pt>
                <c:pt idx="1094">
                  <c:v>10.28675363924642</c:v>
                </c:pt>
                <c:pt idx="1095">
                  <c:v>10.28675363924642</c:v>
                </c:pt>
                <c:pt idx="1096">
                  <c:v>10.28675363924642</c:v>
                </c:pt>
                <c:pt idx="1097">
                  <c:v>10.28675363924642</c:v>
                </c:pt>
                <c:pt idx="1098">
                  <c:v>10.28675363924642</c:v>
                </c:pt>
                <c:pt idx="1099">
                  <c:v>10.28675363924642</c:v>
                </c:pt>
                <c:pt idx="1100">
                  <c:v>10.4904159465353</c:v>
                </c:pt>
                <c:pt idx="1101">
                  <c:v>10.4904159465353</c:v>
                </c:pt>
                <c:pt idx="1102">
                  <c:v>10.4904159465353</c:v>
                </c:pt>
                <c:pt idx="1103">
                  <c:v>10.4904159465353</c:v>
                </c:pt>
                <c:pt idx="1104">
                  <c:v>10.4904159465353</c:v>
                </c:pt>
                <c:pt idx="1105">
                  <c:v>10.4904159465353</c:v>
                </c:pt>
                <c:pt idx="1106">
                  <c:v>10.4904159465353</c:v>
                </c:pt>
                <c:pt idx="1107">
                  <c:v>10.4904159465353</c:v>
                </c:pt>
                <c:pt idx="1108">
                  <c:v>10.4904159465353</c:v>
                </c:pt>
                <c:pt idx="1109">
                  <c:v>10.4904159465353</c:v>
                </c:pt>
                <c:pt idx="1110">
                  <c:v>10.4904159465353</c:v>
                </c:pt>
                <c:pt idx="1111">
                  <c:v>10.4904159465353</c:v>
                </c:pt>
                <c:pt idx="1112">
                  <c:v>10.602163242482201</c:v>
                </c:pt>
                <c:pt idx="1113">
                  <c:v>10.602163242482201</c:v>
                </c:pt>
                <c:pt idx="1114">
                  <c:v>10.602163242482201</c:v>
                </c:pt>
                <c:pt idx="1115">
                  <c:v>10.602163242482201</c:v>
                </c:pt>
                <c:pt idx="1116">
                  <c:v>10.602163242482201</c:v>
                </c:pt>
                <c:pt idx="1117">
                  <c:v>10.602163242482201</c:v>
                </c:pt>
                <c:pt idx="1118">
                  <c:v>10.602163242482201</c:v>
                </c:pt>
                <c:pt idx="1119">
                  <c:v>10.602163242482201</c:v>
                </c:pt>
                <c:pt idx="1120">
                  <c:v>10.602163242482201</c:v>
                </c:pt>
                <c:pt idx="1121">
                  <c:v>10.602163242482201</c:v>
                </c:pt>
                <c:pt idx="1122">
                  <c:v>10.602163242482201</c:v>
                </c:pt>
                <c:pt idx="1123">
                  <c:v>10.602163242482201</c:v>
                </c:pt>
                <c:pt idx="1124">
                  <c:v>10.602163242482201</c:v>
                </c:pt>
                <c:pt idx="1125">
                  <c:v>10.602163242482201</c:v>
                </c:pt>
                <c:pt idx="1126">
                  <c:v>10.602163242482201</c:v>
                </c:pt>
                <c:pt idx="1127">
                  <c:v>10.602163242482201</c:v>
                </c:pt>
                <c:pt idx="1128">
                  <c:v>10.602163242482201</c:v>
                </c:pt>
                <c:pt idx="1129">
                  <c:v>10.602163242482201</c:v>
                </c:pt>
                <c:pt idx="1130">
                  <c:v>10.602163242482201</c:v>
                </c:pt>
                <c:pt idx="1131">
                  <c:v>10.602163242482201</c:v>
                </c:pt>
                <c:pt idx="1132">
                  <c:v>10.602163242482201</c:v>
                </c:pt>
                <c:pt idx="1133">
                  <c:v>10.602163242482201</c:v>
                </c:pt>
                <c:pt idx="1134">
                  <c:v>10.602163242482201</c:v>
                </c:pt>
                <c:pt idx="1135">
                  <c:v>10.602163242482201</c:v>
                </c:pt>
                <c:pt idx="1136">
                  <c:v>10.602163242482201</c:v>
                </c:pt>
                <c:pt idx="1137">
                  <c:v>10.602163242482201</c:v>
                </c:pt>
                <c:pt idx="1138">
                  <c:v>10.602163242482201</c:v>
                </c:pt>
                <c:pt idx="1139">
                  <c:v>10.602163242482201</c:v>
                </c:pt>
                <c:pt idx="1140">
                  <c:v>10.602163242482201</c:v>
                </c:pt>
                <c:pt idx="1141">
                  <c:v>10.602163242482201</c:v>
                </c:pt>
                <c:pt idx="1142">
                  <c:v>10.602163242482201</c:v>
                </c:pt>
                <c:pt idx="1143">
                  <c:v>10.602163242482201</c:v>
                </c:pt>
                <c:pt idx="1144">
                  <c:v>10.602163242482201</c:v>
                </c:pt>
                <c:pt idx="1145">
                  <c:v>10.602163242482201</c:v>
                </c:pt>
                <c:pt idx="1146">
                  <c:v>10.602163242482201</c:v>
                </c:pt>
                <c:pt idx="1147">
                  <c:v>10.602163242482201</c:v>
                </c:pt>
                <c:pt idx="1148">
                  <c:v>10.602163242482201</c:v>
                </c:pt>
                <c:pt idx="1149">
                  <c:v>10.602163242482201</c:v>
                </c:pt>
                <c:pt idx="1150">
                  <c:v>10.602163242482201</c:v>
                </c:pt>
                <c:pt idx="1151">
                  <c:v>10.602163242482201</c:v>
                </c:pt>
                <c:pt idx="1152">
                  <c:v>10.602163242482201</c:v>
                </c:pt>
                <c:pt idx="1153">
                  <c:v>10.602163242482201</c:v>
                </c:pt>
                <c:pt idx="1154">
                  <c:v>10.602163242482201</c:v>
                </c:pt>
                <c:pt idx="1155">
                  <c:v>10.602163242482201</c:v>
                </c:pt>
                <c:pt idx="1156">
                  <c:v>10.602163242482201</c:v>
                </c:pt>
                <c:pt idx="1157">
                  <c:v>10.602163242482201</c:v>
                </c:pt>
                <c:pt idx="1158">
                  <c:v>10.602163242482201</c:v>
                </c:pt>
                <c:pt idx="1159">
                  <c:v>10.602163242482201</c:v>
                </c:pt>
                <c:pt idx="1160">
                  <c:v>10.602163242482201</c:v>
                </c:pt>
                <c:pt idx="1161">
                  <c:v>10.602163242482201</c:v>
                </c:pt>
                <c:pt idx="1162">
                  <c:v>10.602163242482201</c:v>
                </c:pt>
                <c:pt idx="1163">
                  <c:v>10.602163242482201</c:v>
                </c:pt>
                <c:pt idx="1164">
                  <c:v>10.808149041462659</c:v>
                </c:pt>
                <c:pt idx="1165">
                  <c:v>10.808149041462659</c:v>
                </c:pt>
                <c:pt idx="1166">
                  <c:v>10.808149041462659</c:v>
                </c:pt>
                <c:pt idx="1167">
                  <c:v>10.808149041462659</c:v>
                </c:pt>
                <c:pt idx="1168">
                  <c:v>10.808149041462659</c:v>
                </c:pt>
                <c:pt idx="1169">
                  <c:v>10.808149041462659</c:v>
                </c:pt>
                <c:pt idx="1170">
                  <c:v>10.808149041462659</c:v>
                </c:pt>
                <c:pt idx="1171">
                  <c:v>10.808149041462659</c:v>
                </c:pt>
                <c:pt idx="1172">
                  <c:v>10.808149041462659</c:v>
                </c:pt>
                <c:pt idx="1173">
                  <c:v>10.808149041462659</c:v>
                </c:pt>
                <c:pt idx="1174">
                  <c:v>10.808149041462659</c:v>
                </c:pt>
                <c:pt idx="1175">
                  <c:v>10.808149041462659</c:v>
                </c:pt>
                <c:pt idx="1176">
                  <c:v>10.808149041462659</c:v>
                </c:pt>
                <c:pt idx="1177">
                  <c:v>10.808149041462659</c:v>
                </c:pt>
                <c:pt idx="1178">
                  <c:v>10.808149041462659</c:v>
                </c:pt>
                <c:pt idx="1179">
                  <c:v>10.808149041462659</c:v>
                </c:pt>
                <c:pt idx="1180">
                  <c:v>10.808149041462659</c:v>
                </c:pt>
                <c:pt idx="1181">
                  <c:v>10.808149041462659</c:v>
                </c:pt>
                <c:pt idx="1182">
                  <c:v>10.808149041462659</c:v>
                </c:pt>
                <c:pt idx="1183">
                  <c:v>10.808149041462659</c:v>
                </c:pt>
                <c:pt idx="1184">
                  <c:v>10.808149041462659</c:v>
                </c:pt>
                <c:pt idx="1185">
                  <c:v>10.808149041462659</c:v>
                </c:pt>
                <c:pt idx="1186">
                  <c:v>10.808149041462659</c:v>
                </c:pt>
                <c:pt idx="1187">
                  <c:v>10.808149041462659</c:v>
                </c:pt>
                <c:pt idx="1188">
                  <c:v>10.808149041462659</c:v>
                </c:pt>
                <c:pt idx="1189">
                  <c:v>10.808149041462659</c:v>
                </c:pt>
                <c:pt idx="1190">
                  <c:v>10.808149041462659</c:v>
                </c:pt>
                <c:pt idx="1191">
                  <c:v>10.808149041462659</c:v>
                </c:pt>
                <c:pt idx="1192">
                  <c:v>10.808149041462659</c:v>
                </c:pt>
                <c:pt idx="1193">
                  <c:v>10.808149041462659</c:v>
                </c:pt>
                <c:pt idx="1194">
                  <c:v>10.808149041462659</c:v>
                </c:pt>
                <c:pt idx="1195">
                  <c:v>10.808149041462659</c:v>
                </c:pt>
                <c:pt idx="1196">
                  <c:v>10.808149041462659</c:v>
                </c:pt>
                <c:pt idx="1197">
                  <c:v>10.808149041462659</c:v>
                </c:pt>
                <c:pt idx="1198">
                  <c:v>10.808149041462659</c:v>
                </c:pt>
                <c:pt idx="1199">
                  <c:v>10.808149041462659</c:v>
                </c:pt>
                <c:pt idx="1200">
                  <c:v>10.808149041462659</c:v>
                </c:pt>
                <c:pt idx="1201">
                  <c:v>10.808149041462659</c:v>
                </c:pt>
                <c:pt idx="1202">
                  <c:v>10.808149041462659</c:v>
                </c:pt>
                <c:pt idx="1203">
                  <c:v>10.808149041462659</c:v>
                </c:pt>
                <c:pt idx="1204">
                  <c:v>10.808149041462659</c:v>
                </c:pt>
                <c:pt idx="1205">
                  <c:v>10.808149041462659</c:v>
                </c:pt>
                <c:pt idx="1206">
                  <c:v>10.808149041462659</c:v>
                </c:pt>
                <c:pt idx="1207">
                  <c:v>10.808149041462659</c:v>
                </c:pt>
                <c:pt idx="1208">
                  <c:v>10.808149041462659</c:v>
                </c:pt>
                <c:pt idx="1209">
                  <c:v>10.808149041462659</c:v>
                </c:pt>
                <c:pt idx="1210">
                  <c:v>10.808149041462659</c:v>
                </c:pt>
                <c:pt idx="1211">
                  <c:v>10.808149041462659</c:v>
                </c:pt>
                <c:pt idx="1212">
                  <c:v>10.808149041462659</c:v>
                </c:pt>
                <c:pt idx="1213">
                  <c:v>10.808149041462659</c:v>
                </c:pt>
                <c:pt idx="1214">
                  <c:v>10.808149041462659</c:v>
                </c:pt>
                <c:pt idx="1215">
                  <c:v>10.808149041462659</c:v>
                </c:pt>
                <c:pt idx="1216">
                  <c:v>10.808149041462659</c:v>
                </c:pt>
                <c:pt idx="1217">
                  <c:v>10.808149041462659</c:v>
                </c:pt>
                <c:pt idx="1218">
                  <c:v>10.808149041462659</c:v>
                </c:pt>
                <c:pt idx="1219">
                  <c:v>10.808149041462659</c:v>
                </c:pt>
                <c:pt idx="1220">
                  <c:v>10.808149041462659</c:v>
                </c:pt>
                <c:pt idx="1221">
                  <c:v>10.808149041462659</c:v>
                </c:pt>
                <c:pt idx="1222">
                  <c:v>10.808149041462659</c:v>
                </c:pt>
                <c:pt idx="1223">
                  <c:v>10.808149041462659</c:v>
                </c:pt>
                <c:pt idx="1224">
                  <c:v>10.808149041462659</c:v>
                </c:pt>
                <c:pt idx="1225">
                  <c:v>10.808149041462659</c:v>
                </c:pt>
                <c:pt idx="1226">
                  <c:v>10.808149041462659</c:v>
                </c:pt>
                <c:pt idx="1227">
                  <c:v>10.808149041462659</c:v>
                </c:pt>
                <c:pt idx="1228">
                  <c:v>10.808149041462659</c:v>
                </c:pt>
                <c:pt idx="1229">
                  <c:v>10.808149041462659</c:v>
                </c:pt>
                <c:pt idx="1230">
                  <c:v>10.808149041462659</c:v>
                </c:pt>
                <c:pt idx="1231">
                  <c:v>10.808149041462659</c:v>
                </c:pt>
                <c:pt idx="1232">
                  <c:v>10.808149041462659</c:v>
                </c:pt>
                <c:pt idx="1233">
                  <c:v>10.808149041462659</c:v>
                </c:pt>
                <c:pt idx="1234">
                  <c:v>10.808149041462659</c:v>
                </c:pt>
                <c:pt idx="1235">
                  <c:v>10.808149041462659</c:v>
                </c:pt>
                <c:pt idx="1236">
                  <c:v>10.808149041462659</c:v>
                </c:pt>
                <c:pt idx="1237">
                  <c:v>10.808149041462659</c:v>
                </c:pt>
                <c:pt idx="1238">
                  <c:v>10.808149041462659</c:v>
                </c:pt>
                <c:pt idx="1239">
                  <c:v>10.808149041462659</c:v>
                </c:pt>
                <c:pt idx="1240">
                  <c:v>10.808149041462659</c:v>
                </c:pt>
                <c:pt idx="1241">
                  <c:v>10.808149041462659</c:v>
                </c:pt>
                <c:pt idx="1242">
                  <c:v>10.808149041462659</c:v>
                </c:pt>
                <c:pt idx="1243">
                  <c:v>10.808149041462659</c:v>
                </c:pt>
                <c:pt idx="1244">
                  <c:v>10.808149041462659</c:v>
                </c:pt>
                <c:pt idx="1245">
                  <c:v>10.808149041462659</c:v>
                </c:pt>
                <c:pt idx="1246">
                  <c:v>10.808149041462659</c:v>
                </c:pt>
                <c:pt idx="1247">
                  <c:v>10.808149041462659</c:v>
                </c:pt>
                <c:pt idx="1248">
                  <c:v>10.808149041462659</c:v>
                </c:pt>
                <c:pt idx="1249">
                  <c:v>10.808149041462659</c:v>
                </c:pt>
                <c:pt idx="1250">
                  <c:v>10.808149041462659</c:v>
                </c:pt>
                <c:pt idx="1251">
                  <c:v>10.808149041462659</c:v>
                </c:pt>
                <c:pt idx="1252">
                  <c:v>10.808149041462659</c:v>
                </c:pt>
                <c:pt idx="1253">
                  <c:v>10.808149041462659</c:v>
                </c:pt>
                <c:pt idx="1254">
                  <c:v>10.808149041462659</c:v>
                </c:pt>
                <c:pt idx="1255">
                  <c:v>10.808149041462659</c:v>
                </c:pt>
                <c:pt idx="1256">
                  <c:v>10.808149041462659</c:v>
                </c:pt>
                <c:pt idx="1257">
                  <c:v>10.808149041462659</c:v>
                </c:pt>
                <c:pt idx="1258">
                  <c:v>10.808149041462659</c:v>
                </c:pt>
                <c:pt idx="1259">
                  <c:v>10.808149041462659</c:v>
                </c:pt>
                <c:pt idx="1260">
                  <c:v>10.808149041462659</c:v>
                </c:pt>
                <c:pt idx="1261">
                  <c:v>10.808149041462659</c:v>
                </c:pt>
                <c:pt idx="1262">
                  <c:v>10.808149041462659</c:v>
                </c:pt>
                <c:pt idx="1263">
                  <c:v>10.808149041462659</c:v>
                </c:pt>
                <c:pt idx="1264">
                  <c:v>10.808149041462659</c:v>
                </c:pt>
                <c:pt idx="1265">
                  <c:v>10.808149041462659</c:v>
                </c:pt>
                <c:pt idx="1266">
                  <c:v>10.808149041462659</c:v>
                </c:pt>
                <c:pt idx="1267">
                  <c:v>10.808149041462659</c:v>
                </c:pt>
                <c:pt idx="1268">
                  <c:v>10.808149041462659</c:v>
                </c:pt>
                <c:pt idx="1269">
                  <c:v>10.808149041462659</c:v>
                </c:pt>
                <c:pt idx="1270">
                  <c:v>10.808149041462659</c:v>
                </c:pt>
                <c:pt idx="1271">
                  <c:v>10.808149041462659</c:v>
                </c:pt>
                <c:pt idx="1272">
                  <c:v>10.808149041462659</c:v>
                </c:pt>
                <c:pt idx="1273">
                  <c:v>10.808149041462659</c:v>
                </c:pt>
                <c:pt idx="1274">
                  <c:v>10.808149041462659</c:v>
                </c:pt>
                <c:pt idx="1275">
                  <c:v>10.808149041462659</c:v>
                </c:pt>
                <c:pt idx="1276">
                  <c:v>10.808149041462659</c:v>
                </c:pt>
                <c:pt idx="1277">
                  <c:v>10.808149041462659</c:v>
                </c:pt>
                <c:pt idx="1278">
                  <c:v>10.808149041462659</c:v>
                </c:pt>
                <c:pt idx="1279">
                  <c:v>10.808149041462659</c:v>
                </c:pt>
                <c:pt idx="1280">
                  <c:v>10.808149041462659</c:v>
                </c:pt>
                <c:pt idx="1281">
                  <c:v>10.808149041462659</c:v>
                </c:pt>
                <c:pt idx="1282">
                  <c:v>10.808149041462659</c:v>
                </c:pt>
                <c:pt idx="1283">
                  <c:v>10.808149041462659</c:v>
                </c:pt>
                <c:pt idx="1284">
                  <c:v>10.808149041462659</c:v>
                </c:pt>
                <c:pt idx="1285">
                  <c:v>10.808149041462659</c:v>
                </c:pt>
                <c:pt idx="1286">
                  <c:v>10.808149041462659</c:v>
                </c:pt>
                <c:pt idx="1287">
                  <c:v>10.808149041462659</c:v>
                </c:pt>
                <c:pt idx="1288">
                  <c:v>10.808149041462659</c:v>
                </c:pt>
                <c:pt idx="1289">
                  <c:v>10.808149041462659</c:v>
                </c:pt>
              </c:numCache>
            </c:numRef>
          </c:yVal>
          <c:smooth val="0"/>
          <c:extLst xmlns:c16r2="http://schemas.microsoft.com/office/drawing/2015/06/chart">
            <c:ext xmlns:c16="http://schemas.microsoft.com/office/drawing/2014/chart" uri="{C3380CC4-5D6E-409C-BE32-E72D297353CC}">
              <c16:uniqueId val="{00000000-FD24-41A0-BD0C-18D306457E2C}"/>
            </c:ext>
          </c:extLst>
        </c:ser>
        <c:ser>
          <c:idx val="1"/>
          <c:order val="1"/>
          <c:tx>
            <c:strRef>
              <c:f>'Scatter chart - by week'!$B$1</c:f>
              <c:strCache>
                <c:ptCount val="1"/>
                <c:pt idx="0">
                  <c:v>Ideg</c:v>
                </c:pt>
              </c:strCache>
            </c:strRef>
          </c:tx>
          <c:spPr>
            <a:ln w="19050" cap="rnd">
              <a:solidFill>
                <a:schemeClr val="tx1"/>
              </a:solidFill>
              <a:round/>
            </a:ln>
            <a:effectLst/>
          </c:spPr>
          <c:marker>
            <c:symbol val="none"/>
          </c:marker>
          <c:dPt>
            <c:idx val="18"/>
            <c:bubble3D val="0"/>
            <c:extLst xmlns:c16r2="http://schemas.microsoft.com/office/drawing/2015/06/chart">
              <c:ext xmlns:c16="http://schemas.microsoft.com/office/drawing/2014/chart" uri="{C3380CC4-5D6E-409C-BE32-E72D297353CC}">
                <c16:uniqueId val="{00000000-BD00-4D2E-9A19-5A3CE4AFE316}"/>
              </c:ext>
            </c:extLst>
          </c:dPt>
          <c:xVal>
            <c:numRef>
              <c:f>'Scatter chart - by week'!$A$2:$A$1292</c:f>
              <c:numCache>
                <c:formatCode>ge\ne\r\r\a\l</c:formatCode>
                <c:ptCount val="1291"/>
                <c:pt idx="0">
                  <c:v>0</c:v>
                </c:pt>
                <c:pt idx="1">
                  <c:v>3.2786885245901599E-2</c:v>
                </c:pt>
                <c:pt idx="2">
                  <c:v>6.5573770491803296E-2</c:v>
                </c:pt>
                <c:pt idx="3">
                  <c:v>6.5573770491803296E-2</c:v>
                </c:pt>
                <c:pt idx="4">
                  <c:v>9.8360655737704902E-2</c:v>
                </c:pt>
                <c:pt idx="5">
                  <c:v>9.8360655737704902E-2</c:v>
                </c:pt>
                <c:pt idx="6">
                  <c:v>0.19672131147541</c:v>
                </c:pt>
                <c:pt idx="7">
                  <c:v>0.19672131147541</c:v>
                </c:pt>
                <c:pt idx="8">
                  <c:v>0.26229508196721302</c:v>
                </c:pt>
                <c:pt idx="9">
                  <c:v>0.26229508196721302</c:v>
                </c:pt>
                <c:pt idx="10">
                  <c:v>0.29508196721311503</c:v>
                </c:pt>
                <c:pt idx="11">
                  <c:v>0.32786885245901598</c:v>
                </c:pt>
                <c:pt idx="12">
                  <c:v>0.32786885245901598</c:v>
                </c:pt>
                <c:pt idx="13">
                  <c:v>0.36065573770491799</c:v>
                </c:pt>
                <c:pt idx="14">
                  <c:v>0.36065573770491799</c:v>
                </c:pt>
                <c:pt idx="15">
                  <c:v>0.39344262295082</c:v>
                </c:pt>
                <c:pt idx="16">
                  <c:v>0.39344262295082</c:v>
                </c:pt>
                <c:pt idx="17">
                  <c:v>0.42622950819672101</c:v>
                </c:pt>
                <c:pt idx="18">
                  <c:v>0.42622950819672101</c:v>
                </c:pt>
                <c:pt idx="19">
                  <c:v>0.45901639344262302</c:v>
                </c:pt>
                <c:pt idx="20">
                  <c:v>0.49180327868852503</c:v>
                </c:pt>
                <c:pt idx="21">
                  <c:v>0.49180327868852503</c:v>
                </c:pt>
                <c:pt idx="22">
                  <c:v>0.55737704918032804</c:v>
                </c:pt>
                <c:pt idx="23">
                  <c:v>0.55737704918032804</c:v>
                </c:pt>
                <c:pt idx="24">
                  <c:v>0.65573770491803296</c:v>
                </c:pt>
                <c:pt idx="25">
                  <c:v>0.65573770491803296</c:v>
                </c:pt>
                <c:pt idx="26">
                  <c:v>0.68852459016393397</c:v>
                </c:pt>
                <c:pt idx="27">
                  <c:v>0.68852459016393397</c:v>
                </c:pt>
                <c:pt idx="28">
                  <c:v>0.72131147540983598</c:v>
                </c:pt>
                <c:pt idx="29">
                  <c:v>0.72131147540983598</c:v>
                </c:pt>
                <c:pt idx="30">
                  <c:v>0.75409836065573699</c:v>
                </c:pt>
                <c:pt idx="31">
                  <c:v>0.75409836065573699</c:v>
                </c:pt>
                <c:pt idx="32">
                  <c:v>0.85245901639344301</c:v>
                </c:pt>
                <c:pt idx="33">
                  <c:v>0.85245901639344301</c:v>
                </c:pt>
                <c:pt idx="34">
                  <c:v>0.88524590163934402</c:v>
                </c:pt>
                <c:pt idx="35">
                  <c:v>0.88524590163934402</c:v>
                </c:pt>
                <c:pt idx="36">
                  <c:v>0.91803278688524603</c:v>
                </c:pt>
                <c:pt idx="37">
                  <c:v>0.91803278688524603</c:v>
                </c:pt>
                <c:pt idx="38">
                  <c:v>0.95081967213114804</c:v>
                </c:pt>
                <c:pt idx="39">
                  <c:v>0.98360655737704905</c:v>
                </c:pt>
                <c:pt idx="40">
                  <c:v>0.98360655737704905</c:v>
                </c:pt>
                <c:pt idx="41">
                  <c:v>1</c:v>
                </c:pt>
                <c:pt idx="42">
                  <c:v>1.0163934426229511</c:v>
                </c:pt>
                <c:pt idx="43">
                  <c:v>1.0163934426229511</c:v>
                </c:pt>
                <c:pt idx="44">
                  <c:v>1.049180327868853</c:v>
                </c:pt>
                <c:pt idx="45">
                  <c:v>1.049180327868853</c:v>
                </c:pt>
                <c:pt idx="46">
                  <c:v>1.147540983606558</c:v>
                </c:pt>
                <c:pt idx="47">
                  <c:v>1.147540983606558</c:v>
                </c:pt>
                <c:pt idx="48">
                  <c:v>1.1803278688524601</c:v>
                </c:pt>
                <c:pt idx="49">
                  <c:v>1.1803278688524601</c:v>
                </c:pt>
                <c:pt idx="50">
                  <c:v>1.21311475409836</c:v>
                </c:pt>
                <c:pt idx="51">
                  <c:v>1.21311475409836</c:v>
                </c:pt>
                <c:pt idx="52">
                  <c:v>1.2459016393442619</c:v>
                </c:pt>
                <c:pt idx="53">
                  <c:v>1.2459016393442619</c:v>
                </c:pt>
                <c:pt idx="54">
                  <c:v>1.278688524590164</c:v>
                </c:pt>
                <c:pt idx="55">
                  <c:v>1.278688524590164</c:v>
                </c:pt>
                <c:pt idx="56">
                  <c:v>1.3114754098360659</c:v>
                </c:pt>
                <c:pt idx="57">
                  <c:v>1.3114754098360659</c:v>
                </c:pt>
                <c:pt idx="58">
                  <c:v>1.3770491803278679</c:v>
                </c:pt>
                <c:pt idx="59">
                  <c:v>1.3770491803278679</c:v>
                </c:pt>
                <c:pt idx="60">
                  <c:v>1.4754098360655741</c:v>
                </c:pt>
                <c:pt idx="61">
                  <c:v>1.4754098360655741</c:v>
                </c:pt>
                <c:pt idx="62">
                  <c:v>1.5081967213114751</c:v>
                </c:pt>
                <c:pt idx="63">
                  <c:v>1.5081967213114751</c:v>
                </c:pt>
                <c:pt idx="64">
                  <c:v>1.540983606557377</c:v>
                </c:pt>
                <c:pt idx="65">
                  <c:v>1.540983606557377</c:v>
                </c:pt>
                <c:pt idx="66">
                  <c:v>1.5737704918032791</c:v>
                </c:pt>
                <c:pt idx="67">
                  <c:v>1.5737704918032791</c:v>
                </c:pt>
                <c:pt idx="68">
                  <c:v>1.6065573770491799</c:v>
                </c:pt>
                <c:pt idx="69">
                  <c:v>1.6065573770491799</c:v>
                </c:pt>
                <c:pt idx="70">
                  <c:v>1.639344262295082</c:v>
                </c:pt>
                <c:pt idx="71">
                  <c:v>1.639344262295082</c:v>
                </c:pt>
                <c:pt idx="72">
                  <c:v>1.7049180327868849</c:v>
                </c:pt>
                <c:pt idx="73">
                  <c:v>1.7049180327868849</c:v>
                </c:pt>
                <c:pt idx="74">
                  <c:v>1.737704918032787</c:v>
                </c:pt>
                <c:pt idx="75">
                  <c:v>1.737704918032787</c:v>
                </c:pt>
                <c:pt idx="76">
                  <c:v>1.8032786885245899</c:v>
                </c:pt>
                <c:pt idx="77">
                  <c:v>1.8032786885245899</c:v>
                </c:pt>
                <c:pt idx="78">
                  <c:v>1.8360655737704921</c:v>
                </c:pt>
                <c:pt idx="79">
                  <c:v>1.8360655737704921</c:v>
                </c:pt>
                <c:pt idx="80">
                  <c:v>1.868852459016394</c:v>
                </c:pt>
                <c:pt idx="81">
                  <c:v>1.868852459016394</c:v>
                </c:pt>
                <c:pt idx="82">
                  <c:v>1.9672131147540981</c:v>
                </c:pt>
                <c:pt idx="83">
                  <c:v>1.9672131147540981</c:v>
                </c:pt>
                <c:pt idx="84">
                  <c:v>2</c:v>
                </c:pt>
                <c:pt idx="85">
                  <c:v>2</c:v>
                </c:pt>
                <c:pt idx="86">
                  <c:v>2.0655737704918038</c:v>
                </c:pt>
                <c:pt idx="87">
                  <c:v>2.0655737704918038</c:v>
                </c:pt>
                <c:pt idx="88">
                  <c:v>2.1639344262295079</c:v>
                </c:pt>
                <c:pt idx="89">
                  <c:v>2.1639344262295079</c:v>
                </c:pt>
                <c:pt idx="90">
                  <c:v>2.1967213114754109</c:v>
                </c:pt>
                <c:pt idx="91">
                  <c:v>2.1967213114754109</c:v>
                </c:pt>
                <c:pt idx="92">
                  <c:v>2.2295081967213122</c:v>
                </c:pt>
                <c:pt idx="93">
                  <c:v>2.2295081967213122</c:v>
                </c:pt>
                <c:pt idx="94">
                  <c:v>2.3278688524590159</c:v>
                </c:pt>
                <c:pt idx="95">
                  <c:v>2.3278688524590159</c:v>
                </c:pt>
                <c:pt idx="96">
                  <c:v>2.3934426229508201</c:v>
                </c:pt>
                <c:pt idx="97">
                  <c:v>2.3934426229508201</c:v>
                </c:pt>
                <c:pt idx="98">
                  <c:v>2.42622950819672</c:v>
                </c:pt>
                <c:pt idx="99">
                  <c:v>2.42622950819672</c:v>
                </c:pt>
                <c:pt idx="100">
                  <c:v>2.4918032786885251</c:v>
                </c:pt>
                <c:pt idx="101">
                  <c:v>2.4918032786885251</c:v>
                </c:pt>
                <c:pt idx="102">
                  <c:v>2.5245901639344259</c:v>
                </c:pt>
                <c:pt idx="103">
                  <c:v>2.5245901639344259</c:v>
                </c:pt>
                <c:pt idx="104">
                  <c:v>2.557377049180328</c:v>
                </c:pt>
                <c:pt idx="105">
                  <c:v>2.557377049180328</c:v>
                </c:pt>
                <c:pt idx="106">
                  <c:v>2.5901639344262288</c:v>
                </c:pt>
                <c:pt idx="107">
                  <c:v>2.5901639344262288</c:v>
                </c:pt>
                <c:pt idx="108">
                  <c:v>2.622950819672131</c:v>
                </c:pt>
                <c:pt idx="109">
                  <c:v>2.622950819672131</c:v>
                </c:pt>
                <c:pt idx="110">
                  <c:v>2.6557377049180331</c:v>
                </c:pt>
                <c:pt idx="111">
                  <c:v>2.6557377049180331</c:v>
                </c:pt>
                <c:pt idx="112">
                  <c:v>2.6885245901639352</c:v>
                </c:pt>
                <c:pt idx="113">
                  <c:v>2.7540983606557372</c:v>
                </c:pt>
                <c:pt idx="114">
                  <c:v>2.7540983606557372</c:v>
                </c:pt>
                <c:pt idx="115">
                  <c:v>2.7868852459016402</c:v>
                </c:pt>
                <c:pt idx="116">
                  <c:v>2.7868852459016402</c:v>
                </c:pt>
                <c:pt idx="117">
                  <c:v>2.8196721311475401</c:v>
                </c:pt>
                <c:pt idx="118">
                  <c:v>2.8196721311475401</c:v>
                </c:pt>
                <c:pt idx="119">
                  <c:v>2.885245901639343</c:v>
                </c:pt>
                <c:pt idx="120">
                  <c:v>2.885245901639343</c:v>
                </c:pt>
                <c:pt idx="121">
                  <c:v>2.9836065573770512</c:v>
                </c:pt>
                <c:pt idx="122">
                  <c:v>3</c:v>
                </c:pt>
                <c:pt idx="123">
                  <c:v>3.0163934426229502</c:v>
                </c:pt>
                <c:pt idx="124">
                  <c:v>3.0163934426229502</c:v>
                </c:pt>
                <c:pt idx="125">
                  <c:v>3.0491803278688532</c:v>
                </c:pt>
                <c:pt idx="126">
                  <c:v>3.0491803278688532</c:v>
                </c:pt>
                <c:pt idx="127">
                  <c:v>3.081967213114754</c:v>
                </c:pt>
                <c:pt idx="128">
                  <c:v>3.081967213114754</c:v>
                </c:pt>
                <c:pt idx="129">
                  <c:v>3.1147540983606561</c:v>
                </c:pt>
                <c:pt idx="130">
                  <c:v>3.1147540983606561</c:v>
                </c:pt>
                <c:pt idx="131">
                  <c:v>3.1475409836065582</c:v>
                </c:pt>
                <c:pt idx="132">
                  <c:v>3.1475409836065582</c:v>
                </c:pt>
                <c:pt idx="133">
                  <c:v>3.1803278688524599</c:v>
                </c:pt>
                <c:pt idx="134">
                  <c:v>3.1803278688524599</c:v>
                </c:pt>
                <c:pt idx="135">
                  <c:v>3.2459016393442628</c:v>
                </c:pt>
                <c:pt idx="136">
                  <c:v>3.2459016393442628</c:v>
                </c:pt>
                <c:pt idx="137">
                  <c:v>3.278688524590164</c:v>
                </c:pt>
                <c:pt idx="138">
                  <c:v>3.278688524590164</c:v>
                </c:pt>
                <c:pt idx="139">
                  <c:v>3.3114754098360639</c:v>
                </c:pt>
                <c:pt idx="140">
                  <c:v>3.3114754098360639</c:v>
                </c:pt>
                <c:pt idx="141">
                  <c:v>3.3442622950819669</c:v>
                </c:pt>
                <c:pt idx="142">
                  <c:v>3.3442622950819669</c:v>
                </c:pt>
                <c:pt idx="143">
                  <c:v>3.4098360655737689</c:v>
                </c:pt>
                <c:pt idx="144">
                  <c:v>3.4098360655737689</c:v>
                </c:pt>
                <c:pt idx="145">
                  <c:v>3.4426229508196711</c:v>
                </c:pt>
                <c:pt idx="146">
                  <c:v>3.4426229508196711</c:v>
                </c:pt>
                <c:pt idx="147">
                  <c:v>3.5081967213114749</c:v>
                </c:pt>
                <c:pt idx="148">
                  <c:v>3.5409836065573752</c:v>
                </c:pt>
                <c:pt idx="149">
                  <c:v>3.5409836065573752</c:v>
                </c:pt>
                <c:pt idx="150">
                  <c:v>3.6393442622950811</c:v>
                </c:pt>
                <c:pt idx="151">
                  <c:v>3.6393442622950811</c:v>
                </c:pt>
                <c:pt idx="152">
                  <c:v>3.7704918032786869</c:v>
                </c:pt>
                <c:pt idx="153">
                  <c:v>3.7704918032786869</c:v>
                </c:pt>
                <c:pt idx="154">
                  <c:v>3.8032786885245899</c:v>
                </c:pt>
                <c:pt idx="155">
                  <c:v>3.8032786885245899</c:v>
                </c:pt>
                <c:pt idx="156">
                  <c:v>3.8360655737704921</c:v>
                </c:pt>
                <c:pt idx="157">
                  <c:v>3.8360655737704921</c:v>
                </c:pt>
                <c:pt idx="158">
                  <c:v>3.901639344262295</c:v>
                </c:pt>
                <c:pt idx="159">
                  <c:v>3.901639344262295</c:v>
                </c:pt>
                <c:pt idx="160">
                  <c:v>3.9344262295081962</c:v>
                </c:pt>
                <c:pt idx="161">
                  <c:v>3.9344262295081962</c:v>
                </c:pt>
                <c:pt idx="162">
                  <c:v>3.9672131147540992</c:v>
                </c:pt>
                <c:pt idx="163">
                  <c:v>3.9672131147540992</c:v>
                </c:pt>
                <c:pt idx="164">
                  <c:v>4</c:v>
                </c:pt>
                <c:pt idx="165">
                  <c:v>4.0327868852459003</c:v>
                </c:pt>
                <c:pt idx="166">
                  <c:v>4.0327868852459003</c:v>
                </c:pt>
                <c:pt idx="167">
                  <c:v>4.0983606557377046</c:v>
                </c:pt>
                <c:pt idx="168">
                  <c:v>4.0983606557377046</c:v>
                </c:pt>
                <c:pt idx="169">
                  <c:v>4.1311475409836067</c:v>
                </c:pt>
                <c:pt idx="170">
                  <c:v>4.1639344262295053</c:v>
                </c:pt>
                <c:pt idx="171">
                  <c:v>4.1639344262295053</c:v>
                </c:pt>
                <c:pt idx="172">
                  <c:v>4.2295081967213131</c:v>
                </c:pt>
                <c:pt idx="173">
                  <c:v>4.2295081967213131</c:v>
                </c:pt>
                <c:pt idx="174">
                  <c:v>4.2622950819672116</c:v>
                </c:pt>
                <c:pt idx="175">
                  <c:v>4.2622950819672116</c:v>
                </c:pt>
                <c:pt idx="176">
                  <c:v>4.2950819672131146</c:v>
                </c:pt>
                <c:pt idx="177">
                  <c:v>4.2950819672131146</c:v>
                </c:pt>
                <c:pt idx="178">
                  <c:v>4.327868852459015</c:v>
                </c:pt>
                <c:pt idx="179">
                  <c:v>4.327868852459015</c:v>
                </c:pt>
                <c:pt idx="180">
                  <c:v>4.3606557377049171</c:v>
                </c:pt>
                <c:pt idx="181">
                  <c:v>4.3606557377049171</c:v>
                </c:pt>
                <c:pt idx="182">
                  <c:v>4.393442622950821</c:v>
                </c:pt>
                <c:pt idx="183">
                  <c:v>4.393442622950821</c:v>
                </c:pt>
                <c:pt idx="184">
                  <c:v>4.4918032786885247</c:v>
                </c:pt>
                <c:pt idx="185">
                  <c:v>4.4918032786885247</c:v>
                </c:pt>
                <c:pt idx="186">
                  <c:v>4.557377049180328</c:v>
                </c:pt>
                <c:pt idx="187">
                  <c:v>4.557377049180328</c:v>
                </c:pt>
                <c:pt idx="188">
                  <c:v>4.6229508196721296</c:v>
                </c:pt>
                <c:pt idx="189">
                  <c:v>4.6557377049180317</c:v>
                </c:pt>
                <c:pt idx="190">
                  <c:v>4.6557377049180317</c:v>
                </c:pt>
                <c:pt idx="191">
                  <c:v>4.6885245901639347</c:v>
                </c:pt>
                <c:pt idx="192">
                  <c:v>4.6885245901639347</c:v>
                </c:pt>
                <c:pt idx="193">
                  <c:v>4.7540983606557363</c:v>
                </c:pt>
                <c:pt idx="194">
                  <c:v>4.7540983606557363</c:v>
                </c:pt>
                <c:pt idx="195">
                  <c:v>4.8196721311475406</c:v>
                </c:pt>
                <c:pt idx="196">
                  <c:v>4.8196721311475406</c:v>
                </c:pt>
                <c:pt idx="197">
                  <c:v>4.85245901639344</c:v>
                </c:pt>
                <c:pt idx="198">
                  <c:v>4.85245901639344</c:v>
                </c:pt>
                <c:pt idx="199">
                  <c:v>4.8852459016393439</c:v>
                </c:pt>
                <c:pt idx="200">
                  <c:v>4.8852459016393439</c:v>
                </c:pt>
                <c:pt idx="201">
                  <c:v>4.918032786885246</c:v>
                </c:pt>
                <c:pt idx="202">
                  <c:v>4.918032786885246</c:v>
                </c:pt>
                <c:pt idx="203">
                  <c:v>4.9836065573770476</c:v>
                </c:pt>
                <c:pt idx="204">
                  <c:v>4.9836065573770476</c:v>
                </c:pt>
                <c:pt idx="205">
                  <c:v>5</c:v>
                </c:pt>
                <c:pt idx="206">
                  <c:v>5.0163934426229506</c:v>
                </c:pt>
                <c:pt idx="207">
                  <c:v>5.049180327868851</c:v>
                </c:pt>
                <c:pt idx="208">
                  <c:v>5.049180327868851</c:v>
                </c:pt>
                <c:pt idx="209">
                  <c:v>5.1147540983606552</c:v>
                </c:pt>
                <c:pt idx="210">
                  <c:v>5.1147540983606552</c:v>
                </c:pt>
                <c:pt idx="211">
                  <c:v>5.1475409836065582</c:v>
                </c:pt>
                <c:pt idx="212">
                  <c:v>5.1475409836065582</c:v>
                </c:pt>
                <c:pt idx="213">
                  <c:v>5.1803278688524577</c:v>
                </c:pt>
                <c:pt idx="214">
                  <c:v>5.2459016393442628</c:v>
                </c:pt>
                <c:pt idx="215">
                  <c:v>5.2459016393442628</c:v>
                </c:pt>
                <c:pt idx="216">
                  <c:v>5.2786885245901649</c:v>
                </c:pt>
                <c:pt idx="217">
                  <c:v>5.2786885245901649</c:v>
                </c:pt>
                <c:pt idx="218">
                  <c:v>5.3114754098360653</c:v>
                </c:pt>
                <c:pt idx="219">
                  <c:v>5.3770491803278704</c:v>
                </c:pt>
                <c:pt idx="220">
                  <c:v>5.3770491803278704</c:v>
                </c:pt>
                <c:pt idx="221">
                  <c:v>5.4098360655737698</c:v>
                </c:pt>
                <c:pt idx="222">
                  <c:v>5.4098360655737698</c:v>
                </c:pt>
                <c:pt idx="223">
                  <c:v>5.4754098360655741</c:v>
                </c:pt>
                <c:pt idx="224">
                  <c:v>5.4754098360655741</c:v>
                </c:pt>
                <c:pt idx="225">
                  <c:v>5.5081967213114744</c:v>
                </c:pt>
                <c:pt idx="226">
                  <c:v>5.5081967213114744</c:v>
                </c:pt>
                <c:pt idx="227">
                  <c:v>5.5409836065573757</c:v>
                </c:pt>
                <c:pt idx="228">
                  <c:v>5.5409836065573757</c:v>
                </c:pt>
                <c:pt idx="229">
                  <c:v>5.5737704918032804</c:v>
                </c:pt>
                <c:pt idx="230">
                  <c:v>5.5737704918032804</c:v>
                </c:pt>
                <c:pt idx="231">
                  <c:v>5.6393442622950811</c:v>
                </c:pt>
                <c:pt idx="232">
                  <c:v>5.6393442622950811</c:v>
                </c:pt>
                <c:pt idx="233">
                  <c:v>5.7049180327868836</c:v>
                </c:pt>
                <c:pt idx="234">
                  <c:v>5.7049180327868836</c:v>
                </c:pt>
                <c:pt idx="235">
                  <c:v>5.7377049180327866</c:v>
                </c:pt>
                <c:pt idx="236">
                  <c:v>5.7377049180327866</c:v>
                </c:pt>
                <c:pt idx="237">
                  <c:v>5.8360655737704912</c:v>
                </c:pt>
                <c:pt idx="238">
                  <c:v>5.8360655737704912</c:v>
                </c:pt>
                <c:pt idx="239">
                  <c:v>5.8688524590163942</c:v>
                </c:pt>
                <c:pt idx="240">
                  <c:v>5.8688524590163942</c:v>
                </c:pt>
                <c:pt idx="241">
                  <c:v>5.9344262295081993</c:v>
                </c:pt>
                <c:pt idx="242">
                  <c:v>5.9344262295081993</c:v>
                </c:pt>
                <c:pt idx="243">
                  <c:v>6</c:v>
                </c:pt>
                <c:pt idx="244">
                  <c:v>6</c:v>
                </c:pt>
                <c:pt idx="245">
                  <c:v>6.0327868852458986</c:v>
                </c:pt>
                <c:pt idx="246">
                  <c:v>6.0327868852458986</c:v>
                </c:pt>
                <c:pt idx="247">
                  <c:v>6.0983606557377046</c:v>
                </c:pt>
                <c:pt idx="248">
                  <c:v>6.0983606557377046</c:v>
                </c:pt>
                <c:pt idx="249">
                  <c:v>6.1311475409836049</c:v>
                </c:pt>
                <c:pt idx="250">
                  <c:v>6.1311475409836049</c:v>
                </c:pt>
                <c:pt idx="251">
                  <c:v>6.1639344262295062</c:v>
                </c:pt>
                <c:pt idx="252">
                  <c:v>6.1639344262295062</c:v>
                </c:pt>
                <c:pt idx="253">
                  <c:v>6.1967213114754083</c:v>
                </c:pt>
                <c:pt idx="254">
                  <c:v>6.1967213114754083</c:v>
                </c:pt>
                <c:pt idx="255">
                  <c:v>6.2295081967213122</c:v>
                </c:pt>
                <c:pt idx="256">
                  <c:v>6.2295081967213122</c:v>
                </c:pt>
                <c:pt idx="257">
                  <c:v>6.2622950819672116</c:v>
                </c:pt>
                <c:pt idx="258">
                  <c:v>6.2622950819672116</c:v>
                </c:pt>
                <c:pt idx="259">
                  <c:v>6.4262295081967213</c:v>
                </c:pt>
                <c:pt idx="260">
                  <c:v>6.4262295081967213</c:v>
                </c:pt>
                <c:pt idx="261">
                  <c:v>6.4918032786885274</c:v>
                </c:pt>
                <c:pt idx="262">
                  <c:v>6.4918032786885274</c:v>
                </c:pt>
                <c:pt idx="263">
                  <c:v>6.5245901639344259</c:v>
                </c:pt>
                <c:pt idx="264">
                  <c:v>6.5245901639344259</c:v>
                </c:pt>
                <c:pt idx="265">
                  <c:v>6.5573770491803289</c:v>
                </c:pt>
                <c:pt idx="266">
                  <c:v>6.5573770491803289</c:v>
                </c:pt>
                <c:pt idx="267">
                  <c:v>6.6229508196721296</c:v>
                </c:pt>
                <c:pt idx="268">
                  <c:v>6.6229508196721296</c:v>
                </c:pt>
                <c:pt idx="269">
                  <c:v>6.6557377049180309</c:v>
                </c:pt>
                <c:pt idx="270">
                  <c:v>6.6557377049180309</c:v>
                </c:pt>
                <c:pt idx="271">
                  <c:v>6.7213114754098351</c:v>
                </c:pt>
                <c:pt idx="272">
                  <c:v>6.7213114754098351</c:v>
                </c:pt>
                <c:pt idx="273">
                  <c:v>6.8524590163934409</c:v>
                </c:pt>
                <c:pt idx="274">
                  <c:v>6.8852459016393421</c:v>
                </c:pt>
                <c:pt idx="275">
                  <c:v>6.8852459016393421</c:v>
                </c:pt>
                <c:pt idx="276">
                  <c:v>6.9180327868852496</c:v>
                </c:pt>
                <c:pt idx="277">
                  <c:v>6.9180327868852496</c:v>
                </c:pt>
                <c:pt idx="278">
                  <c:v>6.9508196721311473</c:v>
                </c:pt>
                <c:pt idx="279">
                  <c:v>6.9508196721311473</c:v>
                </c:pt>
                <c:pt idx="280">
                  <c:v>6.9836065573770503</c:v>
                </c:pt>
                <c:pt idx="281">
                  <c:v>6.9836065573770503</c:v>
                </c:pt>
                <c:pt idx="282">
                  <c:v>7</c:v>
                </c:pt>
                <c:pt idx="283">
                  <c:v>7.0491803278688518</c:v>
                </c:pt>
                <c:pt idx="284">
                  <c:v>7.0491803278688518</c:v>
                </c:pt>
                <c:pt idx="285">
                  <c:v>7.0819672131147504</c:v>
                </c:pt>
                <c:pt idx="286">
                  <c:v>7.0819672131147504</c:v>
                </c:pt>
                <c:pt idx="287">
                  <c:v>7.1475409836065573</c:v>
                </c:pt>
                <c:pt idx="288">
                  <c:v>7.1475409836065573</c:v>
                </c:pt>
                <c:pt idx="289">
                  <c:v>7.1803278688524603</c:v>
                </c:pt>
                <c:pt idx="290">
                  <c:v>7.1803278688524603</c:v>
                </c:pt>
                <c:pt idx="291">
                  <c:v>7.2131147540983589</c:v>
                </c:pt>
                <c:pt idx="292">
                  <c:v>7.2131147540983589</c:v>
                </c:pt>
                <c:pt idx="293">
                  <c:v>7.278688524590164</c:v>
                </c:pt>
                <c:pt idx="294">
                  <c:v>7.4098360655737698</c:v>
                </c:pt>
                <c:pt idx="295">
                  <c:v>7.4098360655737698</c:v>
                </c:pt>
                <c:pt idx="296">
                  <c:v>7.4754098360655741</c:v>
                </c:pt>
                <c:pt idx="297">
                  <c:v>7.4754098360655741</c:v>
                </c:pt>
                <c:pt idx="298">
                  <c:v>7.5409836065573748</c:v>
                </c:pt>
                <c:pt idx="299">
                  <c:v>7.5409836065573748</c:v>
                </c:pt>
                <c:pt idx="300">
                  <c:v>7.5737704918032804</c:v>
                </c:pt>
                <c:pt idx="301">
                  <c:v>7.5737704918032804</c:v>
                </c:pt>
                <c:pt idx="302">
                  <c:v>7.6065573770491799</c:v>
                </c:pt>
                <c:pt idx="303">
                  <c:v>7.672131147540985</c:v>
                </c:pt>
                <c:pt idx="304">
                  <c:v>7.672131147540985</c:v>
                </c:pt>
                <c:pt idx="305">
                  <c:v>7.7049180327868836</c:v>
                </c:pt>
                <c:pt idx="306">
                  <c:v>7.7049180327868836</c:v>
                </c:pt>
                <c:pt idx="307">
                  <c:v>7.8032786885245908</c:v>
                </c:pt>
                <c:pt idx="308">
                  <c:v>7.8032786885245908</c:v>
                </c:pt>
                <c:pt idx="309">
                  <c:v>7.8360655737704947</c:v>
                </c:pt>
                <c:pt idx="310">
                  <c:v>7.8688524590163906</c:v>
                </c:pt>
                <c:pt idx="311">
                  <c:v>7.8688524590163906</c:v>
                </c:pt>
                <c:pt idx="312">
                  <c:v>7.9016393442622963</c:v>
                </c:pt>
                <c:pt idx="313">
                  <c:v>7.9016393442622963</c:v>
                </c:pt>
                <c:pt idx="314">
                  <c:v>7.9344262295081984</c:v>
                </c:pt>
                <c:pt idx="315">
                  <c:v>7.9344262295081984</c:v>
                </c:pt>
                <c:pt idx="316">
                  <c:v>8</c:v>
                </c:pt>
                <c:pt idx="317">
                  <c:v>8</c:v>
                </c:pt>
                <c:pt idx="318">
                  <c:v>8.0327868852459048</c:v>
                </c:pt>
                <c:pt idx="319">
                  <c:v>8.0327868852459048</c:v>
                </c:pt>
                <c:pt idx="320">
                  <c:v>8.0655737704918007</c:v>
                </c:pt>
                <c:pt idx="321">
                  <c:v>8.0983606557377037</c:v>
                </c:pt>
                <c:pt idx="322">
                  <c:v>8.0983606557377037</c:v>
                </c:pt>
                <c:pt idx="323">
                  <c:v>8.1311475409836049</c:v>
                </c:pt>
                <c:pt idx="324">
                  <c:v>8.1311475409836049</c:v>
                </c:pt>
                <c:pt idx="325">
                  <c:v>8.1639344262295062</c:v>
                </c:pt>
                <c:pt idx="326">
                  <c:v>8.1639344262295062</c:v>
                </c:pt>
                <c:pt idx="327">
                  <c:v>8.1967213114754074</c:v>
                </c:pt>
                <c:pt idx="328">
                  <c:v>8.1967213114754074</c:v>
                </c:pt>
                <c:pt idx="329">
                  <c:v>8.2295081967213122</c:v>
                </c:pt>
                <c:pt idx="330">
                  <c:v>8.2295081967213122</c:v>
                </c:pt>
                <c:pt idx="331">
                  <c:v>8.2622950819672152</c:v>
                </c:pt>
                <c:pt idx="332">
                  <c:v>8.3606557377049242</c:v>
                </c:pt>
                <c:pt idx="333">
                  <c:v>8.3606557377049242</c:v>
                </c:pt>
                <c:pt idx="334">
                  <c:v>8.4262295081967178</c:v>
                </c:pt>
                <c:pt idx="335">
                  <c:v>8.4262295081967178</c:v>
                </c:pt>
                <c:pt idx="336">
                  <c:v>8.4590163934426261</c:v>
                </c:pt>
                <c:pt idx="337">
                  <c:v>8.4590163934426261</c:v>
                </c:pt>
                <c:pt idx="338">
                  <c:v>8.5245901639344233</c:v>
                </c:pt>
                <c:pt idx="339">
                  <c:v>8.5245901639344233</c:v>
                </c:pt>
                <c:pt idx="340">
                  <c:v>8.557377049180328</c:v>
                </c:pt>
                <c:pt idx="341">
                  <c:v>8.5901639344262328</c:v>
                </c:pt>
                <c:pt idx="342">
                  <c:v>8.5901639344262328</c:v>
                </c:pt>
                <c:pt idx="343">
                  <c:v>8.6557377049180335</c:v>
                </c:pt>
                <c:pt idx="344">
                  <c:v>8.6557377049180335</c:v>
                </c:pt>
                <c:pt idx="345">
                  <c:v>8.7540983606557354</c:v>
                </c:pt>
                <c:pt idx="346">
                  <c:v>8.7868852459016438</c:v>
                </c:pt>
                <c:pt idx="347">
                  <c:v>8.7868852459016438</c:v>
                </c:pt>
                <c:pt idx="348">
                  <c:v>8.8852459016393475</c:v>
                </c:pt>
                <c:pt idx="349">
                  <c:v>8.8852459016393475</c:v>
                </c:pt>
                <c:pt idx="350">
                  <c:v>8.9508196721311517</c:v>
                </c:pt>
                <c:pt idx="351">
                  <c:v>8.9508196721311517</c:v>
                </c:pt>
                <c:pt idx="352">
                  <c:v>8.9836065573770494</c:v>
                </c:pt>
                <c:pt idx="353">
                  <c:v>8.9836065573770494</c:v>
                </c:pt>
                <c:pt idx="354">
                  <c:v>9</c:v>
                </c:pt>
                <c:pt idx="355">
                  <c:v>9.0163934426229488</c:v>
                </c:pt>
                <c:pt idx="356">
                  <c:v>9.0819672131147513</c:v>
                </c:pt>
                <c:pt idx="357">
                  <c:v>9.0819672131147513</c:v>
                </c:pt>
                <c:pt idx="358">
                  <c:v>9.213114754098358</c:v>
                </c:pt>
                <c:pt idx="359">
                  <c:v>9.213114754098358</c:v>
                </c:pt>
                <c:pt idx="360">
                  <c:v>9.2459016393442628</c:v>
                </c:pt>
                <c:pt idx="361">
                  <c:v>9.2459016393442628</c:v>
                </c:pt>
                <c:pt idx="362">
                  <c:v>9.3114754098360635</c:v>
                </c:pt>
                <c:pt idx="363">
                  <c:v>9.34426229508197</c:v>
                </c:pt>
                <c:pt idx="364">
                  <c:v>9.34426229508197</c:v>
                </c:pt>
                <c:pt idx="365">
                  <c:v>9.3770491803278695</c:v>
                </c:pt>
                <c:pt idx="366">
                  <c:v>9.3770491803278695</c:v>
                </c:pt>
                <c:pt idx="367">
                  <c:v>9.5081967213114709</c:v>
                </c:pt>
                <c:pt idx="368">
                  <c:v>9.5081967213114709</c:v>
                </c:pt>
                <c:pt idx="369">
                  <c:v>9.5409836065573739</c:v>
                </c:pt>
                <c:pt idx="370">
                  <c:v>9.5409836065573739</c:v>
                </c:pt>
                <c:pt idx="371">
                  <c:v>9.5737704918032822</c:v>
                </c:pt>
                <c:pt idx="372">
                  <c:v>9.5737704918032822</c:v>
                </c:pt>
                <c:pt idx="373">
                  <c:v>9.6065573770491799</c:v>
                </c:pt>
                <c:pt idx="374">
                  <c:v>9.6065573770491799</c:v>
                </c:pt>
                <c:pt idx="375">
                  <c:v>9.70491803278688</c:v>
                </c:pt>
                <c:pt idx="376">
                  <c:v>9.70491803278688</c:v>
                </c:pt>
                <c:pt idx="377">
                  <c:v>9.7377049180327848</c:v>
                </c:pt>
                <c:pt idx="378">
                  <c:v>9.7377049180327848</c:v>
                </c:pt>
                <c:pt idx="379">
                  <c:v>9.7704918032786878</c:v>
                </c:pt>
                <c:pt idx="380">
                  <c:v>9.7704918032786878</c:v>
                </c:pt>
                <c:pt idx="381">
                  <c:v>9.8032786885245908</c:v>
                </c:pt>
                <c:pt idx="382">
                  <c:v>9.8032786885245908</c:v>
                </c:pt>
                <c:pt idx="383">
                  <c:v>9.8360655737704921</c:v>
                </c:pt>
                <c:pt idx="384">
                  <c:v>9.8360655737704921</c:v>
                </c:pt>
                <c:pt idx="385">
                  <c:v>9.9016393442622981</c:v>
                </c:pt>
                <c:pt idx="386">
                  <c:v>9.9016393442622981</c:v>
                </c:pt>
                <c:pt idx="387">
                  <c:v>9.9344262295081993</c:v>
                </c:pt>
                <c:pt idx="388">
                  <c:v>9.9344262295081993</c:v>
                </c:pt>
                <c:pt idx="389">
                  <c:v>9.9672131147540988</c:v>
                </c:pt>
                <c:pt idx="390">
                  <c:v>9.9672131147540988</c:v>
                </c:pt>
                <c:pt idx="391">
                  <c:v>10</c:v>
                </c:pt>
                <c:pt idx="392">
                  <c:v>10</c:v>
                </c:pt>
                <c:pt idx="393">
                  <c:v>10.032786885245899</c:v>
                </c:pt>
                <c:pt idx="394">
                  <c:v>10.032786885245899</c:v>
                </c:pt>
                <c:pt idx="395">
                  <c:v>10.065573770491801</c:v>
                </c:pt>
                <c:pt idx="396">
                  <c:v>10.065573770491801</c:v>
                </c:pt>
                <c:pt idx="397">
                  <c:v>10.0983606557377</c:v>
                </c:pt>
                <c:pt idx="398">
                  <c:v>10.0983606557377</c:v>
                </c:pt>
                <c:pt idx="399">
                  <c:v>10.13114754098361</c:v>
                </c:pt>
                <c:pt idx="400">
                  <c:v>10.13114754098361</c:v>
                </c:pt>
                <c:pt idx="401">
                  <c:v>10.16393442622951</c:v>
                </c:pt>
                <c:pt idx="402">
                  <c:v>10.16393442622951</c:v>
                </c:pt>
                <c:pt idx="403">
                  <c:v>10.22950819672131</c:v>
                </c:pt>
                <c:pt idx="404">
                  <c:v>10.22950819672131</c:v>
                </c:pt>
                <c:pt idx="405">
                  <c:v>10.26229508196721</c:v>
                </c:pt>
                <c:pt idx="406">
                  <c:v>10.26229508196721</c:v>
                </c:pt>
                <c:pt idx="407">
                  <c:v>10.29508196721312</c:v>
                </c:pt>
                <c:pt idx="408">
                  <c:v>10.327868852459019</c:v>
                </c:pt>
                <c:pt idx="409">
                  <c:v>10.327868852459019</c:v>
                </c:pt>
                <c:pt idx="410">
                  <c:v>10.360655737704921</c:v>
                </c:pt>
                <c:pt idx="411">
                  <c:v>10.360655737704921</c:v>
                </c:pt>
                <c:pt idx="412">
                  <c:v>10.39344262295082</c:v>
                </c:pt>
                <c:pt idx="413">
                  <c:v>10.39344262295082</c:v>
                </c:pt>
                <c:pt idx="414">
                  <c:v>10.45901639344263</c:v>
                </c:pt>
                <c:pt idx="415">
                  <c:v>10.622950819672131</c:v>
                </c:pt>
                <c:pt idx="416">
                  <c:v>10.622950819672131</c:v>
                </c:pt>
                <c:pt idx="417">
                  <c:v>10.65573770491803</c:v>
                </c:pt>
                <c:pt idx="418">
                  <c:v>10.65573770491803</c:v>
                </c:pt>
                <c:pt idx="419">
                  <c:v>10.68852459016394</c:v>
                </c:pt>
                <c:pt idx="420">
                  <c:v>10.68852459016394</c:v>
                </c:pt>
                <c:pt idx="421">
                  <c:v>10.721311475409831</c:v>
                </c:pt>
                <c:pt idx="422">
                  <c:v>10.721311475409831</c:v>
                </c:pt>
                <c:pt idx="423">
                  <c:v>10.754098360655741</c:v>
                </c:pt>
                <c:pt idx="424">
                  <c:v>10.754098360655741</c:v>
                </c:pt>
                <c:pt idx="425">
                  <c:v>10.78688524590164</c:v>
                </c:pt>
                <c:pt idx="426">
                  <c:v>10.78688524590164</c:v>
                </c:pt>
                <c:pt idx="427">
                  <c:v>10.81967213114754</c:v>
                </c:pt>
                <c:pt idx="428">
                  <c:v>10.81967213114754</c:v>
                </c:pt>
                <c:pt idx="429">
                  <c:v>10.852459016393439</c:v>
                </c:pt>
                <c:pt idx="430">
                  <c:v>10.852459016393439</c:v>
                </c:pt>
                <c:pt idx="431">
                  <c:v>10.885245901639349</c:v>
                </c:pt>
                <c:pt idx="432">
                  <c:v>10.885245901639349</c:v>
                </c:pt>
                <c:pt idx="433">
                  <c:v>10.91803278688525</c:v>
                </c:pt>
                <c:pt idx="434">
                  <c:v>10.91803278688525</c:v>
                </c:pt>
                <c:pt idx="435">
                  <c:v>10.95081967213115</c:v>
                </c:pt>
                <c:pt idx="436">
                  <c:v>10.95081967213115</c:v>
                </c:pt>
                <c:pt idx="437">
                  <c:v>11</c:v>
                </c:pt>
                <c:pt idx="438">
                  <c:v>11.08196721311475</c:v>
                </c:pt>
                <c:pt idx="439">
                  <c:v>11.08196721311475</c:v>
                </c:pt>
                <c:pt idx="440">
                  <c:v>11.11475409836066</c:v>
                </c:pt>
                <c:pt idx="441">
                  <c:v>11.11475409836066</c:v>
                </c:pt>
                <c:pt idx="442">
                  <c:v>11.147540983606561</c:v>
                </c:pt>
                <c:pt idx="443">
                  <c:v>11.147540983606561</c:v>
                </c:pt>
                <c:pt idx="444">
                  <c:v>11.18032786885246</c:v>
                </c:pt>
                <c:pt idx="445">
                  <c:v>11.18032786885246</c:v>
                </c:pt>
                <c:pt idx="446">
                  <c:v>11.21311475409836</c:v>
                </c:pt>
                <c:pt idx="447">
                  <c:v>11.21311475409836</c:v>
                </c:pt>
                <c:pt idx="448">
                  <c:v>11.245901639344259</c:v>
                </c:pt>
                <c:pt idx="449">
                  <c:v>11.245901639344259</c:v>
                </c:pt>
                <c:pt idx="450">
                  <c:v>11.27868852459016</c:v>
                </c:pt>
                <c:pt idx="451">
                  <c:v>11.27868852459016</c:v>
                </c:pt>
                <c:pt idx="452">
                  <c:v>11.34426229508197</c:v>
                </c:pt>
                <c:pt idx="453">
                  <c:v>11.34426229508197</c:v>
                </c:pt>
                <c:pt idx="454">
                  <c:v>11.409836065573771</c:v>
                </c:pt>
                <c:pt idx="455">
                  <c:v>11.409836065573771</c:v>
                </c:pt>
                <c:pt idx="456">
                  <c:v>11.44262295081967</c:v>
                </c:pt>
                <c:pt idx="457">
                  <c:v>11.47540983606558</c:v>
                </c:pt>
                <c:pt idx="458">
                  <c:v>11.47540983606558</c:v>
                </c:pt>
                <c:pt idx="459">
                  <c:v>11.50819672131148</c:v>
                </c:pt>
                <c:pt idx="460">
                  <c:v>11.50819672131148</c:v>
                </c:pt>
                <c:pt idx="461">
                  <c:v>11.57377049180328</c:v>
                </c:pt>
                <c:pt idx="462">
                  <c:v>11.57377049180328</c:v>
                </c:pt>
                <c:pt idx="463">
                  <c:v>11.60655737704918</c:v>
                </c:pt>
                <c:pt idx="464">
                  <c:v>11.60655737704918</c:v>
                </c:pt>
                <c:pt idx="465">
                  <c:v>11.639344262295079</c:v>
                </c:pt>
                <c:pt idx="466">
                  <c:v>11.639344262295079</c:v>
                </c:pt>
                <c:pt idx="467">
                  <c:v>11.672131147540981</c:v>
                </c:pt>
                <c:pt idx="468">
                  <c:v>11.672131147540981</c:v>
                </c:pt>
                <c:pt idx="469">
                  <c:v>11.70491803278688</c:v>
                </c:pt>
                <c:pt idx="470">
                  <c:v>11.70491803278688</c:v>
                </c:pt>
                <c:pt idx="471">
                  <c:v>11.737704918032801</c:v>
                </c:pt>
                <c:pt idx="472">
                  <c:v>11.737704918032801</c:v>
                </c:pt>
                <c:pt idx="473">
                  <c:v>11.77049180327869</c:v>
                </c:pt>
                <c:pt idx="474">
                  <c:v>11.77049180327869</c:v>
                </c:pt>
                <c:pt idx="475">
                  <c:v>11.83606557377049</c:v>
                </c:pt>
                <c:pt idx="476">
                  <c:v>11.83606557377049</c:v>
                </c:pt>
                <c:pt idx="477">
                  <c:v>11.8688524590164</c:v>
                </c:pt>
                <c:pt idx="478">
                  <c:v>11.8688524590164</c:v>
                </c:pt>
                <c:pt idx="479">
                  <c:v>11.9016393442623</c:v>
                </c:pt>
                <c:pt idx="480">
                  <c:v>11.9016393442623</c:v>
                </c:pt>
                <c:pt idx="481">
                  <c:v>11.93442622950821</c:v>
                </c:pt>
                <c:pt idx="482">
                  <c:v>11.93442622950821</c:v>
                </c:pt>
                <c:pt idx="483">
                  <c:v>11.967213114754101</c:v>
                </c:pt>
                <c:pt idx="484">
                  <c:v>11.967213114754101</c:v>
                </c:pt>
                <c:pt idx="485">
                  <c:v>12</c:v>
                </c:pt>
                <c:pt idx="486">
                  <c:v>12</c:v>
                </c:pt>
                <c:pt idx="487">
                  <c:v>12.032786885245899</c:v>
                </c:pt>
                <c:pt idx="488">
                  <c:v>12.032786885245899</c:v>
                </c:pt>
                <c:pt idx="489">
                  <c:v>12.0983606557377</c:v>
                </c:pt>
                <c:pt idx="490">
                  <c:v>12.0983606557377</c:v>
                </c:pt>
                <c:pt idx="491">
                  <c:v>12.16393442622951</c:v>
                </c:pt>
                <c:pt idx="492">
                  <c:v>12.22950819672131</c:v>
                </c:pt>
                <c:pt idx="493">
                  <c:v>12.22950819672131</c:v>
                </c:pt>
                <c:pt idx="494">
                  <c:v>12.26229508196721</c:v>
                </c:pt>
                <c:pt idx="495">
                  <c:v>12.26229508196721</c:v>
                </c:pt>
                <c:pt idx="496">
                  <c:v>12.295081967213109</c:v>
                </c:pt>
                <c:pt idx="497">
                  <c:v>12.327868852459019</c:v>
                </c:pt>
                <c:pt idx="498">
                  <c:v>12.42622950819672</c:v>
                </c:pt>
                <c:pt idx="499">
                  <c:v>12.42622950819672</c:v>
                </c:pt>
                <c:pt idx="500">
                  <c:v>12.45901639344263</c:v>
                </c:pt>
                <c:pt idx="501">
                  <c:v>12.45901639344263</c:v>
                </c:pt>
                <c:pt idx="502">
                  <c:v>12.52459016393442</c:v>
                </c:pt>
                <c:pt idx="503">
                  <c:v>12.52459016393442</c:v>
                </c:pt>
                <c:pt idx="504">
                  <c:v>12.590163934426229</c:v>
                </c:pt>
                <c:pt idx="505">
                  <c:v>12.622950819672131</c:v>
                </c:pt>
                <c:pt idx="506">
                  <c:v>12.68852459016394</c:v>
                </c:pt>
                <c:pt idx="507">
                  <c:v>12.68852459016394</c:v>
                </c:pt>
                <c:pt idx="508">
                  <c:v>12.721311475409831</c:v>
                </c:pt>
                <c:pt idx="509">
                  <c:v>12.721311475409831</c:v>
                </c:pt>
                <c:pt idx="510">
                  <c:v>12.754098360655741</c:v>
                </c:pt>
                <c:pt idx="511">
                  <c:v>12.754098360655741</c:v>
                </c:pt>
                <c:pt idx="512">
                  <c:v>12.78688524590164</c:v>
                </c:pt>
                <c:pt idx="513">
                  <c:v>12.81967213114754</c:v>
                </c:pt>
                <c:pt idx="514">
                  <c:v>12.81967213114754</c:v>
                </c:pt>
                <c:pt idx="515">
                  <c:v>12.852459016393439</c:v>
                </c:pt>
                <c:pt idx="516">
                  <c:v>12.852459016393439</c:v>
                </c:pt>
                <c:pt idx="517">
                  <c:v>12.88524590163934</c:v>
                </c:pt>
                <c:pt idx="518">
                  <c:v>12.88524590163934</c:v>
                </c:pt>
                <c:pt idx="519">
                  <c:v>12.91803278688525</c:v>
                </c:pt>
                <c:pt idx="520">
                  <c:v>12.91803278688525</c:v>
                </c:pt>
                <c:pt idx="521">
                  <c:v>12.95081967213115</c:v>
                </c:pt>
                <c:pt idx="522">
                  <c:v>12.95081967213115</c:v>
                </c:pt>
                <c:pt idx="523">
                  <c:v>12.983606557377049</c:v>
                </c:pt>
                <c:pt idx="524">
                  <c:v>12.983606557377049</c:v>
                </c:pt>
                <c:pt idx="525">
                  <c:v>13</c:v>
                </c:pt>
                <c:pt idx="526">
                  <c:v>13.016393442622951</c:v>
                </c:pt>
                <c:pt idx="527">
                  <c:v>13.016393442622951</c:v>
                </c:pt>
                <c:pt idx="528">
                  <c:v>13.04918032786885</c:v>
                </c:pt>
                <c:pt idx="529">
                  <c:v>13.04918032786885</c:v>
                </c:pt>
                <c:pt idx="530">
                  <c:v>13.11475409836066</c:v>
                </c:pt>
                <c:pt idx="531">
                  <c:v>13.11475409836066</c:v>
                </c:pt>
                <c:pt idx="532">
                  <c:v>13.147540983606561</c:v>
                </c:pt>
                <c:pt idx="533">
                  <c:v>13.18032786885246</c:v>
                </c:pt>
                <c:pt idx="534">
                  <c:v>13.18032786885246</c:v>
                </c:pt>
                <c:pt idx="535">
                  <c:v>13.245901639344259</c:v>
                </c:pt>
                <c:pt idx="536">
                  <c:v>13.245901639344259</c:v>
                </c:pt>
                <c:pt idx="537">
                  <c:v>13.27868852459016</c:v>
                </c:pt>
                <c:pt idx="538">
                  <c:v>13.27868852459016</c:v>
                </c:pt>
                <c:pt idx="539">
                  <c:v>13.31147540983606</c:v>
                </c:pt>
                <c:pt idx="540">
                  <c:v>13.377049180327869</c:v>
                </c:pt>
                <c:pt idx="541">
                  <c:v>13.377049180327869</c:v>
                </c:pt>
                <c:pt idx="542">
                  <c:v>13.47540983606558</c:v>
                </c:pt>
                <c:pt idx="543">
                  <c:v>13.47540983606558</c:v>
                </c:pt>
                <c:pt idx="544">
                  <c:v>13.508196721311471</c:v>
                </c:pt>
                <c:pt idx="545">
                  <c:v>13.508196721311471</c:v>
                </c:pt>
                <c:pt idx="546">
                  <c:v>13.57377049180328</c:v>
                </c:pt>
                <c:pt idx="547">
                  <c:v>13.60655737704918</c:v>
                </c:pt>
                <c:pt idx="548">
                  <c:v>13.60655737704918</c:v>
                </c:pt>
                <c:pt idx="549">
                  <c:v>13.639344262295079</c:v>
                </c:pt>
                <c:pt idx="550">
                  <c:v>13.737704918032801</c:v>
                </c:pt>
                <c:pt idx="551">
                  <c:v>13.737704918032801</c:v>
                </c:pt>
                <c:pt idx="552">
                  <c:v>13.770491803278681</c:v>
                </c:pt>
                <c:pt idx="553">
                  <c:v>13.803278688524591</c:v>
                </c:pt>
                <c:pt idx="554">
                  <c:v>13.836065573770499</c:v>
                </c:pt>
                <c:pt idx="555">
                  <c:v>13.836065573770499</c:v>
                </c:pt>
                <c:pt idx="556">
                  <c:v>13.8688524590164</c:v>
                </c:pt>
                <c:pt idx="557">
                  <c:v>13.967213114754101</c:v>
                </c:pt>
                <c:pt idx="558">
                  <c:v>13.967213114754101</c:v>
                </c:pt>
                <c:pt idx="559">
                  <c:v>14</c:v>
                </c:pt>
                <c:pt idx="560">
                  <c:v>14</c:v>
                </c:pt>
                <c:pt idx="561">
                  <c:v>14.032786885245899</c:v>
                </c:pt>
                <c:pt idx="562">
                  <c:v>14.065573770491801</c:v>
                </c:pt>
                <c:pt idx="563">
                  <c:v>14.0983606557377</c:v>
                </c:pt>
                <c:pt idx="564">
                  <c:v>14.0983606557377</c:v>
                </c:pt>
                <c:pt idx="565">
                  <c:v>14.163934426229501</c:v>
                </c:pt>
                <c:pt idx="566">
                  <c:v>14.163934426229501</c:v>
                </c:pt>
                <c:pt idx="567">
                  <c:v>14.196721311475409</c:v>
                </c:pt>
                <c:pt idx="568">
                  <c:v>14.196721311475409</c:v>
                </c:pt>
                <c:pt idx="569">
                  <c:v>14.295081967213109</c:v>
                </c:pt>
                <c:pt idx="570">
                  <c:v>14.295081967213109</c:v>
                </c:pt>
                <c:pt idx="571">
                  <c:v>14.327868852459011</c:v>
                </c:pt>
                <c:pt idx="572">
                  <c:v>14.327868852459011</c:v>
                </c:pt>
                <c:pt idx="573">
                  <c:v>14.360655737704921</c:v>
                </c:pt>
                <c:pt idx="574">
                  <c:v>14.39344262295082</c:v>
                </c:pt>
                <c:pt idx="575">
                  <c:v>14.39344262295082</c:v>
                </c:pt>
                <c:pt idx="576">
                  <c:v>14.42622950819672</c:v>
                </c:pt>
                <c:pt idx="577">
                  <c:v>14.42622950819672</c:v>
                </c:pt>
                <c:pt idx="578">
                  <c:v>14.459016393442621</c:v>
                </c:pt>
                <c:pt idx="579">
                  <c:v>14.459016393442621</c:v>
                </c:pt>
                <c:pt idx="580">
                  <c:v>14.49180327868852</c:v>
                </c:pt>
                <c:pt idx="581">
                  <c:v>14.49180327868852</c:v>
                </c:pt>
                <c:pt idx="582">
                  <c:v>14.557377049180319</c:v>
                </c:pt>
                <c:pt idx="583">
                  <c:v>14.557377049180319</c:v>
                </c:pt>
                <c:pt idx="584">
                  <c:v>14.622950819672131</c:v>
                </c:pt>
                <c:pt idx="585">
                  <c:v>14.65573770491803</c:v>
                </c:pt>
                <c:pt idx="586">
                  <c:v>14.65573770491803</c:v>
                </c:pt>
                <c:pt idx="587">
                  <c:v>14.68852459016394</c:v>
                </c:pt>
                <c:pt idx="588">
                  <c:v>14.72131147540984</c:v>
                </c:pt>
                <c:pt idx="589">
                  <c:v>14.81967213114754</c:v>
                </c:pt>
                <c:pt idx="590">
                  <c:v>14.81967213114754</c:v>
                </c:pt>
                <c:pt idx="591">
                  <c:v>14.852459016393439</c:v>
                </c:pt>
                <c:pt idx="592">
                  <c:v>14.852459016393439</c:v>
                </c:pt>
                <c:pt idx="593">
                  <c:v>14.88524590163934</c:v>
                </c:pt>
                <c:pt idx="594">
                  <c:v>14.88524590163934</c:v>
                </c:pt>
                <c:pt idx="595">
                  <c:v>14.91803278688525</c:v>
                </c:pt>
                <c:pt idx="596">
                  <c:v>14.91803278688525</c:v>
                </c:pt>
                <c:pt idx="597">
                  <c:v>14.983606557377049</c:v>
                </c:pt>
                <c:pt idx="598">
                  <c:v>14.983606557377049</c:v>
                </c:pt>
                <c:pt idx="599">
                  <c:v>15</c:v>
                </c:pt>
                <c:pt idx="600">
                  <c:v>15.016393442622951</c:v>
                </c:pt>
                <c:pt idx="601">
                  <c:v>15.016393442622951</c:v>
                </c:pt>
                <c:pt idx="602">
                  <c:v>15.04918032786885</c:v>
                </c:pt>
                <c:pt idx="603">
                  <c:v>15.04918032786885</c:v>
                </c:pt>
                <c:pt idx="604">
                  <c:v>15.08196721311475</c:v>
                </c:pt>
                <c:pt idx="605">
                  <c:v>15.08196721311475</c:v>
                </c:pt>
                <c:pt idx="606">
                  <c:v>15.147540983606561</c:v>
                </c:pt>
                <c:pt idx="607">
                  <c:v>15.147540983606561</c:v>
                </c:pt>
                <c:pt idx="608">
                  <c:v>15.18032786885246</c:v>
                </c:pt>
                <c:pt idx="609">
                  <c:v>15.18032786885246</c:v>
                </c:pt>
                <c:pt idx="610">
                  <c:v>15.21311475409836</c:v>
                </c:pt>
                <c:pt idx="611">
                  <c:v>15.21311475409836</c:v>
                </c:pt>
                <c:pt idx="612">
                  <c:v>15.245901639344259</c:v>
                </c:pt>
                <c:pt idx="613">
                  <c:v>15.34426229508197</c:v>
                </c:pt>
                <c:pt idx="614">
                  <c:v>15.377049180327869</c:v>
                </c:pt>
                <c:pt idx="615">
                  <c:v>15.377049180327869</c:v>
                </c:pt>
                <c:pt idx="616">
                  <c:v>15.409836065573771</c:v>
                </c:pt>
                <c:pt idx="617">
                  <c:v>15.409836065573771</c:v>
                </c:pt>
                <c:pt idx="618">
                  <c:v>15.44262295081967</c:v>
                </c:pt>
                <c:pt idx="619">
                  <c:v>15.508196721311471</c:v>
                </c:pt>
                <c:pt idx="620">
                  <c:v>15.508196721311471</c:v>
                </c:pt>
                <c:pt idx="621">
                  <c:v>15.540983606557379</c:v>
                </c:pt>
                <c:pt idx="622">
                  <c:v>15.540983606557379</c:v>
                </c:pt>
                <c:pt idx="623">
                  <c:v>15.57377049180328</c:v>
                </c:pt>
                <c:pt idx="624">
                  <c:v>15.57377049180328</c:v>
                </c:pt>
                <c:pt idx="625">
                  <c:v>15.639344262295079</c:v>
                </c:pt>
                <c:pt idx="626">
                  <c:v>15.639344262295079</c:v>
                </c:pt>
                <c:pt idx="627">
                  <c:v>15.70491803278688</c:v>
                </c:pt>
                <c:pt idx="628">
                  <c:v>15.70491803278688</c:v>
                </c:pt>
                <c:pt idx="629">
                  <c:v>15.73770491803279</c:v>
                </c:pt>
                <c:pt idx="630">
                  <c:v>15.803278688524591</c:v>
                </c:pt>
                <c:pt idx="631">
                  <c:v>15.803278688524591</c:v>
                </c:pt>
                <c:pt idx="632">
                  <c:v>15.836065573770499</c:v>
                </c:pt>
                <c:pt idx="633">
                  <c:v>15.8688524590164</c:v>
                </c:pt>
                <c:pt idx="634">
                  <c:v>15.8688524590164</c:v>
                </c:pt>
                <c:pt idx="635">
                  <c:v>15.934426229508199</c:v>
                </c:pt>
                <c:pt idx="636">
                  <c:v>15.934426229508199</c:v>
                </c:pt>
                <c:pt idx="637">
                  <c:v>16</c:v>
                </c:pt>
                <c:pt idx="638">
                  <c:v>16</c:v>
                </c:pt>
                <c:pt idx="639">
                  <c:v>16.065573770491799</c:v>
                </c:pt>
                <c:pt idx="640">
                  <c:v>16.065573770491799</c:v>
                </c:pt>
                <c:pt idx="641">
                  <c:v>16.0983606557377</c:v>
                </c:pt>
                <c:pt idx="642">
                  <c:v>16.0983606557377</c:v>
                </c:pt>
                <c:pt idx="643">
                  <c:v>16.163934426229499</c:v>
                </c:pt>
                <c:pt idx="644">
                  <c:v>16.163934426229499</c:v>
                </c:pt>
                <c:pt idx="645">
                  <c:v>16.196721311475411</c:v>
                </c:pt>
                <c:pt idx="646">
                  <c:v>16.196721311475411</c:v>
                </c:pt>
                <c:pt idx="647">
                  <c:v>16.229508196721309</c:v>
                </c:pt>
                <c:pt idx="648">
                  <c:v>16.229508196721309</c:v>
                </c:pt>
                <c:pt idx="649">
                  <c:v>16.26229508196721</c:v>
                </c:pt>
                <c:pt idx="650">
                  <c:v>16.26229508196721</c:v>
                </c:pt>
                <c:pt idx="651">
                  <c:v>16.295081967213111</c:v>
                </c:pt>
                <c:pt idx="652">
                  <c:v>16.295081967213111</c:v>
                </c:pt>
                <c:pt idx="653">
                  <c:v>16.327868852459019</c:v>
                </c:pt>
                <c:pt idx="654">
                  <c:v>16.327868852459019</c:v>
                </c:pt>
                <c:pt idx="655">
                  <c:v>16.360655737704921</c:v>
                </c:pt>
                <c:pt idx="656">
                  <c:v>16.360655737704921</c:v>
                </c:pt>
                <c:pt idx="657">
                  <c:v>16.393442622950811</c:v>
                </c:pt>
                <c:pt idx="658">
                  <c:v>16.393442622950811</c:v>
                </c:pt>
                <c:pt idx="659">
                  <c:v>16.426229508196709</c:v>
                </c:pt>
                <c:pt idx="660">
                  <c:v>16.426229508196709</c:v>
                </c:pt>
                <c:pt idx="661">
                  <c:v>16.459016393442631</c:v>
                </c:pt>
                <c:pt idx="662">
                  <c:v>16.459016393442631</c:v>
                </c:pt>
                <c:pt idx="663">
                  <c:v>16.491803278688529</c:v>
                </c:pt>
                <c:pt idx="664">
                  <c:v>16.52459016393443</c:v>
                </c:pt>
                <c:pt idx="665">
                  <c:v>16.52459016393443</c:v>
                </c:pt>
                <c:pt idx="666">
                  <c:v>16.622950819672131</c:v>
                </c:pt>
                <c:pt idx="667">
                  <c:v>16.622950819672131</c:v>
                </c:pt>
                <c:pt idx="668">
                  <c:v>16.655737704918032</c:v>
                </c:pt>
                <c:pt idx="669">
                  <c:v>16.655737704918032</c:v>
                </c:pt>
                <c:pt idx="670">
                  <c:v>16.721311475409831</c:v>
                </c:pt>
                <c:pt idx="671">
                  <c:v>16.721311475409831</c:v>
                </c:pt>
                <c:pt idx="672">
                  <c:v>16.754098360655739</c:v>
                </c:pt>
                <c:pt idx="673">
                  <c:v>16.754098360655739</c:v>
                </c:pt>
                <c:pt idx="674">
                  <c:v>16.852459016393439</c:v>
                </c:pt>
                <c:pt idx="675">
                  <c:v>16.852459016393439</c:v>
                </c:pt>
                <c:pt idx="676">
                  <c:v>16.88524590163934</c:v>
                </c:pt>
                <c:pt idx="677">
                  <c:v>16.88524590163934</c:v>
                </c:pt>
                <c:pt idx="678">
                  <c:v>16.918032786885249</c:v>
                </c:pt>
                <c:pt idx="679">
                  <c:v>16.918032786885249</c:v>
                </c:pt>
                <c:pt idx="680">
                  <c:v>16.950819672131139</c:v>
                </c:pt>
                <c:pt idx="681">
                  <c:v>16.950819672131139</c:v>
                </c:pt>
                <c:pt idx="682">
                  <c:v>16.983606557377041</c:v>
                </c:pt>
                <c:pt idx="683">
                  <c:v>16.983606557377041</c:v>
                </c:pt>
                <c:pt idx="684">
                  <c:v>17</c:v>
                </c:pt>
                <c:pt idx="685">
                  <c:v>17.016393442622949</c:v>
                </c:pt>
                <c:pt idx="686">
                  <c:v>17.016393442622949</c:v>
                </c:pt>
                <c:pt idx="687">
                  <c:v>17.04918032786885</c:v>
                </c:pt>
                <c:pt idx="688">
                  <c:v>17.04918032786885</c:v>
                </c:pt>
                <c:pt idx="689">
                  <c:v>17.081967213114751</c:v>
                </c:pt>
                <c:pt idx="690">
                  <c:v>17.147540983606561</c:v>
                </c:pt>
                <c:pt idx="691">
                  <c:v>17.147540983606561</c:v>
                </c:pt>
                <c:pt idx="692">
                  <c:v>17.180327868852459</c:v>
                </c:pt>
                <c:pt idx="693">
                  <c:v>17.21311475409836</c:v>
                </c:pt>
                <c:pt idx="694">
                  <c:v>17.278688524590159</c:v>
                </c:pt>
                <c:pt idx="695">
                  <c:v>17.278688524590159</c:v>
                </c:pt>
                <c:pt idx="696">
                  <c:v>17.377049180327869</c:v>
                </c:pt>
                <c:pt idx="697">
                  <c:v>17.409836065573771</c:v>
                </c:pt>
                <c:pt idx="698">
                  <c:v>17.409836065573771</c:v>
                </c:pt>
                <c:pt idx="699">
                  <c:v>17.47540983606557</c:v>
                </c:pt>
                <c:pt idx="700">
                  <c:v>17.47540983606557</c:v>
                </c:pt>
                <c:pt idx="701">
                  <c:v>17.508196721311471</c:v>
                </c:pt>
                <c:pt idx="702">
                  <c:v>17.508196721311471</c:v>
                </c:pt>
                <c:pt idx="703">
                  <c:v>17.57377049180328</c:v>
                </c:pt>
                <c:pt idx="704">
                  <c:v>17.57377049180328</c:v>
                </c:pt>
                <c:pt idx="705">
                  <c:v>17.639344262295079</c:v>
                </c:pt>
                <c:pt idx="706">
                  <c:v>17.704918032786871</c:v>
                </c:pt>
                <c:pt idx="707">
                  <c:v>17.704918032786871</c:v>
                </c:pt>
                <c:pt idx="708">
                  <c:v>17.737704918032801</c:v>
                </c:pt>
                <c:pt idx="709">
                  <c:v>17.770491803278691</c:v>
                </c:pt>
                <c:pt idx="710">
                  <c:v>17.770491803278691</c:v>
                </c:pt>
                <c:pt idx="711">
                  <c:v>17.836065573770501</c:v>
                </c:pt>
                <c:pt idx="712">
                  <c:v>17.868852459016399</c:v>
                </c:pt>
                <c:pt idx="713">
                  <c:v>17.868852459016399</c:v>
                </c:pt>
                <c:pt idx="714">
                  <c:v>17.901639344262289</c:v>
                </c:pt>
                <c:pt idx="715">
                  <c:v>17.901639344262289</c:v>
                </c:pt>
                <c:pt idx="716">
                  <c:v>17.93442622950819</c:v>
                </c:pt>
                <c:pt idx="717">
                  <c:v>17.93442622950819</c:v>
                </c:pt>
                <c:pt idx="718">
                  <c:v>18</c:v>
                </c:pt>
                <c:pt idx="719">
                  <c:v>18</c:v>
                </c:pt>
                <c:pt idx="720">
                  <c:v>18.032786885245891</c:v>
                </c:pt>
                <c:pt idx="721">
                  <c:v>18.032786885245891</c:v>
                </c:pt>
                <c:pt idx="722">
                  <c:v>18.065573770491799</c:v>
                </c:pt>
                <c:pt idx="723">
                  <c:v>18.065573770491799</c:v>
                </c:pt>
                <c:pt idx="724">
                  <c:v>18.131147540983601</c:v>
                </c:pt>
                <c:pt idx="725">
                  <c:v>18.131147540983601</c:v>
                </c:pt>
                <c:pt idx="726">
                  <c:v>18.16393442622951</c:v>
                </c:pt>
                <c:pt idx="727">
                  <c:v>18.16393442622951</c:v>
                </c:pt>
                <c:pt idx="728">
                  <c:v>18.196721311475411</c:v>
                </c:pt>
                <c:pt idx="729">
                  <c:v>18.229508196721309</c:v>
                </c:pt>
                <c:pt idx="730">
                  <c:v>18.229508196721309</c:v>
                </c:pt>
                <c:pt idx="731">
                  <c:v>18.26229508196721</c:v>
                </c:pt>
                <c:pt idx="732">
                  <c:v>18.295081967213129</c:v>
                </c:pt>
                <c:pt idx="733">
                  <c:v>18.295081967213129</c:v>
                </c:pt>
                <c:pt idx="734">
                  <c:v>18.327868852459019</c:v>
                </c:pt>
                <c:pt idx="735">
                  <c:v>18.327868852459019</c:v>
                </c:pt>
                <c:pt idx="736">
                  <c:v>18.426229508196709</c:v>
                </c:pt>
                <c:pt idx="737">
                  <c:v>18.426229508196709</c:v>
                </c:pt>
                <c:pt idx="738">
                  <c:v>18.459016393442621</c:v>
                </c:pt>
                <c:pt idx="739">
                  <c:v>18.491803278688529</c:v>
                </c:pt>
                <c:pt idx="740">
                  <c:v>18.491803278688529</c:v>
                </c:pt>
                <c:pt idx="741">
                  <c:v>18.557377049180332</c:v>
                </c:pt>
                <c:pt idx="742">
                  <c:v>18.590163934426229</c:v>
                </c:pt>
                <c:pt idx="743">
                  <c:v>18.590163934426229</c:v>
                </c:pt>
                <c:pt idx="744">
                  <c:v>18.655737704918032</c:v>
                </c:pt>
                <c:pt idx="745">
                  <c:v>18.655737704918032</c:v>
                </c:pt>
                <c:pt idx="746">
                  <c:v>18.721311475409831</c:v>
                </c:pt>
                <c:pt idx="747">
                  <c:v>18.721311475409831</c:v>
                </c:pt>
                <c:pt idx="748">
                  <c:v>18.754098360655739</c:v>
                </c:pt>
                <c:pt idx="749">
                  <c:v>18.78688524590164</c:v>
                </c:pt>
                <c:pt idx="750">
                  <c:v>18.78688524590164</c:v>
                </c:pt>
                <c:pt idx="751">
                  <c:v>18.88524590163934</c:v>
                </c:pt>
                <c:pt idx="752">
                  <c:v>18.88524590163934</c:v>
                </c:pt>
                <c:pt idx="753">
                  <c:v>18.983606557377041</c:v>
                </c:pt>
                <c:pt idx="754">
                  <c:v>18.983606557377041</c:v>
                </c:pt>
                <c:pt idx="755">
                  <c:v>19</c:v>
                </c:pt>
                <c:pt idx="756">
                  <c:v>19.016393442622949</c:v>
                </c:pt>
                <c:pt idx="757">
                  <c:v>19.016393442622949</c:v>
                </c:pt>
                <c:pt idx="758">
                  <c:v>19.04918032786885</c:v>
                </c:pt>
                <c:pt idx="759">
                  <c:v>19.04918032786885</c:v>
                </c:pt>
                <c:pt idx="760">
                  <c:v>19.081967213114751</c:v>
                </c:pt>
                <c:pt idx="761">
                  <c:v>19.081967213114751</c:v>
                </c:pt>
                <c:pt idx="762">
                  <c:v>19.11475409836066</c:v>
                </c:pt>
                <c:pt idx="763">
                  <c:v>19.147540983606561</c:v>
                </c:pt>
                <c:pt idx="764">
                  <c:v>19.147540983606561</c:v>
                </c:pt>
                <c:pt idx="765">
                  <c:v>19.180327868852469</c:v>
                </c:pt>
                <c:pt idx="766">
                  <c:v>19.180327868852469</c:v>
                </c:pt>
                <c:pt idx="767">
                  <c:v>19.21311475409836</c:v>
                </c:pt>
                <c:pt idx="768">
                  <c:v>19.278688524590159</c:v>
                </c:pt>
                <c:pt idx="769">
                  <c:v>19.311475409836071</c:v>
                </c:pt>
                <c:pt idx="770">
                  <c:v>19.311475409836071</c:v>
                </c:pt>
                <c:pt idx="771">
                  <c:v>19.344262295081961</c:v>
                </c:pt>
                <c:pt idx="772">
                  <c:v>19.344262295081961</c:v>
                </c:pt>
                <c:pt idx="773">
                  <c:v>19.377049180327869</c:v>
                </c:pt>
                <c:pt idx="774">
                  <c:v>19.40983606557376</c:v>
                </c:pt>
                <c:pt idx="775">
                  <c:v>19.40983606557376</c:v>
                </c:pt>
                <c:pt idx="776">
                  <c:v>19.442622950819668</c:v>
                </c:pt>
                <c:pt idx="777">
                  <c:v>19.442622950819668</c:v>
                </c:pt>
                <c:pt idx="778">
                  <c:v>19.47540983606557</c:v>
                </c:pt>
                <c:pt idx="779">
                  <c:v>19.47540983606557</c:v>
                </c:pt>
                <c:pt idx="780">
                  <c:v>19.508196721311471</c:v>
                </c:pt>
                <c:pt idx="781">
                  <c:v>19.540983606557379</c:v>
                </c:pt>
                <c:pt idx="782">
                  <c:v>19.540983606557379</c:v>
                </c:pt>
                <c:pt idx="783">
                  <c:v>19.57377049180328</c:v>
                </c:pt>
                <c:pt idx="784">
                  <c:v>19.57377049180328</c:v>
                </c:pt>
                <c:pt idx="785">
                  <c:v>19.606557377049189</c:v>
                </c:pt>
                <c:pt idx="786">
                  <c:v>19.639344262295079</c:v>
                </c:pt>
                <c:pt idx="787">
                  <c:v>19.672131147540981</c:v>
                </c:pt>
                <c:pt idx="788">
                  <c:v>19.672131147540981</c:v>
                </c:pt>
                <c:pt idx="789">
                  <c:v>19.704918032786871</c:v>
                </c:pt>
                <c:pt idx="790">
                  <c:v>19.737704918032801</c:v>
                </c:pt>
                <c:pt idx="791">
                  <c:v>19.770491803278691</c:v>
                </c:pt>
                <c:pt idx="792">
                  <c:v>19.803278688524589</c:v>
                </c:pt>
                <c:pt idx="793">
                  <c:v>19.803278688524589</c:v>
                </c:pt>
                <c:pt idx="794">
                  <c:v>19.836065573770501</c:v>
                </c:pt>
                <c:pt idx="795">
                  <c:v>19.868852459016399</c:v>
                </c:pt>
                <c:pt idx="796">
                  <c:v>19.868852459016399</c:v>
                </c:pt>
                <c:pt idx="797">
                  <c:v>19.901639344262289</c:v>
                </c:pt>
                <c:pt idx="798">
                  <c:v>19.901639344262289</c:v>
                </c:pt>
                <c:pt idx="799">
                  <c:v>19.934426229508201</c:v>
                </c:pt>
                <c:pt idx="800">
                  <c:v>19.934426229508201</c:v>
                </c:pt>
                <c:pt idx="801">
                  <c:v>19.967213114754099</c:v>
                </c:pt>
                <c:pt idx="802">
                  <c:v>19.967213114754099</c:v>
                </c:pt>
                <c:pt idx="803">
                  <c:v>20</c:v>
                </c:pt>
                <c:pt idx="804">
                  <c:v>20.032786885245891</c:v>
                </c:pt>
                <c:pt idx="805">
                  <c:v>20.032786885245891</c:v>
                </c:pt>
                <c:pt idx="806">
                  <c:v>20.065573770491799</c:v>
                </c:pt>
                <c:pt idx="807">
                  <c:v>20.0983606557377</c:v>
                </c:pt>
                <c:pt idx="808">
                  <c:v>20.131147540983601</c:v>
                </c:pt>
                <c:pt idx="809">
                  <c:v>20.16393442622951</c:v>
                </c:pt>
                <c:pt idx="810">
                  <c:v>20.16393442622951</c:v>
                </c:pt>
                <c:pt idx="811">
                  <c:v>20.196721311475411</c:v>
                </c:pt>
                <c:pt idx="812">
                  <c:v>20.196721311475411</c:v>
                </c:pt>
                <c:pt idx="813">
                  <c:v>20.229508196721309</c:v>
                </c:pt>
                <c:pt idx="814">
                  <c:v>20.229508196721309</c:v>
                </c:pt>
                <c:pt idx="815">
                  <c:v>20.26229508196721</c:v>
                </c:pt>
                <c:pt idx="816">
                  <c:v>20.26229508196721</c:v>
                </c:pt>
                <c:pt idx="817">
                  <c:v>20.295081967213129</c:v>
                </c:pt>
                <c:pt idx="818">
                  <c:v>20.327868852459019</c:v>
                </c:pt>
                <c:pt idx="819">
                  <c:v>20.327868852459019</c:v>
                </c:pt>
                <c:pt idx="820">
                  <c:v>20.360655737704921</c:v>
                </c:pt>
                <c:pt idx="821">
                  <c:v>20.393442622950811</c:v>
                </c:pt>
                <c:pt idx="822">
                  <c:v>20.426229508196709</c:v>
                </c:pt>
                <c:pt idx="823">
                  <c:v>20.426229508196709</c:v>
                </c:pt>
                <c:pt idx="824">
                  <c:v>20.459016393442621</c:v>
                </c:pt>
                <c:pt idx="825">
                  <c:v>20.459016393442621</c:v>
                </c:pt>
                <c:pt idx="826">
                  <c:v>20.491803278688529</c:v>
                </c:pt>
                <c:pt idx="827">
                  <c:v>20.491803278688529</c:v>
                </c:pt>
                <c:pt idx="828">
                  <c:v>20.52459016393443</c:v>
                </c:pt>
                <c:pt idx="829">
                  <c:v>20.52459016393443</c:v>
                </c:pt>
                <c:pt idx="830">
                  <c:v>20.557377049180332</c:v>
                </c:pt>
                <c:pt idx="831">
                  <c:v>20.557377049180332</c:v>
                </c:pt>
                <c:pt idx="832">
                  <c:v>20.590163934426229</c:v>
                </c:pt>
                <c:pt idx="833">
                  <c:v>20.622950819672131</c:v>
                </c:pt>
                <c:pt idx="834">
                  <c:v>20.622950819672131</c:v>
                </c:pt>
                <c:pt idx="835">
                  <c:v>20.655737704918032</c:v>
                </c:pt>
                <c:pt idx="836">
                  <c:v>20.688524590163929</c:v>
                </c:pt>
                <c:pt idx="837">
                  <c:v>20.688524590163929</c:v>
                </c:pt>
                <c:pt idx="838">
                  <c:v>20.721311475409831</c:v>
                </c:pt>
                <c:pt idx="839">
                  <c:v>20.754098360655739</c:v>
                </c:pt>
                <c:pt idx="840">
                  <c:v>20.78688524590164</c:v>
                </c:pt>
                <c:pt idx="841">
                  <c:v>20.78688524590164</c:v>
                </c:pt>
                <c:pt idx="842">
                  <c:v>20.819672131147531</c:v>
                </c:pt>
                <c:pt idx="843">
                  <c:v>20.819672131147531</c:v>
                </c:pt>
                <c:pt idx="844">
                  <c:v>20.852459016393439</c:v>
                </c:pt>
                <c:pt idx="845">
                  <c:v>20.852459016393439</c:v>
                </c:pt>
                <c:pt idx="846">
                  <c:v>20.88524590163934</c:v>
                </c:pt>
                <c:pt idx="847">
                  <c:v>20.88524590163934</c:v>
                </c:pt>
                <c:pt idx="848">
                  <c:v>20.918032786885249</c:v>
                </c:pt>
                <c:pt idx="849">
                  <c:v>20.95081967213115</c:v>
                </c:pt>
                <c:pt idx="850">
                  <c:v>20.983606557377041</c:v>
                </c:pt>
                <c:pt idx="851">
                  <c:v>21</c:v>
                </c:pt>
                <c:pt idx="852">
                  <c:v>21.016393442622949</c:v>
                </c:pt>
                <c:pt idx="853">
                  <c:v>21.016393442622949</c:v>
                </c:pt>
                <c:pt idx="854">
                  <c:v>21.04918032786885</c:v>
                </c:pt>
                <c:pt idx="855">
                  <c:v>21.081967213114751</c:v>
                </c:pt>
                <c:pt idx="856">
                  <c:v>21.11475409836066</c:v>
                </c:pt>
                <c:pt idx="857">
                  <c:v>21.11475409836066</c:v>
                </c:pt>
                <c:pt idx="858">
                  <c:v>21.147540983606561</c:v>
                </c:pt>
                <c:pt idx="859">
                  <c:v>21.147540983606561</c:v>
                </c:pt>
                <c:pt idx="860">
                  <c:v>21.180327868852469</c:v>
                </c:pt>
                <c:pt idx="861">
                  <c:v>21.21311475409836</c:v>
                </c:pt>
                <c:pt idx="862">
                  <c:v>21.21311475409836</c:v>
                </c:pt>
                <c:pt idx="863">
                  <c:v>21.245901639344261</c:v>
                </c:pt>
                <c:pt idx="864">
                  <c:v>21.278688524590159</c:v>
                </c:pt>
                <c:pt idx="865">
                  <c:v>21.278688524590159</c:v>
                </c:pt>
                <c:pt idx="866">
                  <c:v>21.311475409836071</c:v>
                </c:pt>
                <c:pt idx="867">
                  <c:v>21.311475409836071</c:v>
                </c:pt>
                <c:pt idx="868">
                  <c:v>21.344262295081961</c:v>
                </c:pt>
                <c:pt idx="869">
                  <c:v>21.377049180327869</c:v>
                </c:pt>
                <c:pt idx="870">
                  <c:v>21.40983606557376</c:v>
                </c:pt>
                <c:pt idx="871">
                  <c:v>21.40983606557376</c:v>
                </c:pt>
                <c:pt idx="872">
                  <c:v>21.442622950819668</c:v>
                </c:pt>
                <c:pt idx="873">
                  <c:v>21.47540983606557</c:v>
                </c:pt>
                <c:pt idx="874">
                  <c:v>21.47540983606557</c:v>
                </c:pt>
                <c:pt idx="875">
                  <c:v>21.508196721311471</c:v>
                </c:pt>
                <c:pt idx="876">
                  <c:v>21.508196721311471</c:v>
                </c:pt>
                <c:pt idx="877">
                  <c:v>21.540983606557379</c:v>
                </c:pt>
                <c:pt idx="878">
                  <c:v>21.57377049180328</c:v>
                </c:pt>
                <c:pt idx="879">
                  <c:v>21.606557377049189</c:v>
                </c:pt>
                <c:pt idx="880">
                  <c:v>21.606557377049189</c:v>
                </c:pt>
                <c:pt idx="881">
                  <c:v>21.639344262295079</c:v>
                </c:pt>
                <c:pt idx="882">
                  <c:v>21.672131147540991</c:v>
                </c:pt>
                <c:pt idx="883">
                  <c:v>21.672131147540991</c:v>
                </c:pt>
                <c:pt idx="884">
                  <c:v>21.704918032786878</c:v>
                </c:pt>
                <c:pt idx="885">
                  <c:v>21.704918032786878</c:v>
                </c:pt>
                <c:pt idx="886">
                  <c:v>21.737704918032801</c:v>
                </c:pt>
                <c:pt idx="887">
                  <c:v>21.737704918032801</c:v>
                </c:pt>
                <c:pt idx="888">
                  <c:v>21.770491803278691</c:v>
                </c:pt>
                <c:pt idx="889">
                  <c:v>21.803278688524589</c:v>
                </c:pt>
                <c:pt idx="890">
                  <c:v>21.836065573770501</c:v>
                </c:pt>
                <c:pt idx="891">
                  <c:v>21.868852459016409</c:v>
                </c:pt>
                <c:pt idx="892">
                  <c:v>21.868852459016409</c:v>
                </c:pt>
                <c:pt idx="893">
                  <c:v>21.901639344262289</c:v>
                </c:pt>
                <c:pt idx="894">
                  <c:v>21.934426229508201</c:v>
                </c:pt>
                <c:pt idx="895">
                  <c:v>21.967213114754099</c:v>
                </c:pt>
                <c:pt idx="896">
                  <c:v>22</c:v>
                </c:pt>
                <c:pt idx="897">
                  <c:v>22.032786885245891</c:v>
                </c:pt>
                <c:pt idx="898">
                  <c:v>22.065573770491788</c:v>
                </c:pt>
                <c:pt idx="899">
                  <c:v>22.0983606557377</c:v>
                </c:pt>
                <c:pt idx="900">
                  <c:v>22.131147540983591</c:v>
                </c:pt>
                <c:pt idx="901">
                  <c:v>22.16393442622951</c:v>
                </c:pt>
                <c:pt idx="902">
                  <c:v>22.16393442622951</c:v>
                </c:pt>
                <c:pt idx="903">
                  <c:v>22.196721311475411</c:v>
                </c:pt>
                <c:pt idx="904">
                  <c:v>22.229508196721309</c:v>
                </c:pt>
                <c:pt idx="905">
                  <c:v>22.262295081967199</c:v>
                </c:pt>
                <c:pt idx="906">
                  <c:v>22.262295081967199</c:v>
                </c:pt>
                <c:pt idx="907">
                  <c:v>22.295081967213129</c:v>
                </c:pt>
                <c:pt idx="908">
                  <c:v>22.327868852459019</c:v>
                </c:pt>
                <c:pt idx="909">
                  <c:v>22.327868852459019</c:v>
                </c:pt>
                <c:pt idx="910">
                  <c:v>22.360655737704921</c:v>
                </c:pt>
                <c:pt idx="911">
                  <c:v>22.360655737704921</c:v>
                </c:pt>
                <c:pt idx="912">
                  <c:v>22.393442622950811</c:v>
                </c:pt>
                <c:pt idx="913">
                  <c:v>22.393442622950811</c:v>
                </c:pt>
                <c:pt idx="914">
                  <c:v>22.42622950819672</c:v>
                </c:pt>
                <c:pt idx="915">
                  <c:v>22.459016393442621</c:v>
                </c:pt>
                <c:pt idx="916">
                  <c:v>22.491803278688529</c:v>
                </c:pt>
                <c:pt idx="917">
                  <c:v>22.491803278688529</c:v>
                </c:pt>
                <c:pt idx="918">
                  <c:v>22.52459016393442</c:v>
                </c:pt>
                <c:pt idx="919">
                  <c:v>22.557377049180332</c:v>
                </c:pt>
                <c:pt idx="920">
                  <c:v>22.590163934426229</c:v>
                </c:pt>
                <c:pt idx="921">
                  <c:v>22.622950819672131</c:v>
                </c:pt>
                <c:pt idx="922">
                  <c:v>22.655737704918032</c:v>
                </c:pt>
                <c:pt idx="923">
                  <c:v>22.655737704918032</c:v>
                </c:pt>
                <c:pt idx="924">
                  <c:v>22.688524590163929</c:v>
                </c:pt>
                <c:pt idx="925">
                  <c:v>22.688524590163929</c:v>
                </c:pt>
                <c:pt idx="926">
                  <c:v>22.721311475409841</c:v>
                </c:pt>
                <c:pt idx="927">
                  <c:v>22.721311475409841</c:v>
                </c:pt>
                <c:pt idx="928">
                  <c:v>22.75409836065575</c:v>
                </c:pt>
                <c:pt idx="929">
                  <c:v>22.78688524590164</c:v>
                </c:pt>
                <c:pt idx="930">
                  <c:v>22.78688524590164</c:v>
                </c:pt>
                <c:pt idx="931">
                  <c:v>22.819672131147541</c:v>
                </c:pt>
                <c:pt idx="932">
                  <c:v>22.852459016393439</c:v>
                </c:pt>
                <c:pt idx="933">
                  <c:v>22.852459016393439</c:v>
                </c:pt>
                <c:pt idx="934">
                  <c:v>22.88524590163934</c:v>
                </c:pt>
                <c:pt idx="935">
                  <c:v>22.918032786885249</c:v>
                </c:pt>
                <c:pt idx="936">
                  <c:v>22.95081967213115</c:v>
                </c:pt>
                <c:pt idx="937">
                  <c:v>22.95081967213115</c:v>
                </c:pt>
                <c:pt idx="938">
                  <c:v>22.98360655737703</c:v>
                </c:pt>
                <c:pt idx="939">
                  <c:v>22.98360655737703</c:v>
                </c:pt>
                <c:pt idx="940">
                  <c:v>23</c:v>
                </c:pt>
                <c:pt idx="941">
                  <c:v>23.016393442622959</c:v>
                </c:pt>
                <c:pt idx="942">
                  <c:v>23.04918032786885</c:v>
                </c:pt>
                <c:pt idx="943">
                  <c:v>23.04918032786885</c:v>
                </c:pt>
                <c:pt idx="944">
                  <c:v>23.081967213114751</c:v>
                </c:pt>
                <c:pt idx="945">
                  <c:v>23.081967213114751</c:v>
                </c:pt>
                <c:pt idx="946">
                  <c:v>23.11475409836066</c:v>
                </c:pt>
                <c:pt idx="947">
                  <c:v>23.147540983606561</c:v>
                </c:pt>
                <c:pt idx="948">
                  <c:v>23.147540983606561</c:v>
                </c:pt>
                <c:pt idx="949">
                  <c:v>23.180327868852459</c:v>
                </c:pt>
                <c:pt idx="950">
                  <c:v>23.21311475409836</c:v>
                </c:pt>
                <c:pt idx="951">
                  <c:v>23.24590163934425</c:v>
                </c:pt>
                <c:pt idx="952">
                  <c:v>23.24590163934425</c:v>
                </c:pt>
                <c:pt idx="953">
                  <c:v>23.278688524590159</c:v>
                </c:pt>
                <c:pt idx="954">
                  <c:v>23.278688524590159</c:v>
                </c:pt>
                <c:pt idx="955">
                  <c:v>23.31147540983606</c:v>
                </c:pt>
                <c:pt idx="956">
                  <c:v>23.344262295081961</c:v>
                </c:pt>
                <c:pt idx="957">
                  <c:v>23.377049180327869</c:v>
                </c:pt>
                <c:pt idx="958">
                  <c:v>23.40983606557376</c:v>
                </c:pt>
                <c:pt idx="959">
                  <c:v>23.442622950819668</c:v>
                </c:pt>
                <c:pt idx="960">
                  <c:v>23.47540983606557</c:v>
                </c:pt>
                <c:pt idx="961">
                  <c:v>23.508196721311471</c:v>
                </c:pt>
                <c:pt idx="962">
                  <c:v>23.540983606557379</c:v>
                </c:pt>
                <c:pt idx="963">
                  <c:v>23.540983606557379</c:v>
                </c:pt>
                <c:pt idx="964">
                  <c:v>23.57377049180328</c:v>
                </c:pt>
                <c:pt idx="965">
                  <c:v>23.606557377049189</c:v>
                </c:pt>
                <c:pt idx="966">
                  <c:v>23.606557377049189</c:v>
                </c:pt>
                <c:pt idx="967">
                  <c:v>23.639344262295079</c:v>
                </c:pt>
                <c:pt idx="968">
                  <c:v>23.672131147540981</c:v>
                </c:pt>
                <c:pt idx="969">
                  <c:v>23.704918032786878</c:v>
                </c:pt>
                <c:pt idx="970">
                  <c:v>23.704918032786878</c:v>
                </c:pt>
                <c:pt idx="971">
                  <c:v>23.737704918032801</c:v>
                </c:pt>
                <c:pt idx="972">
                  <c:v>23.770491803278691</c:v>
                </c:pt>
                <c:pt idx="973">
                  <c:v>23.770491803278691</c:v>
                </c:pt>
                <c:pt idx="974">
                  <c:v>23.803278688524589</c:v>
                </c:pt>
                <c:pt idx="975">
                  <c:v>23.836065573770501</c:v>
                </c:pt>
                <c:pt idx="976">
                  <c:v>23.868852459016409</c:v>
                </c:pt>
                <c:pt idx="977">
                  <c:v>23.868852459016409</c:v>
                </c:pt>
                <c:pt idx="978">
                  <c:v>23.901639344262289</c:v>
                </c:pt>
                <c:pt idx="979">
                  <c:v>23.901639344262289</c:v>
                </c:pt>
                <c:pt idx="980">
                  <c:v>23.934426229508201</c:v>
                </c:pt>
                <c:pt idx="981">
                  <c:v>23.934426229508201</c:v>
                </c:pt>
                <c:pt idx="982">
                  <c:v>23.967213114754099</c:v>
                </c:pt>
                <c:pt idx="983">
                  <c:v>23.967213114754099</c:v>
                </c:pt>
                <c:pt idx="984">
                  <c:v>24</c:v>
                </c:pt>
                <c:pt idx="985">
                  <c:v>24</c:v>
                </c:pt>
                <c:pt idx="986">
                  <c:v>24.032786885245891</c:v>
                </c:pt>
                <c:pt idx="987">
                  <c:v>24.032786885245891</c:v>
                </c:pt>
                <c:pt idx="988">
                  <c:v>24.065573770491788</c:v>
                </c:pt>
                <c:pt idx="989">
                  <c:v>24.065573770491788</c:v>
                </c:pt>
                <c:pt idx="990">
                  <c:v>24.0983606557377</c:v>
                </c:pt>
                <c:pt idx="991">
                  <c:v>24.131147540983591</c:v>
                </c:pt>
                <c:pt idx="992">
                  <c:v>24.131147540983591</c:v>
                </c:pt>
                <c:pt idx="993">
                  <c:v>24.16393442622951</c:v>
                </c:pt>
                <c:pt idx="994">
                  <c:v>24.16393442622951</c:v>
                </c:pt>
                <c:pt idx="995">
                  <c:v>24.196721311475411</c:v>
                </c:pt>
                <c:pt idx="996">
                  <c:v>24.229508196721309</c:v>
                </c:pt>
                <c:pt idx="997">
                  <c:v>24.262295081967199</c:v>
                </c:pt>
                <c:pt idx="998">
                  <c:v>24.295081967213129</c:v>
                </c:pt>
                <c:pt idx="999">
                  <c:v>24.327868852459019</c:v>
                </c:pt>
                <c:pt idx="1000">
                  <c:v>24.327868852459019</c:v>
                </c:pt>
                <c:pt idx="1001">
                  <c:v>24.360655737704921</c:v>
                </c:pt>
                <c:pt idx="1002">
                  <c:v>24.360655737704921</c:v>
                </c:pt>
                <c:pt idx="1003">
                  <c:v>24.393442622950811</c:v>
                </c:pt>
                <c:pt idx="1004">
                  <c:v>24.393442622950811</c:v>
                </c:pt>
                <c:pt idx="1005">
                  <c:v>24.42622950819672</c:v>
                </c:pt>
                <c:pt idx="1006">
                  <c:v>24.459016393442621</c:v>
                </c:pt>
                <c:pt idx="1007">
                  <c:v>24.459016393442621</c:v>
                </c:pt>
                <c:pt idx="1008">
                  <c:v>24.491803278688529</c:v>
                </c:pt>
                <c:pt idx="1009">
                  <c:v>24.52459016393442</c:v>
                </c:pt>
                <c:pt idx="1010">
                  <c:v>24.52459016393442</c:v>
                </c:pt>
                <c:pt idx="1011">
                  <c:v>24.557377049180332</c:v>
                </c:pt>
                <c:pt idx="1012">
                  <c:v>24.557377049180332</c:v>
                </c:pt>
                <c:pt idx="1013">
                  <c:v>24.590163934426229</c:v>
                </c:pt>
                <c:pt idx="1014">
                  <c:v>24.590163934426229</c:v>
                </c:pt>
                <c:pt idx="1015">
                  <c:v>24.622950819672131</c:v>
                </c:pt>
                <c:pt idx="1016">
                  <c:v>24.622950819672131</c:v>
                </c:pt>
                <c:pt idx="1017">
                  <c:v>24.655737704918032</c:v>
                </c:pt>
                <c:pt idx="1018">
                  <c:v>24.688524590163929</c:v>
                </c:pt>
                <c:pt idx="1019">
                  <c:v>24.721311475409841</c:v>
                </c:pt>
                <c:pt idx="1020">
                  <c:v>24.721311475409841</c:v>
                </c:pt>
                <c:pt idx="1021">
                  <c:v>24.75409836065575</c:v>
                </c:pt>
                <c:pt idx="1022">
                  <c:v>24.75409836065575</c:v>
                </c:pt>
                <c:pt idx="1023">
                  <c:v>24.78688524590164</c:v>
                </c:pt>
                <c:pt idx="1024">
                  <c:v>24.819672131147541</c:v>
                </c:pt>
                <c:pt idx="1025">
                  <c:v>24.819672131147541</c:v>
                </c:pt>
                <c:pt idx="1026">
                  <c:v>24.852459016393439</c:v>
                </c:pt>
                <c:pt idx="1027">
                  <c:v>24.852459016393439</c:v>
                </c:pt>
                <c:pt idx="1028">
                  <c:v>24.88524590163934</c:v>
                </c:pt>
                <c:pt idx="1029">
                  <c:v>24.918032786885249</c:v>
                </c:pt>
                <c:pt idx="1030">
                  <c:v>24.95081967213115</c:v>
                </c:pt>
                <c:pt idx="1031">
                  <c:v>24.98360655737703</c:v>
                </c:pt>
                <c:pt idx="1032">
                  <c:v>25</c:v>
                </c:pt>
                <c:pt idx="1033">
                  <c:v>25.016393442622959</c:v>
                </c:pt>
                <c:pt idx="1034">
                  <c:v>25.04918032786885</c:v>
                </c:pt>
                <c:pt idx="1035">
                  <c:v>25.081967213114751</c:v>
                </c:pt>
                <c:pt idx="1036">
                  <c:v>25.11475409836066</c:v>
                </c:pt>
                <c:pt idx="1037">
                  <c:v>25.147540983606561</c:v>
                </c:pt>
                <c:pt idx="1038">
                  <c:v>25.180327868852459</c:v>
                </c:pt>
                <c:pt idx="1039">
                  <c:v>25.180327868852459</c:v>
                </c:pt>
                <c:pt idx="1040">
                  <c:v>25.21311475409836</c:v>
                </c:pt>
                <c:pt idx="1041">
                  <c:v>25.24590163934425</c:v>
                </c:pt>
                <c:pt idx="1042">
                  <c:v>25.278688524590159</c:v>
                </c:pt>
                <c:pt idx="1043">
                  <c:v>25.31147540983606</c:v>
                </c:pt>
                <c:pt idx="1044">
                  <c:v>25.344262295081961</c:v>
                </c:pt>
                <c:pt idx="1045">
                  <c:v>25.377049180327869</c:v>
                </c:pt>
                <c:pt idx="1046">
                  <c:v>25.40983606557376</c:v>
                </c:pt>
                <c:pt idx="1047">
                  <c:v>25.40983606557376</c:v>
                </c:pt>
                <c:pt idx="1048">
                  <c:v>25.442622950819668</c:v>
                </c:pt>
                <c:pt idx="1049">
                  <c:v>25.442622950819668</c:v>
                </c:pt>
                <c:pt idx="1050">
                  <c:v>25.47540983606557</c:v>
                </c:pt>
                <c:pt idx="1051">
                  <c:v>25.47540983606557</c:v>
                </c:pt>
                <c:pt idx="1052">
                  <c:v>25.508196721311471</c:v>
                </c:pt>
                <c:pt idx="1053">
                  <c:v>25.540983606557379</c:v>
                </c:pt>
                <c:pt idx="1054">
                  <c:v>25.540983606557379</c:v>
                </c:pt>
                <c:pt idx="1055">
                  <c:v>25.57377049180328</c:v>
                </c:pt>
                <c:pt idx="1056">
                  <c:v>25.57377049180328</c:v>
                </c:pt>
                <c:pt idx="1057">
                  <c:v>25.606557377049189</c:v>
                </c:pt>
                <c:pt idx="1058">
                  <c:v>25.639344262295079</c:v>
                </c:pt>
                <c:pt idx="1059">
                  <c:v>25.639344262295079</c:v>
                </c:pt>
                <c:pt idx="1060">
                  <c:v>25.672131147540981</c:v>
                </c:pt>
                <c:pt idx="1061">
                  <c:v>25.704918032786878</c:v>
                </c:pt>
                <c:pt idx="1062">
                  <c:v>25.737704918032801</c:v>
                </c:pt>
                <c:pt idx="1063">
                  <c:v>25.770491803278681</c:v>
                </c:pt>
                <c:pt idx="1064">
                  <c:v>25.770491803278681</c:v>
                </c:pt>
                <c:pt idx="1065">
                  <c:v>25.803278688524589</c:v>
                </c:pt>
                <c:pt idx="1066">
                  <c:v>25.836065573770501</c:v>
                </c:pt>
                <c:pt idx="1067">
                  <c:v>25.868852459016409</c:v>
                </c:pt>
                <c:pt idx="1068">
                  <c:v>25.868852459016409</c:v>
                </c:pt>
                <c:pt idx="1069">
                  <c:v>25.901639344262289</c:v>
                </c:pt>
                <c:pt idx="1070">
                  <c:v>25.934426229508201</c:v>
                </c:pt>
                <c:pt idx="1071">
                  <c:v>25.967213114754099</c:v>
                </c:pt>
                <c:pt idx="1072">
                  <c:v>26</c:v>
                </c:pt>
                <c:pt idx="1073">
                  <c:v>26.032786885245891</c:v>
                </c:pt>
                <c:pt idx="1074">
                  <c:v>26.065573770491788</c:v>
                </c:pt>
                <c:pt idx="1075">
                  <c:v>26.065573770491788</c:v>
                </c:pt>
                <c:pt idx="1076">
                  <c:v>26.0983606557377</c:v>
                </c:pt>
                <c:pt idx="1077">
                  <c:v>26.131147540983591</c:v>
                </c:pt>
                <c:pt idx="1078">
                  <c:v>26.16393442622951</c:v>
                </c:pt>
                <c:pt idx="1079">
                  <c:v>26.196721311475411</c:v>
                </c:pt>
                <c:pt idx="1080">
                  <c:v>26.229508196721319</c:v>
                </c:pt>
                <c:pt idx="1081">
                  <c:v>26.262295081967199</c:v>
                </c:pt>
                <c:pt idx="1082">
                  <c:v>26.295081967213129</c:v>
                </c:pt>
                <c:pt idx="1083">
                  <c:v>26.327868852459019</c:v>
                </c:pt>
                <c:pt idx="1084">
                  <c:v>26.360655737704921</c:v>
                </c:pt>
                <c:pt idx="1085">
                  <c:v>26.393442622950811</c:v>
                </c:pt>
                <c:pt idx="1086">
                  <c:v>26.393442622950811</c:v>
                </c:pt>
                <c:pt idx="1087">
                  <c:v>26.42622950819672</c:v>
                </c:pt>
                <c:pt idx="1088">
                  <c:v>26.459016393442631</c:v>
                </c:pt>
                <c:pt idx="1089">
                  <c:v>26.491803278688529</c:v>
                </c:pt>
                <c:pt idx="1090">
                  <c:v>26.52459016393442</c:v>
                </c:pt>
                <c:pt idx="1091">
                  <c:v>26.557377049180332</c:v>
                </c:pt>
                <c:pt idx="1092">
                  <c:v>26.590163934426229</c:v>
                </c:pt>
                <c:pt idx="1093">
                  <c:v>26.622950819672131</c:v>
                </c:pt>
                <c:pt idx="1094">
                  <c:v>26.655737704918032</c:v>
                </c:pt>
                <c:pt idx="1095">
                  <c:v>26.688524590163929</c:v>
                </c:pt>
                <c:pt idx="1096">
                  <c:v>26.688524590163929</c:v>
                </c:pt>
                <c:pt idx="1097">
                  <c:v>26.721311475409841</c:v>
                </c:pt>
                <c:pt idx="1098">
                  <c:v>26.754098360655739</c:v>
                </c:pt>
                <c:pt idx="1099">
                  <c:v>26.754098360655739</c:v>
                </c:pt>
                <c:pt idx="1100">
                  <c:v>26.78688524590164</c:v>
                </c:pt>
                <c:pt idx="1101">
                  <c:v>26.78688524590164</c:v>
                </c:pt>
                <c:pt idx="1102">
                  <c:v>26.819672131147541</c:v>
                </c:pt>
                <c:pt idx="1103">
                  <c:v>26.852459016393439</c:v>
                </c:pt>
                <c:pt idx="1104">
                  <c:v>26.88524590163934</c:v>
                </c:pt>
                <c:pt idx="1105">
                  <c:v>26.918032786885242</c:v>
                </c:pt>
                <c:pt idx="1106">
                  <c:v>26.95081967213115</c:v>
                </c:pt>
                <c:pt idx="1107">
                  <c:v>26.983606557377041</c:v>
                </c:pt>
                <c:pt idx="1108">
                  <c:v>27</c:v>
                </c:pt>
                <c:pt idx="1109">
                  <c:v>27.016393442622949</c:v>
                </c:pt>
                <c:pt idx="1110">
                  <c:v>27.04918032786885</c:v>
                </c:pt>
                <c:pt idx="1111">
                  <c:v>27.04918032786885</c:v>
                </c:pt>
                <c:pt idx="1112">
                  <c:v>27.081967213114758</c:v>
                </c:pt>
                <c:pt idx="1113">
                  <c:v>27.11475409836066</c:v>
                </c:pt>
                <c:pt idx="1114">
                  <c:v>27.147540983606561</c:v>
                </c:pt>
                <c:pt idx="1115">
                  <c:v>27.180327868852459</c:v>
                </c:pt>
                <c:pt idx="1116">
                  <c:v>27.21311475409836</c:v>
                </c:pt>
                <c:pt idx="1117">
                  <c:v>27.245901639344261</c:v>
                </c:pt>
                <c:pt idx="1118">
                  <c:v>27.278688524590152</c:v>
                </c:pt>
                <c:pt idx="1119">
                  <c:v>27.278688524590152</c:v>
                </c:pt>
                <c:pt idx="1120">
                  <c:v>27.31147540983606</c:v>
                </c:pt>
                <c:pt idx="1121">
                  <c:v>27.344262295081961</c:v>
                </c:pt>
                <c:pt idx="1122">
                  <c:v>27.377049180327869</c:v>
                </c:pt>
                <c:pt idx="1123">
                  <c:v>27.40983606557376</c:v>
                </c:pt>
                <c:pt idx="1124">
                  <c:v>27.442622950819679</c:v>
                </c:pt>
                <c:pt idx="1125">
                  <c:v>27.47540983606557</c:v>
                </c:pt>
                <c:pt idx="1126">
                  <c:v>27.508196721311471</c:v>
                </c:pt>
                <c:pt idx="1127">
                  <c:v>27.540983606557369</c:v>
                </c:pt>
                <c:pt idx="1128">
                  <c:v>27.57377049180328</c:v>
                </c:pt>
                <c:pt idx="1129">
                  <c:v>27.606557377049189</c:v>
                </c:pt>
                <c:pt idx="1130">
                  <c:v>27.639344262295079</c:v>
                </c:pt>
                <c:pt idx="1131">
                  <c:v>27.672131147540991</c:v>
                </c:pt>
                <c:pt idx="1132">
                  <c:v>27.704918032786878</c:v>
                </c:pt>
                <c:pt idx="1133">
                  <c:v>27.73770491803279</c:v>
                </c:pt>
                <c:pt idx="1134">
                  <c:v>27.770491803278681</c:v>
                </c:pt>
                <c:pt idx="1135">
                  <c:v>27.803278688524589</c:v>
                </c:pt>
                <c:pt idx="1136">
                  <c:v>27.836065573770501</c:v>
                </c:pt>
                <c:pt idx="1137">
                  <c:v>27.868852459016399</c:v>
                </c:pt>
                <c:pt idx="1138">
                  <c:v>27.901639344262289</c:v>
                </c:pt>
                <c:pt idx="1139">
                  <c:v>27.934426229508201</c:v>
                </c:pt>
                <c:pt idx="1140">
                  <c:v>27.967213114754099</c:v>
                </c:pt>
                <c:pt idx="1141">
                  <c:v>28</c:v>
                </c:pt>
                <c:pt idx="1142">
                  <c:v>28.032786885245891</c:v>
                </c:pt>
                <c:pt idx="1143">
                  <c:v>28.032786885245891</c:v>
                </c:pt>
                <c:pt idx="1144">
                  <c:v>28.065573770491788</c:v>
                </c:pt>
                <c:pt idx="1145">
                  <c:v>28.0983606557377</c:v>
                </c:pt>
                <c:pt idx="1146">
                  <c:v>28.131147540983601</c:v>
                </c:pt>
                <c:pt idx="1147">
                  <c:v>28.163934426229499</c:v>
                </c:pt>
                <c:pt idx="1148">
                  <c:v>28.196721311475411</c:v>
                </c:pt>
                <c:pt idx="1149">
                  <c:v>28.229508196721319</c:v>
                </c:pt>
                <c:pt idx="1150">
                  <c:v>28.262295081967199</c:v>
                </c:pt>
                <c:pt idx="1151">
                  <c:v>28.295081967213129</c:v>
                </c:pt>
                <c:pt idx="1152">
                  <c:v>28.327868852459009</c:v>
                </c:pt>
                <c:pt idx="1153">
                  <c:v>28.360655737704921</c:v>
                </c:pt>
                <c:pt idx="1154">
                  <c:v>28.393442622950811</c:v>
                </c:pt>
                <c:pt idx="1155">
                  <c:v>28.42622950819672</c:v>
                </c:pt>
                <c:pt idx="1156">
                  <c:v>28.459016393442631</c:v>
                </c:pt>
                <c:pt idx="1157">
                  <c:v>28.491803278688529</c:v>
                </c:pt>
                <c:pt idx="1158">
                  <c:v>28.52459016393443</c:v>
                </c:pt>
                <c:pt idx="1159">
                  <c:v>28.557377049180321</c:v>
                </c:pt>
                <c:pt idx="1160">
                  <c:v>28.590163934426229</c:v>
                </c:pt>
                <c:pt idx="1161">
                  <c:v>28.622950819672131</c:v>
                </c:pt>
                <c:pt idx="1162">
                  <c:v>28.655737704918021</c:v>
                </c:pt>
                <c:pt idx="1163">
                  <c:v>28.655737704918021</c:v>
                </c:pt>
                <c:pt idx="1164">
                  <c:v>28.688524590163929</c:v>
                </c:pt>
                <c:pt idx="1165">
                  <c:v>28.721311475409841</c:v>
                </c:pt>
                <c:pt idx="1166">
                  <c:v>28.754098360655739</c:v>
                </c:pt>
                <c:pt idx="1167">
                  <c:v>28.78688524590164</c:v>
                </c:pt>
                <c:pt idx="1168">
                  <c:v>28.819672131147541</c:v>
                </c:pt>
                <c:pt idx="1169">
                  <c:v>28.852459016393439</c:v>
                </c:pt>
                <c:pt idx="1170">
                  <c:v>28.88524590163934</c:v>
                </c:pt>
                <c:pt idx="1171">
                  <c:v>28.918032786885242</c:v>
                </c:pt>
                <c:pt idx="1172">
                  <c:v>28.950819672131139</c:v>
                </c:pt>
                <c:pt idx="1173">
                  <c:v>28.983606557377041</c:v>
                </c:pt>
                <c:pt idx="1174">
                  <c:v>29</c:v>
                </c:pt>
                <c:pt idx="1175">
                  <c:v>29.016393442622949</c:v>
                </c:pt>
                <c:pt idx="1176">
                  <c:v>29.04918032786885</c:v>
                </c:pt>
                <c:pt idx="1177">
                  <c:v>29.081967213114758</c:v>
                </c:pt>
                <c:pt idx="1178">
                  <c:v>29.11475409836066</c:v>
                </c:pt>
                <c:pt idx="1179">
                  <c:v>29.147540983606561</c:v>
                </c:pt>
                <c:pt idx="1180">
                  <c:v>29.180327868852459</c:v>
                </c:pt>
                <c:pt idx="1181">
                  <c:v>29.21311475409836</c:v>
                </c:pt>
                <c:pt idx="1182">
                  <c:v>29.245901639344261</c:v>
                </c:pt>
                <c:pt idx="1183">
                  <c:v>29.278688524590152</c:v>
                </c:pt>
                <c:pt idx="1184">
                  <c:v>29.31147540983606</c:v>
                </c:pt>
                <c:pt idx="1185">
                  <c:v>29.31147540983606</c:v>
                </c:pt>
                <c:pt idx="1186">
                  <c:v>29.344262295081968</c:v>
                </c:pt>
                <c:pt idx="1187">
                  <c:v>29.377049180327869</c:v>
                </c:pt>
                <c:pt idx="1188">
                  <c:v>29.40983606557376</c:v>
                </c:pt>
                <c:pt idx="1189">
                  <c:v>29.442622950819679</c:v>
                </c:pt>
                <c:pt idx="1190">
                  <c:v>29.47540983606557</c:v>
                </c:pt>
                <c:pt idx="1191">
                  <c:v>29.508196721311471</c:v>
                </c:pt>
                <c:pt idx="1192">
                  <c:v>29.540983606557369</c:v>
                </c:pt>
                <c:pt idx="1193">
                  <c:v>29.57377049180328</c:v>
                </c:pt>
                <c:pt idx="1194">
                  <c:v>29.606557377049171</c:v>
                </c:pt>
                <c:pt idx="1195">
                  <c:v>29.639344262295079</c:v>
                </c:pt>
                <c:pt idx="1196">
                  <c:v>29.672131147540991</c:v>
                </c:pt>
                <c:pt idx="1197">
                  <c:v>29.704918032786878</c:v>
                </c:pt>
                <c:pt idx="1198">
                  <c:v>29.73770491803279</c:v>
                </c:pt>
                <c:pt idx="1199">
                  <c:v>29.770491803278681</c:v>
                </c:pt>
                <c:pt idx="1200">
                  <c:v>29.8032786885246</c:v>
                </c:pt>
                <c:pt idx="1201">
                  <c:v>29.836065573770501</c:v>
                </c:pt>
                <c:pt idx="1202">
                  <c:v>29.868852459016399</c:v>
                </c:pt>
                <c:pt idx="1203">
                  <c:v>29.901639344262289</c:v>
                </c:pt>
                <c:pt idx="1204">
                  <c:v>29.934426229508201</c:v>
                </c:pt>
                <c:pt idx="1205">
                  <c:v>29.967213114754099</c:v>
                </c:pt>
                <c:pt idx="1206">
                  <c:v>30</c:v>
                </c:pt>
                <c:pt idx="1207">
                  <c:v>30.032786885245891</c:v>
                </c:pt>
                <c:pt idx="1208">
                  <c:v>30.065573770491799</c:v>
                </c:pt>
                <c:pt idx="1209">
                  <c:v>30.0983606557377</c:v>
                </c:pt>
                <c:pt idx="1210">
                  <c:v>30.131147540983601</c:v>
                </c:pt>
                <c:pt idx="1211">
                  <c:v>30.163934426229499</c:v>
                </c:pt>
                <c:pt idx="1212">
                  <c:v>30.1967213114754</c:v>
                </c:pt>
                <c:pt idx="1213">
                  <c:v>30.229508196721319</c:v>
                </c:pt>
                <c:pt idx="1214">
                  <c:v>30.262295081967199</c:v>
                </c:pt>
                <c:pt idx="1215">
                  <c:v>30.295081967213129</c:v>
                </c:pt>
                <c:pt idx="1216">
                  <c:v>30.327868852459009</c:v>
                </c:pt>
                <c:pt idx="1217">
                  <c:v>30.360655737704921</c:v>
                </c:pt>
                <c:pt idx="1218">
                  <c:v>30.393442622950818</c:v>
                </c:pt>
                <c:pt idx="1219">
                  <c:v>30.42622950819672</c:v>
                </c:pt>
                <c:pt idx="1220">
                  <c:v>30.459016393442631</c:v>
                </c:pt>
                <c:pt idx="1221">
                  <c:v>30.491803278688529</c:v>
                </c:pt>
                <c:pt idx="1222">
                  <c:v>30.52459016393443</c:v>
                </c:pt>
                <c:pt idx="1223">
                  <c:v>30.557377049180321</c:v>
                </c:pt>
                <c:pt idx="1224">
                  <c:v>30.590163934426229</c:v>
                </c:pt>
                <c:pt idx="1225">
                  <c:v>30.622950819672131</c:v>
                </c:pt>
                <c:pt idx="1226">
                  <c:v>30.655737704918021</c:v>
                </c:pt>
                <c:pt idx="1227">
                  <c:v>30.688524590163929</c:v>
                </c:pt>
                <c:pt idx="1228">
                  <c:v>30.721311475409841</c:v>
                </c:pt>
                <c:pt idx="1229">
                  <c:v>30.754098360655739</c:v>
                </c:pt>
                <c:pt idx="1230">
                  <c:v>30.78688524590164</c:v>
                </c:pt>
                <c:pt idx="1231">
                  <c:v>30.819672131147541</c:v>
                </c:pt>
                <c:pt idx="1232">
                  <c:v>30.852459016393439</c:v>
                </c:pt>
                <c:pt idx="1233">
                  <c:v>30.88524590163934</c:v>
                </c:pt>
                <c:pt idx="1234">
                  <c:v>30.918032786885242</c:v>
                </c:pt>
                <c:pt idx="1235">
                  <c:v>30.950819672131139</c:v>
                </c:pt>
                <c:pt idx="1236">
                  <c:v>30.983606557377041</c:v>
                </c:pt>
                <c:pt idx="1237">
                  <c:v>31</c:v>
                </c:pt>
                <c:pt idx="1238">
                  <c:v>31.016393442622949</c:v>
                </c:pt>
                <c:pt idx="1239">
                  <c:v>31.04918032786885</c:v>
                </c:pt>
                <c:pt idx="1240">
                  <c:v>31.081967213114758</c:v>
                </c:pt>
                <c:pt idx="1241">
                  <c:v>31.11475409836066</c:v>
                </c:pt>
                <c:pt idx="1242">
                  <c:v>31.147540983606561</c:v>
                </c:pt>
                <c:pt idx="1243">
                  <c:v>31.180327868852459</c:v>
                </c:pt>
                <c:pt idx="1244">
                  <c:v>31.21311475409836</c:v>
                </c:pt>
                <c:pt idx="1245">
                  <c:v>31.245901639344261</c:v>
                </c:pt>
                <c:pt idx="1246">
                  <c:v>31.278688524590152</c:v>
                </c:pt>
                <c:pt idx="1247">
                  <c:v>31.31147540983606</c:v>
                </c:pt>
                <c:pt idx="1248">
                  <c:v>31.344262295081968</c:v>
                </c:pt>
                <c:pt idx="1249">
                  <c:v>31.377049180327869</c:v>
                </c:pt>
                <c:pt idx="1250">
                  <c:v>31.40983606557376</c:v>
                </c:pt>
                <c:pt idx="1251">
                  <c:v>31.442622950819679</c:v>
                </c:pt>
                <c:pt idx="1252">
                  <c:v>31.47540983606557</c:v>
                </c:pt>
                <c:pt idx="1253">
                  <c:v>31.508196721311471</c:v>
                </c:pt>
                <c:pt idx="1254">
                  <c:v>31.540983606557369</c:v>
                </c:pt>
                <c:pt idx="1255">
                  <c:v>31.57377049180328</c:v>
                </c:pt>
                <c:pt idx="1256">
                  <c:v>31.606557377049171</c:v>
                </c:pt>
                <c:pt idx="1257">
                  <c:v>31.639344262295079</c:v>
                </c:pt>
                <c:pt idx="1258">
                  <c:v>31.672131147540991</c:v>
                </c:pt>
                <c:pt idx="1259">
                  <c:v>31.704918032786878</c:v>
                </c:pt>
                <c:pt idx="1260">
                  <c:v>31.73770491803279</c:v>
                </c:pt>
                <c:pt idx="1261">
                  <c:v>31.770491803278681</c:v>
                </c:pt>
                <c:pt idx="1262">
                  <c:v>31.8032786885246</c:v>
                </c:pt>
                <c:pt idx="1263">
                  <c:v>31.836065573770501</c:v>
                </c:pt>
                <c:pt idx="1264">
                  <c:v>31.868852459016399</c:v>
                </c:pt>
                <c:pt idx="1265">
                  <c:v>31.901639344262289</c:v>
                </c:pt>
                <c:pt idx="1266">
                  <c:v>31.934426229508201</c:v>
                </c:pt>
                <c:pt idx="1267">
                  <c:v>31.967213114754099</c:v>
                </c:pt>
                <c:pt idx="1268">
                  <c:v>32</c:v>
                </c:pt>
                <c:pt idx="1269">
                  <c:v>32.032786885245898</c:v>
                </c:pt>
                <c:pt idx="1270">
                  <c:v>32.065573770491802</c:v>
                </c:pt>
                <c:pt idx="1271">
                  <c:v>32.098360655737707</c:v>
                </c:pt>
                <c:pt idx="1272">
                  <c:v>32.131147540983598</c:v>
                </c:pt>
                <c:pt idx="1273">
                  <c:v>32.163934426229503</c:v>
                </c:pt>
                <c:pt idx="1274">
                  <c:v>32.196721311475407</c:v>
                </c:pt>
                <c:pt idx="1275">
                  <c:v>32.229508196721319</c:v>
                </c:pt>
                <c:pt idx="1276">
                  <c:v>32.26229508196721</c:v>
                </c:pt>
                <c:pt idx="1277">
                  <c:v>32.327868852458998</c:v>
                </c:pt>
                <c:pt idx="1278">
                  <c:v>32.360655737704917</c:v>
                </c:pt>
                <c:pt idx="1279">
                  <c:v>32.393442622950822</c:v>
                </c:pt>
                <c:pt idx="1280">
                  <c:v>32.426229508196727</c:v>
                </c:pt>
                <c:pt idx="1281">
                  <c:v>32.459016393442617</c:v>
                </c:pt>
                <c:pt idx="1282">
                  <c:v>32.55737704918031</c:v>
                </c:pt>
                <c:pt idx="1283">
                  <c:v>32.590163934426229</c:v>
                </c:pt>
                <c:pt idx="1284">
                  <c:v>32.622950819672127</c:v>
                </c:pt>
                <c:pt idx="1285">
                  <c:v>32.655737704918032</c:v>
                </c:pt>
                <c:pt idx="1286">
                  <c:v>32.721311475409841</c:v>
                </c:pt>
                <c:pt idx="1287">
                  <c:v>32.754098360655739</c:v>
                </c:pt>
                <c:pt idx="1288">
                  <c:v>32.786885245901637</c:v>
                </c:pt>
                <c:pt idx="1289">
                  <c:v>32.885245901639337</c:v>
                </c:pt>
                <c:pt idx="1290">
                  <c:v>33</c:v>
                </c:pt>
              </c:numCache>
            </c:numRef>
          </c:xVal>
          <c:yVal>
            <c:numRef>
              <c:f>'Scatter chart - by week'!$B$2:$B$1292</c:f>
              <c:numCache>
                <c:formatCode>ge\ne\r\r\a\l</c:formatCode>
                <c:ptCount val="1291"/>
                <c:pt idx="0">
                  <c:v>0</c:v>
                </c:pt>
                <c:pt idx="1">
                  <c:v>0</c:v>
                </c:pt>
                <c:pt idx="2">
                  <c:v>0</c:v>
                </c:pt>
                <c:pt idx="3">
                  <c:v>2.6212319790297499E-2</c:v>
                </c:pt>
                <c:pt idx="4">
                  <c:v>2.6212319790297499E-2</c:v>
                </c:pt>
                <c:pt idx="5">
                  <c:v>2.6212319790297499E-2</c:v>
                </c:pt>
                <c:pt idx="6">
                  <c:v>2.6212319790297499E-2</c:v>
                </c:pt>
                <c:pt idx="7">
                  <c:v>5.2424639580594998E-2</c:v>
                </c:pt>
                <c:pt idx="8">
                  <c:v>5.2424639580594998E-2</c:v>
                </c:pt>
                <c:pt idx="9">
                  <c:v>7.8636959370892504E-2</c:v>
                </c:pt>
                <c:pt idx="10">
                  <c:v>7.8636959370892504E-2</c:v>
                </c:pt>
                <c:pt idx="11">
                  <c:v>7.8636959370892504E-2</c:v>
                </c:pt>
                <c:pt idx="12">
                  <c:v>0.10484927916119</c:v>
                </c:pt>
                <c:pt idx="13">
                  <c:v>0.10484927916119</c:v>
                </c:pt>
                <c:pt idx="14">
                  <c:v>0.10484927916119</c:v>
                </c:pt>
                <c:pt idx="15">
                  <c:v>0.10484927916119</c:v>
                </c:pt>
                <c:pt idx="16">
                  <c:v>0.10484927916119</c:v>
                </c:pt>
                <c:pt idx="17">
                  <c:v>0.10484927916119</c:v>
                </c:pt>
                <c:pt idx="18">
                  <c:v>0.13106159895149799</c:v>
                </c:pt>
                <c:pt idx="19">
                  <c:v>0.13106159895149799</c:v>
                </c:pt>
                <c:pt idx="20">
                  <c:v>0.13106159895149799</c:v>
                </c:pt>
                <c:pt idx="21">
                  <c:v>0.15728080042197701</c:v>
                </c:pt>
                <c:pt idx="22">
                  <c:v>0.15728080042197701</c:v>
                </c:pt>
                <c:pt idx="23">
                  <c:v>0.20971920336293501</c:v>
                </c:pt>
                <c:pt idx="24">
                  <c:v>0.20971920336293501</c:v>
                </c:pt>
                <c:pt idx="25">
                  <c:v>0.235938404833413</c:v>
                </c:pt>
                <c:pt idx="26">
                  <c:v>0.235938404833413</c:v>
                </c:pt>
                <c:pt idx="27">
                  <c:v>0.235938404833413</c:v>
                </c:pt>
                <c:pt idx="28">
                  <c:v>0.235938404833413</c:v>
                </c:pt>
                <c:pt idx="29">
                  <c:v>0.26215760630389201</c:v>
                </c:pt>
                <c:pt idx="30">
                  <c:v>0.26215760630389201</c:v>
                </c:pt>
                <c:pt idx="31">
                  <c:v>0.28837680777437102</c:v>
                </c:pt>
                <c:pt idx="32">
                  <c:v>0.28837680777437102</c:v>
                </c:pt>
                <c:pt idx="33">
                  <c:v>0.28837680777437102</c:v>
                </c:pt>
                <c:pt idx="34">
                  <c:v>0.28837680777437102</c:v>
                </c:pt>
                <c:pt idx="35">
                  <c:v>0.31459600924484998</c:v>
                </c:pt>
                <c:pt idx="36">
                  <c:v>0.31459600924484998</c:v>
                </c:pt>
                <c:pt idx="37">
                  <c:v>0.31459600924484998</c:v>
                </c:pt>
                <c:pt idx="38">
                  <c:v>0.31459600924484998</c:v>
                </c:pt>
                <c:pt idx="39">
                  <c:v>0.31459600924484998</c:v>
                </c:pt>
                <c:pt idx="40">
                  <c:v>0.34082210868993101</c:v>
                </c:pt>
                <c:pt idx="41">
                  <c:v>0.34082210868993101</c:v>
                </c:pt>
                <c:pt idx="42">
                  <c:v>0.34082210868993101</c:v>
                </c:pt>
                <c:pt idx="43">
                  <c:v>0.36705511155682402</c:v>
                </c:pt>
                <c:pt idx="44">
                  <c:v>0.36705511155682402</c:v>
                </c:pt>
                <c:pt idx="45">
                  <c:v>0.39328811442371803</c:v>
                </c:pt>
                <c:pt idx="46">
                  <c:v>0.39328811442371803</c:v>
                </c:pt>
                <c:pt idx="47">
                  <c:v>0.39328811442371803</c:v>
                </c:pt>
                <c:pt idx="48">
                  <c:v>0.39328811442371803</c:v>
                </c:pt>
                <c:pt idx="49">
                  <c:v>0.41952111729061098</c:v>
                </c:pt>
                <c:pt idx="50">
                  <c:v>0.41952111729061098</c:v>
                </c:pt>
                <c:pt idx="51">
                  <c:v>0.44576103267473</c:v>
                </c:pt>
                <c:pt idx="52">
                  <c:v>0.44576103267473</c:v>
                </c:pt>
                <c:pt idx="53">
                  <c:v>0.47200094805884801</c:v>
                </c:pt>
                <c:pt idx="54">
                  <c:v>0.47200094805884801</c:v>
                </c:pt>
                <c:pt idx="55">
                  <c:v>0.49824086344295598</c:v>
                </c:pt>
                <c:pt idx="56">
                  <c:v>0.49824086344295598</c:v>
                </c:pt>
                <c:pt idx="57">
                  <c:v>0.524480778827074</c:v>
                </c:pt>
                <c:pt idx="58">
                  <c:v>0.524480778827074</c:v>
                </c:pt>
                <c:pt idx="59">
                  <c:v>0.524480778827074</c:v>
                </c:pt>
                <c:pt idx="60">
                  <c:v>0.524480778827074</c:v>
                </c:pt>
                <c:pt idx="61">
                  <c:v>0.55072069421119296</c:v>
                </c:pt>
                <c:pt idx="62">
                  <c:v>0.55072069421119296</c:v>
                </c:pt>
                <c:pt idx="63">
                  <c:v>0.55072069421119296</c:v>
                </c:pt>
                <c:pt idx="64">
                  <c:v>0.55072069421119296</c:v>
                </c:pt>
                <c:pt idx="65">
                  <c:v>0.60320052497941901</c:v>
                </c:pt>
                <c:pt idx="66">
                  <c:v>0.60320052497941901</c:v>
                </c:pt>
                <c:pt idx="67">
                  <c:v>0.60320052497941901</c:v>
                </c:pt>
                <c:pt idx="68">
                  <c:v>0.60320052497941901</c:v>
                </c:pt>
                <c:pt idx="69">
                  <c:v>0.62944736930870004</c:v>
                </c:pt>
                <c:pt idx="70">
                  <c:v>0.62944736930870004</c:v>
                </c:pt>
                <c:pt idx="71">
                  <c:v>0.62944736930870004</c:v>
                </c:pt>
                <c:pt idx="72">
                  <c:v>0.62944736930870004</c:v>
                </c:pt>
                <c:pt idx="73">
                  <c:v>0.62944736930870004</c:v>
                </c:pt>
                <c:pt idx="74">
                  <c:v>0.62944736930870004</c:v>
                </c:pt>
                <c:pt idx="75">
                  <c:v>0.65569421363799196</c:v>
                </c:pt>
                <c:pt idx="76">
                  <c:v>0.65569421363799196</c:v>
                </c:pt>
                <c:pt idx="77">
                  <c:v>0.65569421363799196</c:v>
                </c:pt>
                <c:pt idx="78">
                  <c:v>0.65569421363799196</c:v>
                </c:pt>
                <c:pt idx="79">
                  <c:v>0.65569421363799196</c:v>
                </c:pt>
                <c:pt idx="80">
                  <c:v>0.65569421363799196</c:v>
                </c:pt>
                <c:pt idx="81">
                  <c:v>0.70820177483584801</c:v>
                </c:pt>
                <c:pt idx="82">
                  <c:v>0.70820177483584801</c:v>
                </c:pt>
                <c:pt idx="83">
                  <c:v>0.70820177483584801</c:v>
                </c:pt>
                <c:pt idx="84">
                  <c:v>0.70820177483584801</c:v>
                </c:pt>
                <c:pt idx="85">
                  <c:v>0.76072322324906005</c:v>
                </c:pt>
                <c:pt idx="86">
                  <c:v>0.76072322324906005</c:v>
                </c:pt>
                <c:pt idx="87">
                  <c:v>0.76072322324906005</c:v>
                </c:pt>
                <c:pt idx="88">
                  <c:v>0.76072322324906005</c:v>
                </c:pt>
                <c:pt idx="89">
                  <c:v>0.76072322324906005</c:v>
                </c:pt>
                <c:pt idx="90">
                  <c:v>0.76072322324906005</c:v>
                </c:pt>
                <c:pt idx="91">
                  <c:v>0.78699089841495196</c:v>
                </c:pt>
                <c:pt idx="92">
                  <c:v>0.78699089841495196</c:v>
                </c:pt>
                <c:pt idx="93">
                  <c:v>0.81325857358085496</c:v>
                </c:pt>
                <c:pt idx="94">
                  <c:v>0.81325857358085496</c:v>
                </c:pt>
                <c:pt idx="95">
                  <c:v>0.86580784056173898</c:v>
                </c:pt>
                <c:pt idx="96">
                  <c:v>0.86580784056173898</c:v>
                </c:pt>
                <c:pt idx="97">
                  <c:v>0.86580784056173898</c:v>
                </c:pt>
                <c:pt idx="98">
                  <c:v>0.86580784056173898</c:v>
                </c:pt>
                <c:pt idx="99">
                  <c:v>0.892082474052181</c:v>
                </c:pt>
                <c:pt idx="100">
                  <c:v>0.892082474052181</c:v>
                </c:pt>
                <c:pt idx="101">
                  <c:v>0.91835710754262201</c:v>
                </c:pt>
                <c:pt idx="102">
                  <c:v>0.91835710754262201</c:v>
                </c:pt>
                <c:pt idx="103">
                  <c:v>0.94463174103306402</c:v>
                </c:pt>
                <c:pt idx="104">
                  <c:v>0.94463174103306402</c:v>
                </c:pt>
                <c:pt idx="105">
                  <c:v>0.97090637452350603</c:v>
                </c:pt>
                <c:pt idx="106">
                  <c:v>0.97090637452350603</c:v>
                </c:pt>
                <c:pt idx="107">
                  <c:v>0.97090637452350603</c:v>
                </c:pt>
                <c:pt idx="108">
                  <c:v>0.97090637452350603</c:v>
                </c:pt>
                <c:pt idx="109">
                  <c:v>0.97090637452350603</c:v>
                </c:pt>
                <c:pt idx="110">
                  <c:v>0.97090637452350603</c:v>
                </c:pt>
                <c:pt idx="111">
                  <c:v>0.97090637452350603</c:v>
                </c:pt>
                <c:pt idx="112">
                  <c:v>0.97090637452350603</c:v>
                </c:pt>
                <c:pt idx="113">
                  <c:v>0.97090637452350603</c:v>
                </c:pt>
                <c:pt idx="114">
                  <c:v>0.97090637452350603</c:v>
                </c:pt>
                <c:pt idx="115">
                  <c:v>0.97090637452350603</c:v>
                </c:pt>
                <c:pt idx="116">
                  <c:v>1.02346958770052</c:v>
                </c:pt>
                <c:pt idx="117">
                  <c:v>1.02346958770052</c:v>
                </c:pt>
                <c:pt idx="118">
                  <c:v>1.02346958770052</c:v>
                </c:pt>
                <c:pt idx="119">
                  <c:v>1.02346958770052</c:v>
                </c:pt>
                <c:pt idx="120">
                  <c:v>1.0497511942890281</c:v>
                </c:pt>
                <c:pt idx="121">
                  <c:v>1.0497511942890281</c:v>
                </c:pt>
                <c:pt idx="122">
                  <c:v>1.0497511942890281</c:v>
                </c:pt>
                <c:pt idx="123">
                  <c:v>1.0497511942890281</c:v>
                </c:pt>
                <c:pt idx="124">
                  <c:v>1.0497511942890281</c:v>
                </c:pt>
                <c:pt idx="125">
                  <c:v>1.0497511942890281</c:v>
                </c:pt>
                <c:pt idx="126">
                  <c:v>1.0497511942890281</c:v>
                </c:pt>
                <c:pt idx="127">
                  <c:v>1.0497511942890281</c:v>
                </c:pt>
                <c:pt idx="128">
                  <c:v>1.0760328008775359</c:v>
                </c:pt>
                <c:pt idx="129">
                  <c:v>1.0760328008775359</c:v>
                </c:pt>
                <c:pt idx="130">
                  <c:v>1.0760328008775359</c:v>
                </c:pt>
                <c:pt idx="131">
                  <c:v>1.0760328008775359</c:v>
                </c:pt>
                <c:pt idx="132">
                  <c:v>1.0760328008775359</c:v>
                </c:pt>
                <c:pt idx="133">
                  <c:v>1.0760328008775359</c:v>
                </c:pt>
                <c:pt idx="134">
                  <c:v>1.1548985732924619</c:v>
                </c:pt>
                <c:pt idx="135">
                  <c:v>1.1548985732924619</c:v>
                </c:pt>
                <c:pt idx="136">
                  <c:v>1.1548985732924619</c:v>
                </c:pt>
                <c:pt idx="137">
                  <c:v>1.1548985732924619</c:v>
                </c:pt>
                <c:pt idx="138">
                  <c:v>1.1548985732924619</c:v>
                </c:pt>
                <c:pt idx="139">
                  <c:v>1.1548985732924619</c:v>
                </c:pt>
                <c:pt idx="140">
                  <c:v>1.1811871640974301</c:v>
                </c:pt>
                <c:pt idx="141">
                  <c:v>1.1811871640974301</c:v>
                </c:pt>
                <c:pt idx="142">
                  <c:v>1.2074757549024091</c:v>
                </c:pt>
                <c:pt idx="143">
                  <c:v>1.2074757549024091</c:v>
                </c:pt>
                <c:pt idx="144">
                  <c:v>1.233764345707377</c:v>
                </c:pt>
                <c:pt idx="145">
                  <c:v>1.233764345707377</c:v>
                </c:pt>
                <c:pt idx="146">
                  <c:v>1.2600529365123569</c:v>
                </c:pt>
                <c:pt idx="147">
                  <c:v>1.2600529365123569</c:v>
                </c:pt>
                <c:pt idx="148">
                  <c:v>1.2600529365123569</c:v>
                </c:pt>
                <c:pt idx="149">
                  <c:v>1.2600529365123569</c:v>
                </c:pt>
                <c:pt idx="150">
                  <c:v>1.2600529365123569</c:v>
                </c:pt>
                <c:pt idx="151">
                  <c:v>1.2863485282736069</c:v>
                </c:pt>
                <c:pt idx="152">
                  <c:v>1.2863485282736069</c:v>
                </c:pt>
                <c:pt idx="153">
                  <c:v>1.2863485282736069</c:v>
                </c:pt>
                <c:pt idx="154">
                  <c:v>1.2863485282736069</c:v>
                </c:pt>
                <c:pt idx="155">
                  <c:v>1.2863485282736069</c:v>
                </c:pt>
                <c:pt idx="156">
                  <c:v>1.2863485282736069</c:v>
                </c:pt>
                <c:pt idx="157">
                  <c:v>1.3126441200348551</c:v>
                </c:pt>
                <c:pt idx="158">
                  <c:v>1.3126441200348551</c:v>
                </c:pt>
                <c:pt idx="159">
                  <c:v>1.338939711796105</c:v>
                </c:pt>
                <c:pt idx="160">
                  <c:v>1.338939711796105</c:v>
                </c:pt>
                <c:pt idx="161">
                  <c:v>1.338939711796105</c:v>
                </c:pt>
                <c:pt idx="162">
                  <c:v>1.338939711796105</c:v>
                </c:pt>
                <c:pt idx="163">
                  <c:v>1.338939711796105</c:v>
                </c:pt>
                <c:pt idx="164">
                  <c:v>1.338939711796105</c:v>
                </c:pt>
                <c:pt idx="165">
                  <c:v>1.338939711796105</c:v>
                </c:pt>
                <c:pt idx="166">
                  <c:v>1.3652493278729521</c:v>
                </c:pt>
                <c:pt idx="167">
                  <c:v>1.3652493278729521</c:v>
                </c:pt>
                <c:pt idx="168">
                  <c:v>1.3652493278729521</c:v>
                </c:pt>
                <c:pt idx="169">
                  <c:v>1.3652493278729521</c:v>
                </c:pt>
                <c:pt idx="170">
                  <c:v>1.3652493278729521</c:v>
                </c:pt>
                <c:pt idx="171">
                  <c:v>1.3915659635912461</c:v>
                </c:pt>
                <c:pt idx="172">
                  <c:v>1.3915659635912461</c:v>
                </c:pt>
                <c:pt idx="173">
                  <c:v>1.3915659635912461</c:v>
                </c:pt>
                <c:pt idx="174">
                  <c:v>1.3915659635912461</c:v>
                </c:pt>
                <c:pt idx="175">
                  <c:v>1.4178825993095281</c:v>
                </c:pt>
                <c:pt idx="176">
                  <c:v>1.4178825993095281</c:v>
                </c:pt>
                <c:pt idx="177">
                  <c:v>1.4441992350278099</c:v>
                </c:pt>
                <c:pt idx="178">
                  <c:v>1.4441992350278099</c:v>
                </c:pt>
                <c:pt idx="179">
                  <c:v>1.4441992350278099</c:v>
                </c:pt>
                <c:pt idx="180">
                  <c:v>1.4441992350278099</c:v>
                </c:pt>
                <c:pt idx="181">
                  <c:v>1.4705158707460919</c:v>
                </c:pt>
                <c:pt idx="182">
                  <c:v>1.4705158707460919</c:v>
                </c:pt>
                <c:pt idx="183">
                  <c:v>1.4968395373582299</c:v>
                </c:pt>
                <c:pt idx="184">
                  <c:v>1.4968395373582299</c:v>
                </c:pt>
                <c:pt idx="185">
                  <c:v>1.4968395373582299</c:v>
                </c:pt>
                <c:pt idx="186">
                  <c:v>1.4968395373582299</c:v>
                </c:pt>
                <c:pt idx="187">
                  <c:v>1.4968395373582299</c:v>
                </c:pt>
                <c:pt idx="188">
                  <c:v>1.4968395373582299</c:v>
                </c:pt>
                <c:pt idx="189">
                  <c:v>1.4968395373582299</c:v>
                </c:pt>
                <c:pt idx="190">
                  <c:v>1.4968395373582299</c:v>
                </c:pt>
                <c:pt idx="191">
                  <c:v>1.4968395373582299</c:v>
                </c:pt>
                <c:pt idx="192">
                  <c:v>1.523163203970368</c:v>
                </c:pt>
                <c:pt idx="193">
                  <c:v>1.523163203970368</c:v>
                </c:pt>
                <c:pt idx="194">
                  <c:v>1.549486870582506</c:v>
                </c:pt>
                <c:pt idx="195">
                  <c:v>1.549486870582506</c:v>
                </c:pt>
                <c:pt idx="196">
                  <c:v>1.549486870582506</c:v>
                </c:pt>
                <c:pt idx="197">
                  <c:v>1.549486870582506</c:v>
                </c:pt>
                <c:pt idx="198">
                  <c:v>1.549486870582506</c:v>
                </c:pt>
                <c:pt idx="199">
                  <c:v>1.549486870582506</c:v>
                </c:pt>
                <c:pt idx="200">
                  <c:v>1.575810537194644</c:v>
                </c:pt>
                <c:pt idx="201">
                  <c:v>1.575810537194644</c:v>
                </c:pt>
                <c:pt idx="202">
                  <c:v>1.602141245986189</c:v>
                </c:pt>
                <c:pt idx="203">
                  <c:v>1.602141245986189</c:v>
                </c:pt>
                <c:pt idx="204">
                  <c:v>1.602141245986189</c:v>
                </c:pt>
                <c:pt idx="205">
                  <c:v>1.602141245986189</c:v>
                </c:pt>
                <c:pt idx="206">
                  <c:v>1.602141245986189</c:v>
                </c:pt>
                <c:pt idx="207">
                  <c:v>1.602141245986189</c:v>
                </c:pt>
                <c:pt idx="208">
                  <c:v>1.628471954777744</c:v>
                </c:pt>
                <c:pt idx="209">
                  <c:v>1.628471954777744</c:v>
                </c:pt>
                <c:pt idx="210">
                  <c:v>1.6811333723608439</c:v>
                </c:pt>
                <c:pt idx="211">
                  <c:v>1.6811333723608439</c:v>
                </c:pt>
                <c:pt idx="212">
                  <c:v>1.733794789943943</c:v>
                </c:pt>
                <c:pt idx="213">
                  <c:v>1.733794789943943</c:v>
                </c:pt>
                <c:pt idx="214">
                  <c:v>1.733794789943943</c:v>
                </c:pt>
                <c:pt idx="215">
                  <c:v>1.7864562075270429</c:v>
                </c:pt>
                <c:pt idx="216">
                  <c:v>1.7864562075270429</c:v>
                </c:pt>
                <c:pt idx="217">
                  <c:v>1.8127869163185979</c:v>
                </c:pt>
                <c:pt idx="218">
                  <c:v>1.8127869163185979</c:v>
                </c:pt>
                <c:pt idx="219">
                  <c:v>1.8127869163185979</c:v>
                </c:pt>
                <c:pt idx="220">
                  <c:v>1.8127869163185979</c:v>
                </c:pt>
                <c:pt idx="221">
                  <c:v>1.8127869163185979</c:v>
                </c:pt>
                <c:pt idx="222">
                  <c:v>1.8127869163185979</c:v>
                </c:pt>
                <c:pt idx="223">
                  <c:v>1.8127869163185979</c:v>
                </c:pt>
                <c:pt idx="224">
                  <c:v>1.8127869163185979</c:v>
                </c:pt>
                <c:pt idx="225">
                  <c:v>1.8127869163185979</c:v>
                </c:pt>
                <c:pt idx="226">
                  <c:v>1.839117625110142</c:v>
                </c:pt>
                <c:pt idx="227">
                  <c:v>1.839117625110142</c:v>
                </c:pt>
                <c:pt idx="228">
                  <c:v>1.839117625110142</c:v>
                </c:pt>
                <c:pt idx="229">
                  <c:v>1.839117625110142</c:v>
                </c:pt>
                <c:pt idx="230">
                  <c:v>1.865448333901687</c:v>
                </c:pt>
                <c:pt idx="231">
                  <c:v>1.865448333901687</c:v>
                </c:pt>
                <c:pt idx="232">
                  <c:v>1.891779042693231</c:v>
                </c:pt>
                <c:pt idx="233">
                  <c:v>1.891779042693231</c:v>
                </c:pt>
                <c:pt idx="234">
                  <c:v>1.891779042693231</c:v>
                </c:pt>
                <c:pt idx="235">
                  <c:v>1.891779042693231</c:v>
                </c:pt>
                <c:pt idx="236">
                  <c:v>1.891779042693231</c:v>
                </c:pt>
                <c:pt idx="237">
                  <c:v>1.891779042693231</c:v>
                </c:pt>
                <c:pt idx="238">
                  <c:v>1.9181168201314329</c:v>
                </c:pt>
                <c:pt idx="239">
                  <c:v>1.9181168201314329</c:v>
                </c:pt>
                <c:pt idx="240">
                  <c:v>1.944454597569633</c:v>
                </c:pt>
                <c:pt idx="241">
                  <c:v>1.944454597569633</c:v>
                </c:pt>
                <c:pt idx="242">
                  <c:v>1.9707923750078351</c:v>
                </c:pt>
                <c:pt idx="243">
                  <c:v>1.9707923750078351</c:v>
                </c:pt>
                <c:pt idx="244">
                  <c:v>1.9971372305910171</c:v>
                </c:pt>
                <c:pt idx="245">
                  <c:v>1.9971372305910171</c:v>
                </c:pt>
                <c:pt idx="246">
                  <c:v>2.0234820861741891</c:v>
                </c:pt>
                <c:pt idx="247">
                  <c:v>2.0234820861741891</c:v>
                </c:pt>
                <c:pt idx="248">
                  <c:v>2.049826941757372</c:v>
                </c:pt>
                <c:pt idx="249">
                  <c:v>2.049826941757372</c:v>
                </c:pt>
                <c:pt idx="250">
                  <c:v>2.0761717973405429</c:v>
                </c:pt>
                <c:pt idx="251">
                  <c:v>2.0761717973405429</c:v>
                </c:pt>
                <c:pt idx="252">
                  <c:v>2.0761717973405429</c:v>
                </c:pt>
                <c:pt idx="253">
                  <c:v>2.0761717973405429</c:v>
                </c:pt>
                <c:pt idx="254">
                  <c:v>2.1288615085068971</c:v>
                </c:pt>
                <c:pt idx="255">
                  <c:v>2.1288615085068971</c:v>
                </c:pt>
                <c:pt idx="256">
                  <c:v>2.1815654064559991</c:v>
                </c:pt>
                <c:pt idx="257">
                  <c:v>2.1815654064559991</c:v>
                </c:pt>
                <c:pt idx="258">
                  <c:v>2.2342693044051121</c:v>
                </c:pt>
                <c:pt idx="259">
                  <c:v>2.2342693044051121</c:v>
                </c:pt>
                <c:pt idx="260">
                  <c:v>2.2606283582459308</c:v>
                </c:pt>
                <c:pt idx="261">
                  <c:v>2.2606283582459308</c:v>
                </c:pt>
                <c:pt idx="262">
                  <c:v>2.286987412086749</c:v>
                </c:pt>
                <c:pt idx="263">
                  <c:v>2.286987412086749</c:v>
                </c:pt>
                <c:pt idx="264">
                  <c:v>2.3133464659275682</c:v>
                </c:pt>
                <c:pt idx="265">
                  <c:v>2.3133464659275682</c:v>
                </c:pt>
                <c:pt idx="266">
                  <c:v>2.3397055197683869</c:v>
                </c:pt>
                <c:pt idx="267">
                  <c:v>2.3397055197683869</c:v>
                </c:pt>
                <c:pt idx="268">
                  <c:v>2.3397055197683869</c:v>
                </c:pt>
                <c:pt idx="269">
                  <c:v>2.3397055197683869</c:v>
                </c:pt>
                <c:pt idx="270">
                  <c:v>2.3660645736092039</c:v>
                </c:pt>
                <c:pt idx="271">
                  <c:v>2.3660645736092039</c:v>
                </c:pt>
                <c:pt idx="272">
                  <c:v>2.3924236274500239</c:v>
                </c:pt>
                <c:pt idx="273">
                  <c:v>2.3924236274500239</c:v>
                </c:pt>
                <c:pt idx="274">
                  <c:v>2.3924236274500239</c:v>
                </c:pt>
                <c:pt idx="275">
                  <c:v>2.4187826812908431</c:v>
                </c:pt>
                <c:pt idx="276">
                  <c:v>2.4187826812908431</c:v>
                </c:pt>
                <c:pt idx="277">
                  <c:v>2.4451417351316622</c:v>
                </c:pt>
                <c:pt idx="278">
                  <c:v>2.4451417351316622</c:v>
                </c:pt>
                <c:pt idx="279">
                  <c:v>2.4715007889724809</c:v>
                </c:pt>
                <c:pt idx="280">
                  <c:v>2.4715007889724809</c:v>
                </c:pt>
                <c:pt idx="281">
                  <c:v>2.4978669688078492</c:v>
                </c:pt>
                <c:pt idx="282">
                  <c:v>2.4978669688078492</c:v>
                </c:pt>
                <c:pt idx="283">
                  <c:v>2.4978669688078492</c:v>
                </c:pt>
                <c:pt idx="284">
                  <c:v>2.524233148643217</c:v>
                </c:pt>
                <c:pt idx="285">
                  <c:v>2.524233148643217</c:v>
                </c:pt>
                <c:pt idx="286">
                  <c:v>2.5505993284785862</c:v>
                </c:pt>
                <c:pt idx="287">
                  <c:v>2.5505993284785862</c:v>
                </c:pt>
                <c:pt idx="288">
                  <c:v>2.5769655083139562</c:v>
                </c:pt>
                <c:pt idx="289">
                  <c:v>2.5769655083139562</c:v>
                </c:pt>
                <c:pt idx="290">
                  <c:v>2.6033316881493249</c:v>
                </c:pt>
                <c:pt idx="291">
                  <c:v>2.6033316881493249</c:v>
                </c:pt>
                <c:pt idx="292">
                  <c:v>2.6033316881493249</c:v>
                </c:pt>
                <c:pt idx="293">
                  <c:v>2.6033316881493249</c:v>
                </c:pt>
                <c:pt idx="294">
                  <c:v>2.6033316881493249</c:v>
                </c:pt>
                <c:pt idx="295">
                  <c:v>2.6296978679846919</c:v>
                </c:pt>
                <c:pt idx="296">
                  <c:v>2.6296978679846919</c:v>
                </c:pt>
                <c:pt idx="297">
                  <c:v>2.6560640478200619</c:v>
                </c:pt>
                <c:pt idx="298">
                  <c:v>2.6560640478200619</c:v>
                </c:pt>
                <c:pt idx="299">
                  <c:v>2.6824302276554302</c:v>
                </c:pt>
                <c:pt idx="300">
                  <c:v>2.6824302276554302</c:v>
                </c:pt>
                <c:pt idx="301">
                  <c:v>2.7087964074908002</c:v>
                </c:pt>
                <c:pt idx="302">
                  <c:v>2.7087964074908002</c:v>
                </c:pt>
                <c:pt idx="303">
                  <c:v>2.7087964074908002</c:v>
                </c:pt>
                <c:pt idx="304">
                  <c:v>2.7351625873261671</c:v>
                </c:pt>
                <c:pt idx="305">
                  <c:v>2.7351625873261671</c:v>
                </c:pt>
                <c:pt idx="306">
                  <c:v>2.7615287671615372</c:v>
                </c:pt>
                <c:pt idx="307">
                  <c:v>2.7615287671615372</c:v>
                </c:pt>
                <c:pt idx="308">
                  <c:v>2.787894946996905</c:v>
                </c:pt>
                <c:pt idx="309">
                  <c:v>2.787894946996905</c:v>
                </c:pt>
                <c:pt idx="310">
                  <c:v>2.787894946996905</c:v>
                </c:pt>
                <c:pt idx="311">
                  <c:v>2.787894946996905</c:v>
                </c:pt>
                <c:pt idx="312">
                  <c:v>2.787894946996905</c:v>
                </c:pt>
                <c:pt idx="313">
                  <c:v>2.787894946996905</c:v>
                </c:pt>
                <c:pt idx="314">
                  <c:v>2.787894946996905</c:v>
                </c:pt>
                <c:pt idx="315">
                  <c:v>2.840655926672885</c:v>
                </c:pt>
                <c:pt idx="316">
                  <c:v>2.840655926672885</c:v>
                </c:pt>
                <c:pt idx="317">
                  <c:v>2.867036416510881</c:v>
                </c:pt>
                <c:pt idx="318">
                  <c:v>2.867036416510881</c:v>
                </c:pt>
                <c:pt idx="319">
                  <c:v>2.893416906348877</c:v>
                </c:pt>
                <c:pt idx="320">
                  <c:v>2.893416906348877</c:v>
                </c:pt>
                <c:pt idx="321">
                  <c:v>2.893416906348877</c:v>
                </c:pt>
                <c:pt idx="322">
                  <c:v>2.9198045647982318</c:v>
                </c:pt>
                <c:pt idx="323">
                  <c:v>2.9198045647982318</c:v>
                </c:pt>
                <c:pt idx="324">
                  <c:v>2.9725798816969582</c:v>
                </c:pt>
                <c:pt idx="325">
                  <c:v>2.9725798816969582</c:v>
                </c:pt>
                <c:pt idx="326">
                  <c:v>2.9989675401463129</c:v>
                </c:pt>
                <c:pt idx="327">
                  <c:v>2.9989675401463129</c:v>
                </c:pt>
                <c:pt idx="328">
                  <c:v>2.9989675401463129</c:v>
                </c:pt>
                <c:pt idx="329">
                  <c:v>2.9989675401463129</c:v>
                </c:pt>
                <c:pt idx="330">
                  <c:v>2.9989675401463129</c:v>
                </c:pt>
                <c:pt idx="331">
                  <c:v>2.9989675401463129</c:v>
                </c:pt>
                <c:pt idx="332">
                  <c:v>2.9989675401463129</c:v>
                </c:pt>
                <c:pt idx="333">
                  <c:v>2.9989675401463129</c:v>
                </c:pt>
                <c:pt idx="334">
                  <c:v>2.9989675401463129</c:v>
                </c:pt>
                <c:pt idx="335">
                  <c:v>3.0253623789109012</c:v>
                </c:pt>
                <c:pt idx="336">
                  <c:v>3.0253623789109012</c:v>
                </c:pt>
                <c:pt idx="337">
                  <c:v>3.0253623789109012</c:v>
                </c:pt>
                <c:pt idx="338">
                  <c:v>3.0253623789109012</c:v>
                </c:pt>
                <c:pt idx="339">
                  <c:v>3.0517572176754881</c:v>
                </c:pt>
                <c:pt idx="340">
                  <c:v>3.0517572176754881</c:v>
                </c:pt>
                <c:pt idx="341">
                  <c:v>3.0517572176754881</c:v>
                </c:pt>
                <c:pt idx="342">
                  <c:v>3.0517572176754881</c:v>
                </c:pt>
                <c:pt idx="343">
                  <c:v>3.0517572176754881</c:v>
                </c:pt>
                <c:pt idx="344">
                  <c:v>3.0781520564400751</c:v>
                </c:pt>
                <c:pt idx="345">
                  <c:v>3.0781520564400751</c:v>
                </c:pt>
                <c:pt idx="346">
                  <c:v>3.0781520564400751</c:v>
                </c:pt>
                <c:pt idx="347">
                  <c:v>3.104546895204662</c:v>
                </c:pt>
                <c:pt idx="348">
                  <c:v>3.104546895204662</c:v>
                </c:pt>
                <c:pt idx="349">
                  <c:v>3.104546895204662</c:v>
                </c:pt>
                <c:pt idx="350">
                  <c:v>3.104546895204662</c:v>
                </c:pt>
                <c:pt idx="351">
                  <c:v>3.1309417339692489</c:v>
                </c:pt>
                <c:pt idx="352">
                  <c:v>3.1309417339692489</c:v>
                </c:pt>
                <c:pt idx="353">
                  <c:v>3.1309417339692489</c:v>
                </c:pt>
                <c:pt idx="354">
                  <c:v>3.1309417339692489</c:v>
                </c:pt>
                <c:pt idx="355">
                  <c:v>3.1309417339692489</c:v>
                </c:pt>
                <c:pt idx="356">
                  <c:v>3.1309417339692489</c:v>
                </c:pt>
                <c:pt idx="357">
                  <c:v>3.1573437667482218</c:v>
                </c:pt>
                <c:pt idx="358">
                  <c:v>3.1573437667482218</c:v>
                </c:pt>
                <c:pt idx="359">
                  <c:v>3.210147832306153</c:v>
                </c:pt>
                <c:pt idx="360">
                  <c:v>3.210147832306153</c:v>
                </c:pt>
                <c:pt idx="361">
                  <c:v>3.210147832306153</c:v>
                </c:pt>
                <c:pt idx="362">
                  <c:v>3.210147832306153</c:v>
                </c:pt>
                <c:pt idx="363">
                  <c:v>3.210147832306153</c:v>
                </c:pt>
                <c:pt idx="364">
                  <c:v>3.2365570689139931</c:v>
                </c:pt>
                <c:pt idx="365">
                  <c:v>3.2365570689139931</c:v>
                </c:pt>
                <c:pt idx="366">
                  <c:v>3.262966305521819</c:v>
                </c:pt>
                <c:pt idx="367">
                  <c:v>3.262966305521819</c:v>
                </c:pt>
                <c:pt idx="368">
                  <c:v>3.2893755421296458</c:v>
                </c:pt>
                <c:pt idx="369">
                  <c:v>3.2893755421296458</c:v>
                </c:pt>
                <c:pt idx="370">
                  <c:v>3.3421940153453118</c:v>
                </c:pt>
                <c:pt idx="371">
                  <c:v>3.3421940153453118</c:v>
                </c:pt>
                <c:pt idx="372">
                  <c:v>3.3686032519531399</c:v>
                </c:pt>
                <c:pt idx="373">
                  <c:v>3.3686032519531399</c:v>
                </c:pt>
                <c:pt idx="374">
                  <c:v>3.3686032519531399</c:v>
                </c:pt>
                <c:pt idx="375">
                  <c:v>3.3686032519531399</c:v>
                </c:pt>
                <c:pt idx="376">
                  <c:v>3.4214361643358879</c:v>
                </c:pt>
                <c:pt idx="377">
                  <c:v>3.4214361643358879</c:v>
                </c:pt>
                <c:pt idx="378">
                  <c:v>3.474269076718639</c:v>
                </c:pt>
                <c:pt idx="379">
                  <c:v>3.474269076718639</c:v>
                </c:pt>
                <c:pt idx="380">
                  <c:v>3.5271019891013902</c:v>
                </c:pt>
                <c:pt idx="381">
                  <c:v>3.5271019891013902</c:v>
                </c:pt>
                <c:pt idx="382">
                  <c:v>3.55351844529276</c:v>
                </c:pt>
                <c:pt idx="383">
                  <c:v>3.55351844529276</c:v>
                </c:pt>
                <c:pt idx="384">
                  <c:v>3.55351844529276</c:v>
                </c:pt>
                <c:pt idx="385">
                  <c:v>3.55351844529276</c:v>
                </c:pt>
                <c:pt idx="386">
                  <c:v>3.55351844529276</c:v>
                </c:pt>
                <c:pt idx="387">
                  <c:v>3.55351844529276</c:v>
                </c:pt>
                <c:pt idx="388">
                  <c:v>3.5799349014841262</c:v>
                </c:pt>
                <c:pt idx="389">
                  <c:v>3.5799349014841262</c:v>
                </c:pt>
                <c:pt idx="390">
                  <c:v>3.5799349014841262</c:v>
                </c:pt>
                <c:pt idx="391">
                  <c:v>3.5799349014841262</c:v>
                </c:pt>
                <c:pt idx="392">
                  <c:v>3.6063513576755071</c:v>
                </c:pt>
                <c:pt idx="393">
                  <c:v>3.6063513576755071</c:v>
                </c:pt>
                <c:pt idx="394">
                  <c:v>3.632767813866876</c:v>
                </c:pt>
                <c:pt idx="395">
                  <c:v>3.632767813866876</c:v>
                </c:pt>
                <c:pt idx="396">
                  <c:v>3.632767813866876</c:v>
                </c:pt>
                <c:pt idx="397">
                  <c:v>3.632767813866876</c:v>
                </c:pt>
                <c:pt idx="398">
                  <c:v>3.6591842700582569</c:v>
                </c:pt>
                <c:pt idx="399">
                  <c:v>3.6591842700582569</c:v>
                </c:pt>
                <c:pt idx="400">
                  <c:v>3.6591842700582569</c:v>
                </c:pt>
                <c:pt idx="401">
                  <c:v>3.6591842700582569</c:v>
                </c:pt>
                <c:pt idx="402">
                  <c:v>3.6591842700582569</c:v>
                </c:pt>
                <c:pt idx="403">
                  <c:v>3.6591842700582569</c:v>
                </c:pt>
                <c:pt idx="404">
                  <c:v>3.6856007262496262</c:v>
                </c:pt>
                <c:pt idx="405">
                  <c:v>3.6856007262496262</c:v>
                </c:pt>
                <c:pt idx="406">
                  <c:v>3.7120171824410089</c:v>
                </c:pt>
                <c:pt idx="407">
                  <c:v>3.7120171824410089</c:v>
                </c:pt>
                <c:pt idx="408">
                  <c:v>3.7120171824410089</c:v>
                </c:pt>
                <c:pt idx="409">
                  <c:v>3.7120171824410089</c:v>
                </c:pt>
                <c:pt idx="410">
                  <c:v>3.7120171824410089</c:v>
                </c:pt>
                <c:pt idx="411">
                  <c:v>3.7384336386323751</c:v>
                </c:pt>
                <c:pt idx="412">
                  <c:v>3.7384336386323751</c:v>
                </c:pt>
                <c:pt idx="413">
                  <c:v>3.7912665510151262</c:v>
                </c:pt>
                <c:pt idx="414">
                  <c:v>3.7912665510151262</c:v>
                </c:pt>
                <c:pt idx="415">
                  <c:v>3.7912665510151262</c:v>
                </c:pt>
                <c:pt idx="416">
                  <c:v>3.817690262481475</c:v>
                </c:pt>
                <c:pt idx="417">
                  <c:v>3.817690262481475</c:v>
                </c:pt>
                <c:pt idx="418">
                  <c:v>3.8441139739478252</c:v>
                </c:pt>
                <c:pt idx="419">
                  <c:v>3.8441139739478252</c:v>
                </c:pt>
                <c:pt idx="420">
                  <c:v>3.8705376854141749</c:v>
                </c:pt>
                <c:pt idx="421">
                  <c:v>3.8705376854141749</c:v>
                </c:pt>
                <c:pt idx="422">
                  <c:v>3.8705376854141749</c:v>
                </c:pt>
                <c:pt idx="423">
                  <c:v>3.8705376854141749</c:v>
                </c:pt>
                <c:pt idx="424">
                  <c:v>3.8705376854141749</c:v>
                </c:pt>
                <c:pt idx="425">
                  <c:v>3.8705376854141749</c:v>
                </c:pt>
                <c:pt idx="426">
                  <c:v>3.8969613968805259</c:v>
                </c:pt>
                <c:pt idx="427">
                  <c:v>3.8969613968805259</c:v>
                </c:pt>
                <c:pt idx="428">
                  <c:v>3.923392375594259</c:v>
                </c:pt>
                <c:pt idx="429">
                  <c:v>3.923392375594259</c:v>
                </c:pt>
                <c:pt idx="430">
                  <c:v>3.923392375594259</c:v>
                </c:pt>
                <c:pt idx="431">
                  <c:v>3.923392375594259</c:v>
                </c:pt>
                <c:pt idx="432">
                  <c:v>3.9762543330217208</c:v>
                </c:pt>
                <c:pt idx="433">
                  <c:v>3.9762543330217208</c:v>
                </c:pt>
                <c:pt idx="434">
                  <c:v>3.9762543330217208</c:v>
                </c:pt>
                <c:pt idx="435">
                  <c:v>3.9762543330217208</c:v>
                </c:pt>
                <c:pt idx="436">
                  <c:v>4.0026853117354539</c:v>
                </c:pt>
                <c:pt idx="437">
                  <c:v>4.0026853117354539</c:v>
                </c:pt>
                <c:pt idx="438">
                  <c:v>4.0026853117354539</c:v>
                </c:pt>
                <c:pt idx="439">
                  <c:v>4.0291162904491884</c:v>
                </c:pt>
                <c:pt idx="440">
                  <c:v>4.0291162904491884</c:v>
                </c:pt>
                <c:pt idx="441">
                  <c:v>4.0555472691629166</c:v>
                </c:pt>
                <c:pt idx="442">
                  <c:v>4.0555472691629166</c:v>
                </c:pt>
                <c:pt idx="443">
                  <c:v>4.0819782478766493</c:v>
                </c:pt>
                <c:pt idx="444">
                  <c:v>4.0819782478766493</c:v>
                </c:pt>
                <c:pt idx="445">
                  <c:v>4.1084165118656539</c:v>
                </c:pt>
                <c:pt idx="446">
                  <c:v>4.1084165118656539</c:v>
                </c:pt>
                <c:pt idx="447">
                  <c:v>4.1612930398436729</c:v>
                </c:pt>
                <c:pt idx="448">
                  <c:v>4.1612930398436729</c:v>
                </c:pt>
                <c:pt idx="449">
                  <c:v>4.1877313038326873</c:v>
                </c:pt>
                <c:pt idx="450">
                  <c:v>4.1877313038326873</c:v>
                </c:pt>
                <c:pt idx="451">
                  <c:v>4.1877313038326873</c:v>
                </c:pt>
                <c:pt idx="452">
                  <c:v>4.1877313038326873</c:v>
                </c:pt>
                <c:pt idx="453">
                  <c:v>4.2141841665317958</c:v>
                </c:pt>
                <c:pt idx="454">
                  <c:v>4.2141841665317958</c:v>
                </c:pt>
                <c:pt idx="455">
                  <c:v>4.2141841665317958</c:v>
                </c:pt>
                <c:pt idx="456">
                  <c:v>4.2141841665317958</c:v>
                </c:pt>
                <c:pt idx="457">
                  <c:v>4.2141841665317958</c:v>
                </c:pt>
                <c:pt idx="458">
                  <c:v>4.2406443366515347</c:v>
                </c:pt>
                <c:pt idx="459">
                  <c:v>4.2406443366515347</c:v>
                </c:pt>
                <c:pt idx="460">
                  <c:v>4.2406443366515347</c:v>
                </c:pt>
                <c:pt idx="461">
                  <c:v>4.2406443366515347</c:v>
                </c:pt>
                <c:pt idx="462">
                  <c:v>4.2671045067712781</c:v>
                </c:pt>
                <c:pt idx="463">
                  <c:v>4.2671045067712781</c:v>
                </c:pt>
                <c:pt idx="464">
                  <c:v>4.2935646768910258</c:v>
                </c:pt>
                <c:pt idx="465">
                  <c:v>4.2935646768910258</c:v>
                </c:pt>
                <c:pt idx="466">
                  <c:v>4.2935646768910258</c:v>
                </c:pt>
                <c:pt idx="467">
                  <c:v>4.2935646768910258</c:v>
                </c:pt>
                <c:pt idx="468">
                  <c:v>4.3200248470107594</c:v>
                </c:pt>
                <c:pt idx="469">
                  <c:v>4.3200248470107594</c:v>
                </c:pt>
                <c:pt idx="470">
                  <c:v>4.3200248470107594</c:v>
                </c:pt>
                <c:pt idx="471">
                  <c:v>4.3200248470107594</c:v>
                </c:pt>
                <c:pt idx="472">
                  <c:v>4.3464850171304974</c:v>
                </c:pt>
                <c:pt idx="473">
                  <c:v>4.3464850171304974</c:v>
                </c:pt>
                <c:pt idx="474">
                  <c:v>4.3464850171304974</c:v>
                </c:pt>
                <c:pt idx="475">
                  <c:v>4.3464850171304974</c:v>
                </c:pt>
                <c:pt idx="476">
                  <c:v>4.3729525088247012</c:v>
                </c:pt>
                <c:pt idx="477">
                  <c:v>4.3729525088247012</c:v>
                </c:pt>
                <c:pt idx="478">
                  <c:v>4.3729525088247012</c:v>
                </c:pt>
                <c:pt idx="479">
                  <c:v>4.3729525088247012</c:v>
                </c:pt>
                <c:pt idx="480">
                  <c:v>4.3994200005189166</c:v>
                </c:pt>
                <c:pt idx="481">
                  <c:v>4.3994200005189166</c:v>
                </c:pt>
                <c:pt idx="482">
                  <c:v>4.3994200005189166</c:v>
                </c:pt>
                <c:pt idx="483">
                  <c:v>4.3994200005189166</c:v>
                </c:pt>
                <c:pt idx="484">
                  <c:v>4.425887492213131</c:v>
                </c:pt>
                <c:pt idx="485">
                  <c:v>4.425887492213131</c:v>
                </c:pt>
                <c:pt idx="486">
                  <c:v>4.425887492213131</c:v>
                </c:pt>
                <c:pt idx="487">
                  <c:v>4.425887492213131</c:v>
                </c:pt>
                <c:pt idx="488">
                  <c:v>4.4523549839073349</c:v>
                </c:pt>
                <c:pt idx="489">
                  <c:v>4.4523549839073349</c:v>
                </c:pt>
                <c:pt idx="490">
                  <c:v>4.4523549839073349</c:v>
                </c:pt>
                <c:pt idx="491">
                  <c:v>4.4523549839073349</c:v>
                </c:pt>
                <c:pt idx="492">
                  <c:v>4.4523549839073349</c:v>
                </c:pt>
                <c:pt idx="493">
                  <c:v>4.4523549839073349</c:v>
                </c:pt>
                <c:pt idx="494">
                  <c:v>4.4523549839073349</c:v>
                </c:pt>
                <c:pt idx="495">
                  <c:v>4.4523549839073349</c:v>
                </c:pt>
                <c:pt idx="496">
                  <c:v>4.4523549839073349</c:v>
                </c:pt>
                <c:pt idx="497">
                  <c:v>4.4523549839073349</c:v>
                </c:pt>
                <c:pt idx="498">
                  <c:v>4.4523549839073349</c:v>
                </c:pt>
                <c:pt idx="499">
                  <c:v>4.4523549839073349</c:v>
                </c:pt>
                <c:pt idx="500">
                  <c:v>4.4523549839073349</c:v>
                </c:pt>
                <c:pt idx="501">
                  <c:v>4.4523549839073349</c:v>
                </c:pt>
                <c:pt idx="502">
                  <c:v>4.4523549839073349</c:v>
                </c:pt>
                <c:pt idx="503">
                  <c:v>4.4788444890407124</c:v>
                </c:pt>
                <c:pt idx="504">
                  <c:v>4.4788444890407124</c:v>
                </c:pt>
                <c:pt idx="505">
                  <c:v>4.4788444890407124</c:v>
                </c:pt>
                <c:pt idx="506">
                  <c:v>4.4788444890407124</c:v>
                </c:pt>
                <c:pt idx="507">
                  <c:v>4.4788444890407124</c:v>
                </c:pt>
                <c:pt idx="508">
                  <c:v>4.4788444890407124</c:v>
                </c:pt>
                <c:pt idx="509">
                  <c:v>4.5053413421644279</c:v>
                </c:pt>
                <c:pt idx="510">
                  <c:v>4.5053413421644279</c:v>
                </c:pt>
                <c:pt idx="511">
                  <c:v>4.5318381952881301</c:v>
                </c:pt>
                <c:pt idx="512">
                  <c:v>4.5318381952881301</c:v>
                </c:pt>
                <c:pt idx="513">
                  <c:v>4.5318381952881301</c:v>
                </c:pt>
                <c:pt idx="514">
                  <c:v>4.5318381952881301</c:v>
                </c:pt>
                <c:pt idx="515">
                  <c:v>4.5318381952881301</c:v>
                </c:pt>
                <c:pt idx="516">
                  <c:v>4.5318381952881301</c:v>
                </c:pt>
                <c:pt idx="517">
                  <c:v>4.5318381952881301</c:v>
                </c:pt>
                <c:pt idx="518">
                  <c:v>4.5583350484118323</c:v>
                </c:pt>
                <c:pt idx="519">
                  <c:v>4.5583350484118323</c:v>
                </c:pt>
                <c:pt idx="520">
                  <c:v>4.5583350484118323</c:v>
                </c:pt>
                <c:pt idx="521">
                  <c:v>4.5583350484118323</c:v>
                </c:pt>
                <c:pt idx="522">
                  <c:v>4.5583350484118323</c:v>
                </c:pt>
                <c:pt idx="523">
                  <c:v>4.5583350484118323</c:v>
                </c:pt>
                <c:pt idx="524">
                  <c:v>4.5848319015355354</c:v>
                </c:pt>
                <c:pt idx="525">
                  <c:v>4.5848319015355354</c:v>
                </c:pt>
                <c:pt idx="526">
                  <c:v>4.5848319015355354</c:v>
                </c:pt>
                <c:pt idx="527">
                  <c:v>4.6113287546592403</c:v>
                </c:pt>
                <c:pt idx="528">
                  <c:v>4.6113287546592403</c:v>
                </c:pt>
                <c:pt idx="529">
                  <c:v>4.6378256077829496</c:v>
                </c:pt>
                <c:pt idx="530">
                  <c:v>4.6378256077829496</c:v>
                </c:pt>
                <c:pt idx="531">
                  <c:v>4.6643224609066536</c:v>
                </c:pt>
                <c:pt idx="532">
                  <c:v>4.6643224609066536</c:v>
                </c:pt>
                <c:pt idx="533">
                  <c:v>4.6643224609066536</c:v>
                </c:pt>
                <c:pt idx="534">
                  <c:v>4.6643224609066536</c:v>
                </c:pt>
                <c:pt idx="535">
                  <c:v>4.6643224609066536</c:v>
                </c:pt>
                <c:pt idx="536">
                  <c:v>4.6908266804059897</c:v>
                </c:pt>
                <c:pt idx="537">
                  <c:v>4.6908266804059897</c:v>
                </c:pt>
                <c:pt idx="538">
                  <c:v>4.7173308999053249</c:v>
                </c:pt>
                <c:pt idx="539">
                  <c:v>4.7173308999053249</c:v>
                </c:pt>
                <c:pt idx="540">
                  <c:v>4.7173308999053249</c:v>
                </c:pt>
                <c:pt idx="541">
                  <c:v>4.7438424939788133</c:v>
                </c:pt>
                <c:pt idx="542">
                  <c:v>4.7438424939788133</c:v>
                </c:pt>
                <c:pt idx="543">
                  <c:v>4.7703540880522883</c:v>
                </c:pt>
                <c:pt idx="544">
                  <c:v>4.7703540880522883</c:v>
                </c:pt>
                <c:pt idx="545">
                  <c:v>4.7968656821257722</c:v>
                </c:pt>
                <c:pt idx="546">
                  <c:v>4.7968656821257722</c:v>
                </c:pt>
                <c:pt idx="547">
                  <c:v>4.7968656821257722</c:v>
                </c:pt>
                <c:pt idx="548">
                  <c:v>4.7968656821257722</c:v>
                </c:pt>
                <c:pt idx="549">
                  <c:v>4.7968656821257722</c:v>
                </c:pt>
                <c:pt idx="550">
                  <c:v>4.7968656821257722</c:v>
                </c:pt>
                <c:pt idx="551">
                  <c:v>4.7968656821257722</c:v>
                </c:pt>
                <c:pt idx="552">
                  <c:v>4.7968656821257722</c:v>
                </c:pt>
                <c:pt idx="553">
                  <c:v>4.7968656821257722</c:v>
                </c:pt>
                <c:pt idx="554">
                  <c:v>4.7968656821257722</c:v>
                </c:pt>
                <c:pt idx="555">
                  <c:v>4.8233994430839324</c:v>
                </c:pt>
                <c:pt idx="556">
                  <c:v>4.8233994430839324</c:v>
                </c:pt>
                <c:pt idx="557">
                  <c:v>4.8233994430839324</c:v>
                </c:pt>
                <c:pt idx="558">
                  <c:v>4.849948006698134</c:v>
                </c:pt>
                <c:pt idx="559">
                  <c:v>4.849948006698134</c:v>
                </c:pt>
                <c:pt idx="560">
                  <c:v>4.87649657031234</c:v>
                </c:pt>
                <c:pt idx="561">
                  <c:v>4.87649657031234</c:v>
                </c:pt>
                <c:pt idx="562">
                  <c:v>4.87649657031234</c:v>
                </c:pt>
                <c:pt idx="563">
                  <c:v>4.87649657031234</c:v>
                </c:pt>
                <c:pt idx="564">
                  <c:v>4.9030599613845824</c:v>
                </c:pt>
                <c:pt idx="565">
                  <c:v>4.9030599613845824</c:v>
                </c:pt>
                <c:pt idx="566">
                  <c:v>4.9561867435290701</c:v>
                </c:pt>
                <c:pt idx="567">
                  <c:v>4.9561867435290701</c:v>
                </c:pt>
                <c:pt idx="568">
                  <c:v>4.9827575607659904</c:v>
                </c:pt>
                <c:pt idx="569">
                  <c:v>4.9827575607659904</c:v>
                </c:pt>
                <c:pt idx="570">
                  <c:v>4.9827575607659904</c:v>
                </c:pt>
                <c:pt idx="571">
                  <c:v>4.9827575607659904</c:v>
                </c:pt>
                <c:pt idx="572">
                  <c:v>4.9827575607659904</c:v>
                </c:pt>
                <c:pt idx="573">
                  <c:v>4.9827575607659904</c:v>
                </c:pt>
                <c:pt idx="574">
                  <c:v>4.9827575607659904</c:v>
                </c:pt>
                <c:pt idx="575">
                  <c:v>5.0093283780029196</c:v>
                </c:pt>
                <c:pt idx="576">
                  <c:v>5.0093283780029196</c:v>
                </c:pt>
                <c:pt idx="577">
                  <c:v>5.0358991952398382</c:v>
                </c:pt>
                <c:pt idx="578">
                  <c:v>5.0358991952398382</c:v>
                </c:pt>
                <c:pt idx="579">
                  <c:v>5.0624700124767577</c:v>
                </c:pt>
                <c:pt idx="580">
                  <c:v>5.0624700124767577</c:v>
                </c:pt>
                <c:pt idx="581">
                  <c:v>5.0624700124767577</c:v>
                </c:pt>
                <c:pt idx="582">
                  <c:v>5.0624700124767577</c:v>
                </c:pt>
                <c:pt idx="583">
                  <c:v>5.0624700124767577</c:v>
                </c:pt>
                <c:pt idx="584">
                  <c:v>5.0624700124767577</c:v>
                </c:pt>
                <c:pt idx="585">
                  <c:v>5.0624700124767577</c:v>
                </c:pt>
                <c:pt idx="586">
                  <c:v>5.089048268352327</c:v>
                </c:pt>
                <c:pt idx="587">
                  <c:v>5.089048268352327</c:v>
                </c:pt>
                <c:pt idx="588">
                  <c:v>5.089048268352327</c:v>
                </c:pt>
                <c:pt idx="589">
                  <c:v>5.089048268352327</c:v>
                </c:pt>
                <c:pt idx="590">
                  <c:v>5.1687830359790166</c:v>
                </c:pt>
                <c:pt idx="591">
                  <c:v>5.1687830359790166</c:v>
                </c:pt>
                <c:pt idx="592">
                  <c:v>5.1953687430056563</c:v>
                </c:pt>
                <c:pt idx="593">
                  <c:v>5.1953687430056563</c:v>
                </c:pt>
                <c:pt idx="594">
                  <c:v>5.1953687430056563</c:v>
                </c:pt>
                <c:pt idx="595">
                  <c:v>5.1953687430056563</c:v>
                </c:pt>
                <c:pt idx="596">
                  <c:v>5.1953687430056563</c:v>
                </c:pt>
                <c:pt idx="597">
                  <c:v>5.1953687430056563</c:v>
                </c:pt>
                <c:pt idx="598">
                  <c:v>5.2485401570589341</c:v>
                </c:pt>
                <c:pt idx="599">
                  <c:v>5.2485401570589341</c:v>
                </c:pt>
                <c:pt idx="600">
                  <c:v>5.2485401570589341</c:v>
                </c:pt>
                <c:pt idx="601">
                  <c:v>5.2751333256929378</c:v>
                </c:pt>
                <c:pt idx="602">
                  <c:v>5.2751333256929378</c:v>
                </c:pt>
                <c:pt idx="603">
                  <c:v>5.3017264943269407</c:v>
                </c:pt>
                <c:pt idx="604">
                  <c:v>5.3017264943269407</c:v>
                </c:pt>
                <c:pt idx="605">
                  <c:v>5.3017264943269407</c:v>
                </c:pt>
                <c:pt idx="606">
                  <c:v>5.3017264943269407</c:v>
                </c:pt>
                <c:pt idx="607">
                  <c:v>5.3549128315949472</c:v>
                </c:pt>
                <c:pt idx="608">
                  <c:v>5.3549128315949472</c:v>
                </c:pt>
                <c:pt idx="609">
                  <c:v>5.3815060002289528</c:v>
                </c:pt>
                <c:pt idx="610">
                  <c:v>5.3815060002289528</c:v>
                </c:pt>
                <c:pt idx="611">
                  <c:v>5.3815060002289528</c:v>
                </c:pt>
                <c:pt idx="612">
                  <c:v>5.3815060002289528</c:v>
                </c:pt>
                <c:pt idx="613">
                  <c:v>5.3815060002289528</c:v>
                </c:pt>
                <c:pt idx="614">
                  <c:v>5.3815060002289528</c:v>
                </c:pt>
                <c:pt idx="615">
                  <c:v>5.4347222510724658</c:v>
                </c:pt>
                <c:pt idx="616">
                  <c:v>5.4347222510724658</c:v>
                </c:pt>
                <c:pt idx="617">
                  <c:v>5.4347222510724658</c:v>
                </c:pt>
                <c:pt idx="618">
                  <c:v>5.4347222510724658</c:v>
                </c:pt>
                <c:pt idx="619">
                  <c:v>5.4347222510724658</c:v>
                </c:pt>
                <c:pt idx="620">
                  <c:v>5.4347222510724658</c:v>
                </c:pt>
                <c:pt idx="621">
                  <c:v>5.4347222510724658</c:v>
                </c:pt>
                <c:pt idx="622">
                  <c:v>5.4613303764942316</c:v>
                </c:pt>
                <c:pt idx="623">
                  <c:v>5.4613303764942316</c:v>
                </c:pt>
                <c:pt idx="624">
                  <c:v>5.4879385019159992</c:v>
                </c:pt>
                <c:pt idx="625">
                  <c:v>5.4879385019159992</c:v>
                </c:pt>
                <c:pt idx="626">
                  <c:v>5.4879385019159992</c:v>
                </c:pt>
                <c:pt idx="627">
                  <c:v>5.4879385019159992</c:v>
                </c:pt>
                <c:pt idx="628">
                  <c:v>5.514546627337757</c:v>
                </c:pt>
                <c:pt idx="629">
                  <c:v>5.514546627337757</c:v>
                </c:pt>
                <c:pt idx="630">
                  <c:v>5.514546627337757</c:v>
                </c:pt>
                <c:pt idx="631">
                  <c:v>5.541169747476582</c:v>
                </c:pt>
                <c:pt idx="632">
                  <c:v>5.541169747476582</c:v>
                </c:pt>
                <c:pt idx="633">
                  <c:v>5.541169747476582</c:v>
                </c:pt>
                <c:pt idx="634">
                  <c:v>5.541169747476582</c:v>
                </c:pt>
                <c:pt idx="635">
                  <c:v>5.541169747476582</c:v>
                </c:pt>
                <c:pt idx="636">
                  <c:v>5.5678078834756066</c:v>
                </c:pt>
                <c:pt idx="637">
                  <c:v>5.5678078834756066</c:v>
                </c:pt>
                <c:pt idx="638">
                  <c:v>5.5678078834756066</c:v>
                </c:pt>
                <c:pt idx="639">
                  <c:v>5.5678078834756066</c:v>
                </c:pt>
                <c:pt idx="640">
                  <c:v>5.5944535358786958</c:v>
                </c:pt>
                <c:pt idx="641">
                  <c:v>5.5944535358786958</c:v>
                </c:pt>
                <c:pt idx="642">
                  <c:v>5.5944535358786958</c:v>
                </c:pt>
                <c:pt idx="643">
                  <c:v>5.5944535358786958</c:v>
                </c:pt>
                <c:pt idx="644">
                  <c:v>5.621099188281776</c:v>
                </c:pt>
                <c:pt idx="645">
                  <c:v>5.621099188281776</c:v>
                </c:pt>
                <c:pt idx="646">
                  <c:v>5.6477448406848643</c:v>
                </c:pt>
                <c:pt idx="647">
                  <c:v>5.6477448406848643</c:v>
                </c:pt>
                <c:pt idx="648">
                  <c:v>5.6743904930879454</c:v>
                </c:pt>
                <c:pt idx="649">
                  <c:v>5.6743904930879454</c:v>
                </c:pt>
                <c:pt idx="650">
                  <c:v>5.7010361454910239</c:v>
                </c:pt>
                <c:pt idx="651">
                  <c:v>5.7010361454910239</c:v>
                </c:pt>
                <c:pt idx="652">
                  <c:v>5.7010361454910239</c:v>
                </c:pt>
                <c:pt idx="653">
                  <c:v>5.7010361454910239</c:v>
                </c:pt>
                <c:pt idx="654">
                  <c:v>5.7276817978941006</c:v>
                </c:pt>
                <c:pt idx="655">
                  <c:v>5.7276817978941006</c:v>
                </c:pt>
                <c:pt idx="656">
                  <c:v>5.7276817978941006</c:v>
                </c:pt>
                <c:pt idx="657">
                  <c:v>5.7276817978941006</c:v>
                </c:pt>
                <c:pt idx="658">
                  <c:v>5.7276817978941006</c:v>
                </c:pt>
                <c:pt idx="659">
                  <c:v>5.7276817978941006</c:v>
                </c:pt>
                <c:pt idx="660">
                  <c:v>5.7543274502971906</c:v>
                </c:pt>
                <c:pt idx="661">
                  <c:v>5.7543274502971906</c:v>
                </c:pt>
                <c:pt idx="662">
                  <c:v>5.7809731027002726</c:v>
                </c:pt>
                <c:pt idx="663">
                  <c:v>5.7809731027002726</c:v>
                </c:pt>
                <c:pt idx="664">
                  <c:v>5.7809731027002726</c:v>
                </c:pt>
                <c:pt idx="665">
                  <c:v>5.8076262927702302</c:v>
                </c:pt>
                <c:pt idx="666">
                  <c:v>5.8076262927702302</c:v>
                </c:pt>
                <c:pt idx="667">
                  <c:v>5.8342870269075782</c:v>
                </c:pt>
                <c:pt idx="668">
                  <c:v>5.8342870269075782</c:v>
                </c:pt>
                <c:pt idx="669">
                  <c:v>5.860947761044919</c:v>
                </c:pt>
                <c:pt idx="670">
                  <c:v>5.860947761044919</c:v>
                </c:pt>
                <c:pt idx="671">
                  <c:v>5.860947761044919</c:v>
                </c:pt>
                <c:pt idx="672">
                  <c:v>5.860947761044919</c:v>
                </c:pt>
                <c:pt idx="673">
                  <c:v>5.8876084951822616</c:v>
                </c:pt>
                <c:pt idx="674">
                  <c:v>5.8876084951822616</c:v>
                </c:pt>
                <c:pt idx="675">
                  <c:v>5.8876084951822616</c:v>
                </c:pt>
                <c:pt idx="676">
                  <c:v>5.8876084951822616</c:v>
                </c:pt>
                <c:pt idx="677">
                  <c:v>5.9142767840756658</c:v>
                </c:pt>
                <c:pt idx="678">
                  <c:v>5.9142767840756658</c:v>
                </c:pt>
                <c:pt idx="679">
                  <c:v>5.9409450729690727</c:v>
                </c:pt>
                <c:pt idx="680">
                  <c:v>5.9409450729690727</c:v>
                </c:pt>
                <c:pt idx="681">
                  <c:v>5.9676133618624787</c:v>
                </c:pt>
                <c:pt idx="682">
                  <c:v>5.9676133618624787</c:v>
                </c:pt>
                <c:pt idx="683">
                  <c:v>5.9942816507558803</c:v>
                </c:pt>
                <c:pt idx="684">
                  <c:v>5.9942816507558803</c:v>
                </c:pt>
                <c:pt idx="685">
                  <c:v>5.9942816507558803</c:v>
                </c:pt>
                <c:pt idx="686">
                  <c:v>6.0209499396492898</c:v>
                </c:pt>
                <c:pt idx="687">
                  <c:v>6.0209499396492898</c:v>
                </c:pt>
                <c:pt idx="688">
                  <c:v>6.0476182285426958</c:v>
                </c:pt>
                <c:pt idx="689">
                  <c:v>6.0476182285426958</c:v>
                </c:pt>
                <c:pt idx="690">
                  <c:v>6.0476182285426958</c:v>
                </c:pt>
                <c:pt idx="691">
                  <c:v>6.0476182285426958</c:v>
                </c:pt>
                <c:pt idx="692">
                  <c:v>6.0476182285426958</c:v>
                </c:pt>
                <c:pt idx="693">
                  <c:v>6.0476182285426958</c:v>
                </c:pt>
                <c:pt idx="694">
                  <c:v>6.0476182285426958</c:v>
                </c:pt>
                <c:pt idx="695">
                  <c:v>6.1276912811888176</c:v>
                </c:pt>
                <c:pt idx="696">
                  <c:v>6.1276912811888176</c:v>
                </c:pt>
                <c:pt idx="697">
                  <c:v>6.1276912811888176</c:v>
                </c:pt>
                <c:pt idx="698">
                  <c:v>6.1276912811888176</c:v>
                </c:pt>
                <c:pt idx="699">
                  <c:v>6.1276912811888176</c:v>
                </c:pt>
                <c:pt idx="700">
                  <c:v>6.1276912811888176</c:v>
                </c:pt>
                <c:pt idx="701">
                  <c:v>6.1276912811888176</c:v>
                </c:pt>
                <c:pt idx="702">
                  <c:v>6.1276912811888176</c:v>
                </c:pt>
                <c:pt idx="703">
                  <c:v>6.1276912811888176</c:v>
                </c:pt>
                <c:pt idx="704">
                  <c:v>6.1543974856607324</c:v>
                </c:pt>
                <c:pt idx="705">
                  <c:v>6.1543974856607324</c:v>
                </c:pt>
                <c:pt idx="706">
                  <c:v>6.1543974856607324</c:v>
                </c:pt>
                <c:pt idx="707">
                  <c:v>6.207809894604587</c:v>
                </c:pt>
                <c:pt idx="708">
                  <c:v>6.207809894604587</c:v>
                </c:pt>
                <c:pt idx="709">
                  <c:v>6.207809894604587</c:v>
                </c:pt>
                <c:pt idx="710">
                  <c:v>6.2345313162870291</c:v>
                </c:pt>
                <c:pt idx="711">
                  <c:v>6.2345313162870291</c:v>
                </c:pt>
                <c:pt idx="712">
                  <c:v>6.2345313162870291</c:v>
                </c:pt>
                <c:pt idx="713">
                  <c:v>6.2879893942138896</c:v>
                </c:pt>
                <c:pt idx="714">
                  <c:v>6.2879893942138896</c:v>
                </c:pt>
                <c:pt idx="715">
                  <c:v>6.3147184331773127</c:v>
                </c:pt>
                <c:pt idx="716">
                  <c:v>6.3147184331773127</c:v>
                </c:pt>
                <c:pt idx="717">
                  <c:v>6.3147184331773127</c:v>
                </c:pt>
                <c:pt idx="718">
                  <c:v>6.3147184331773127</c:v>
                </c:pt>
                <c:pt idx="719">
                  <c:v>6.3147184331773127</c:v>
                </c:pt>
                <c:pt idx="720">
                  <c:v>6.3147184331773127</c:v>
                </c:pt>
                <c:pt idx="721">
                  <c:v>6.3147184331773127</c:v>
                </c:pt>
                <c:pt idx="722">
                  <c:v>6.3147184331773127</c:v>
                </c:pt>
                <c:pt idx="723">
                  <c:v>6.3682070324161506</c:v>
                </c:pt>
                <c:pt idx="724">
                  <c:v>6.3682070324161506</c:v>
                </c:pt>
                <c:pt idx="725">
                  <c:v>6.3949513320355678</c:v>
                </c:pt>
                <c:pt idx="726">
                  <c:v>6.3949513320355678</c:v>
                </c:pt>
                <c:pt idx="727">
                  <c:v>6.3949513320355678</c:v>
                </c:pt>
                <c:pt idx="728">
                  <c:v>6.3949513320355678</c:v>
                </c:pt>
                <c:pt idx="729">
                  <c:v>6.3949513320355678</c:v>
                </c:pt>
                <c:pt idx="730">
                  <c:v>6.4217032750672818</c:v>
                </c:pt>
                <c:pt idx="731">
                  <c:v>6.4217032750672818</c:v>
                </c:pt>
                <c:pt idx="732">
                  <c:v>6.4217032750672818</c:v>
                </c:pt>
                <c:pt idx="733">
                  <c:v>6.4217032750672818</c:v>
                </c:pt>
                <c:pt idx="734">
                  <c:v>6.4217032750672818</c:v>
                </c:pt>
                <c:pt idx="735">
                  <c:v>6.4484628680684049</c:v>
                </c:pt>
                <c:pt idx="736">
                  <c:v>6.4484628680684049</c:v>
                </c:pt>
                <c:pt idx="737">
                  <c:v>6.5019820540706519</c:v>
                </c:pt>
                <c:pt idx="738">
                  <c:v>6.5019820540706519</c:v>
                </c:pt>
                <c:pt idx="739">
                  <c:v>6.5019820540706519</c:v>
                </c:pt>
                <c:pt idx="740">
                  <c:v>6.5287493079916104</c:v>
                </c:pt>
                <c:pt idx="741">
                  <c:v>6.5287493079916104</c:v>
                </c:pt>
                <c:pt idx="742">
                  <c:v>6.5287493079916104</c:v>
                </c:pt>
                <c:pt idx="743">
                  <c:v>6.5287493079916104</c:v>
                </c:pt>
                <c:pt idx="744">
                  <c:v>6.5287493079916104</c:v>
                </c:pt>
                <c:pt idx="745">
                  <c:v>6.5287493079916104</c:v>
                </c:pt>
                <c:pt idx="746">
                  <c:v>6.5287493079916104</c:v>
                </c:pt>
                <c:pt idx="747">
                  <c:v>6.5822838158335353</c:v>
                </c:pt>
                <c:pt idx="748">
                  <c:v>6.5822838158335353</c:v>
                </c:pt>
                <c:pt idx="749">
                  <c:v>6.5822838158335353</c:v>
                </c:pt>
                <c:pt idx="750">
                  <c:v>6.6626316221846</c:v>
                </c:pt>
                <c:pt idx="751">
                  <c:v>6.6626316221846</c:v>
                </c:pt>
                <c:pt idx="752">
                  <c:v>6.6894142243016148</c:v>
                </c:pt>
                <c:pt idx="753">
                  <c:v>6.6894142243016148</c:v>
                </c:pt>
                <c:pt idx="754">
                  <c:v>6.6894142243016148</c:v>
                </c:pt>
                <c:pt idx="755">
                  <c:v>6.6894142243016148</c:v>
                </c:pt>
                <c:pt idx="756">
                  <c:v>6.6894142243016148</c:v>
                </c:pt>
                <c:pt idx="757">
                  <c:v>6.7162122098776251</c:v>
                </c:pt>
                <c:pt idx="758">
                  <c:v>6.7162122098776251</c:v>
                </c:pt>
                <c:pt idx="759">
                  <c:v>6.7430101954536461</c:v>
                </c:pt>
                <c:pt idx="760">
                  <c:v>6.7430101954536461</c:v>
                </c:pt>
                <c:pt idx="761">
                  <c:v>6.7698081810296697</c:v>
                </c:pt>
                <c:pt idx="762">
                  <c:v>6.7698081810296697</c:v>
                </c:pt>
                <c:pt idx="763">
                  <c:v>6.7698081810296697</c:v>
                </c:pt>
                <c:pt idx="764">
                  <c:v>6.7698081810296697</c:v>
                </c:pt>
                <c:pt idx="765">
                  <c:v>6.7698081810296697</c:v>
                </c:pt>
                <c:pt idx="766">
                  <c:v>6.7698081810296697</c:v>
                </c:pt>
                <c:pt idx="767">
                  <c:v>6.7698081810296697</c:v>
                </c:pt>
                <c:pt idx="768">
                  <c:v>6.7698081810296697</c:v>
                </c:pt>
                <c:pt idx="769">
                  <c:v>6.7698081810296697</c:v>
                </c:pt>
                <c:pt idx="770">
                  <c:v>6.8234812908851472</c:v>
                </c:pt>
                <c:pt idx="771">
                  <c:v>6.8234812908851472</c:v>
                </c:pt>
                <c:pt idx="772">
                  <c:v>6.8503333135678899</c:v>
                </c:pt>
                <c:pt idx="773">
                  <c:v>6.8503333135678899</c:v>
                </c:pt>
                <c:pt idx="774">
                  <c:v>6.8503333135678899</c:v>
                </c:pt>
                <c:pt idx="775">
                  <c:v>6.8772318601132101</c:v>
                </c:pt>
                <c:pt idx="776">
                  <c:v>6.8772318601132101</c:v>
                </c:pt>
                <c:pt idx="777">
                  <c:v>6.9041381785587044</c:v>
                </c:pt>
                <c:pt idx="778">
                  <c:v>6.9041381785587044</c:v>
                </c:pt>
                <c:pt idx="779">
                  <c:v>6.9041381785587044</c:v>
                </c:pt>
                <c:pt idx="780">
                  <c:v>6.9041381785587044</c:v>
                </c:pt>
                <c:pt idx="781">
                  <c:v>6.9041381785587044</c:v>
                </c:pt>
                <c:pt idx="782">
                  <c:v>6.9041381785587044</c:v>
                </c:pt>
                <c:pt idx="783">
                  <c:v>6.9041381785587044</c:v>
                </c:pt>
                <c:pt idx="784">
                  <c:v>6.9311381384837141</c:v>
                </c:pt>
                <c:pt idx="785">
                  <c:v>6.9311381384837141</c:v>
                </c:pt>
                <c:pt idx="786">
                  <c:v>6.9311381384837141</c:v>
                </c:pt>
                <c:pt idx="787">
                  <c:v>6.9311381384837141</c:v>
                </c:pt>
                <c:pt idx="788">
                  <c:v>6.9582403114195159</c:v>
                </c:pt>
                <c:pt idx="789">
                  <c:v>6.9582403114195159</c:v>
                </c:pt>
                <c:pt idx="790">
                  <c:v>6.9582403114195159</c:v>
                </c:pt>
                <c:pt idx="791">
                  <c:v>6.9582403114195159</c:v>
                </c:pt>
                <c:pt idx="792">
                  <c:v>6.9582403114195159</c:v>
                </c:pt>
                <c:pt idx="793">
                  <c:v>6.9855412972436337</c:v>
                </c:pt>
                <c:pt idx="794">
                  <c:v>6.9855412972436337</c:v>
                </c:pt>
                <c:pt idx="795">
                  <c:v>6.9855412972436337</c:v>
                </c:pt>
                <c:pt idx="796">
                  <c:v>6.9855412972436337</c:v>
                </c:pt>
                <c:pt idx="797">
                  <c:v>6.9855412972436337</c:v>
                </c:pt>
                <c:pt idx="798">
                  <c:v>6.9855412972436337</c:v>
                </c:pt>
                <c:pt idx="799">
                  <c:v>6.9855412972436337</c:v>
                </c:pt>
                <c:pt idx="800">
                  <c:v>6.9855412972436337</c:v>
                </c:pt>
                <c:pt idx="801">
                  <c:v>6.9855412972436337</c:v>
                </c:pt>
                <c:pt idx="802">
                  <c:v>6.9855412972436337</c:v>
                </c:pt>
                <c:pt idx="803">
                  <c:v>6.9855412972436337</c:v>
                </c:pt>
                <c:pt idx="804">
                  <c:v>6.9855412972436337</c:v>
                </c:pt>
                <c:pt idx="805">
                  <c:v>7.0135577004673513</c:v>
                </c:pt>
                <c:pt idx="806">
                  <c:v>7.0135577004673513</c:v>
                </c:pt>
                <c:pt idx="807">
                  <c:v>7.0135577004673513</c:v>
                </c:pt>
                <c:pt idx="808">
                  <c:v>7.0135577004673513</c:v>
                </c:pt>
                <c:pt idx="809">
                  <c:v>7.0135577004673513</c:v>
                </c:pt>
                <c:pt idx="810">
                  <c:v>7.0703259802594971</c:v>
                </c:pt>
                <c:pt idx="811">
                  <c:v>7.0703259802594971</c:v>
                </c:pt>
                <c:pt idx="812">
                  <c:v>7.0703259802594971</c:v>
                </c:pt>
                <c:pt idx="813">
                  <c:v>7.0703259802594971</c:v>
                </c:pt>
                <c:pt idx="814">
                  <c:v>7.0703259802594971</c:v>
                </c:pt>
                <c:pt idx="815">
                  <c:v>7.0703259802594971</c:v>
                </c:pt>
                <c:pt idx="816">
                  <c:v>7.0992220231760763</c:v>
                </c:pt>
                <c:pt idx="817">
                  <c:v>7.0992220231760763</c:v>
                </c:pt>
                <c:pt idx="818">
                  <c:v>7.0992220231760763</c:v>
                </c:pt>
                <c:pt idx="819">
                  <c:v>7.1284177422134212</c:v>
                </c:pt>
                <c:pt idx="820">
                  <c:v>7.1284177422134212</c:v>
                </c:pt>
                <c:pt idx="821">
                  <c:v>7.1284177422134212</c:v>
                </c:pt>
                <c:pt idx="822">
                  <c:v>7.1284177422134212</c:v>
                </c:pt>
                <c:pt idx="823">
                  <c:v>7.1284177422134212</c:v>
                </c:pt>
                <c:pt idx="824">
                  <c:v>7.1284177422134212</c:v>
                </c:pt>
                <c:pt idx="825">
                  <c:v>7.1284177422134212</c:v>
                </c:pt>
                <c:pt idx="826">
                  <c:v>7.1284177422134212</c:v>
                </c:pt>
                <c:pt idx="827">
                  <c:v>7.1584635468908004</c:v>
                </c:pt>
                <c:pt idx="828">
                  <c:v>7.1584635468908004</c:v>
                </c:pt>
                <c:pt idx="829">
                  <c:v>7.1584635468908004</c:v>
                </c:pt>
                <c:pt idx="830">
                  <c:v>7.1584635468908004</c:v>
                </c:pt>
                <c:pt idx="831">
                  <c:v>7.1584635468908004</c:v>
                </c:pt>
                <c:pt idx="832">
                  <c:v>7.1584635468908004</c:v>
                </c:pt>
                <c:pt idx="833">
                  <c:v>7.1584635468908004</c:v>
                </c:pt>
                <c:pt idx="834">
                  <c:v>7.1584635468908004</c:v>
                </c:pt>
                <c:pt idx="835">
                  <c:v>7.1584635468908004</c:v>
                </c:pt>
                <c:pt idx="836">
                  <c:v>7.1584635468908004</c:v>
                </c:pt>
                <c:pt idx="837">
                  <c:v>7.1584635468908004</c:v>
                </c:pt>
                <c:pt idx="838">
                  <c:v>7.1584635468908004</c:v>
                </c:pt>
                <c:pt idx="839">
                  <c:v>7.1584635468908004</c:v>
                </c:pt>
                <c:pt idx="840">
                  <c:v>7.1584635468908004</c:v>
                </c:pt>
                <c:pt idx="841">
                  <c:v>7.1584635468908004</c:v>
                </c:pt>
                <c:pt idx="842">
                  <c:v>7.1584635468908004</c:v>
                </c:pt>
                <c:pt idx="843">
                  <c:v>7.1899566053891482</c:v>
                </c:pt>
                <c:pt idx="844">
                  <c:v>7.1899566053891482</c:v>
                </c:pt>
                <c:pt idx="845">
                  <c:v>7.2215676555916666</c:v>
                </c:pt>
                <c:pt idx="846">
                  <c:v>7.2215676555916666</c:v>
                </c:pt>
                <c:pt idx="847">
                  <c:v>7.2215676555916666</c:v>
                </c:pt>
                <c:pt idx="848">
                  <c:v>7.2215676555916666</c:v>
                </c:pt>
                <c:pt idx="849">
                  <c:v>7.2215676555916666</c:v>
                </c:pt>
                <c:pt idx="850">
                  <c:v>7.2215676555916666</c:v>
                </c:pt>
                <c:pt idx="851">
                  <c:v>7.2215676555916666</c:v>
                </c:pt>
                <c:pt idx="852">
                  <c:v>7.2215676555916666</c:v>
                </c:pt>
                <c:pt idx="853">
                  <c:v>7.2215676555916666</c:v>
                </c:pt>
                <c:pt idx="854">
                  <c:v>7.2215676555916666</c:v>
                </c:pt>
                <c:pt idx="855">
                  <c:v>7.2215676555916666</c:v>
                </c:pt>
                <c:pt idx="856">
                  <c:v>7.2215676555916666</c:v>
                </c:pt>
                <c:pt idx="857">
                  <c:v>7.2544561463199226</c:v>
                </c:pt>
                <c:pt idx="858">
                  <c:v>7.2544561463199226</c:v>
                </c:pt>
                <c:pt idx="859">
                  <c:v>7.2544561463199226</c:v>
                </c:pt>
                <c:pt idx="860">
                  <c:v>7.2544561463199226</c:v>
                </c:pt>
                <c:pt idx="861">
                  <c:v>7.2544561463199226</c:v>
                </c:pt>
                <c:pt idx="862">
                  <c:v>7.3219074509407802</c:v>
                </c:pt>
                <c:pt idx="863">
                  <c:v>7.3219074509407802</c:v>
                </c:pt>
                <c:pt idx="864">
                  <c:v>7.3219074509407802</c:v>
                </c:pt>
                <c:pt idx="865">
                  <c:v>7.3559052838641277</c:v>
                </c:pt>
                <c:pt idx="866">
                  <c:v>7.3559052838641277</c:v>
                </c:pt>
                <c:pt idx="867">
                  <c:v>7.3559052838641277</c:v>
                </c:pt>
                <c:pt idx="868">
                  <c:v>7.3559052838641277</c:v>
                </c:pt>
                <c:pt idx="869">
                  <c:v>7.3559052838641277</c:v>
                </c:pt>
                <c:pt idx="870">
                  <c:v>7.3559052838641277</c:v>
                </c:pt>
                <c:pt idx="871">
                  <c:v>7.4254057300127698</c:v>
                </c:pt>
                <c:pt idx="872">
                  <c:v>7.4254057300127698</c:v>
                </c:pt>
                <c:pt idx="873">
                  <c:v>7.4254057300127698</c:v>
                </c:pt>
                <c:pt idx="874">
                  <c:v>7.4254057300127698</c:v>
                </c:pt>
                <c:pt idx="875">
                  <c:v>7.4254057300127698</c:v>
                </c:pt>
                <c:pt idx="876">
                  <c:v>7.460672242115618</c:v>
                </c:pt>
                <c:pt idx="877">
                  <c:v>7.460672242115618</c:v>
                </c:pt>
                <c:pt idx="878">
                  <c:v>7.460672242115618</c:v>
                </c:pt>
                <c:pt idx="879">
                  <c:v>7.460672242115618</c:v>
                </c:pt>
                <c:pt idx="880">
                  <c:v>7.460672242115618</c:v>
                </c:pt>
                <c:pt idx="881">
                  <c:v>7.460672242115618</c:v>
                </c:pt>
                <c:pt idx="882">
                  <c:v>7.460672242115618</c:v>
                </c:pt>
                <c:pt idx="883">
                  <c:v>7.460672242115618</c:v>
                </c:pt>
                <c:pt idx="884">
                  <c:v>7.460672242115618</c:v>
                </c:pt>
                <c:pt idx="885">
                  <c:v>7.4969479488023554</c:v>
                </c:pt>
                <c:pt idx="886">
                  <c:v>7.4969479488023554</c:v>
                </c:pt>
                <c:pt idx="887">
                  <c:v>7.4969479488023554</c:v>
                </c:pt>
                <c:pt idx="888">
                  <c:v>7.4969479488023554</c:v>
                </c:pt>
                <c:pt idx="889">
                  <c:v>7.4969479488023554</c:v>
                </c:pt>
                <c:pt idx="890">
                  <c:v>7.4969479488023554</c:v>
                </c:pt>
                <c:pt idx="891">
                  <c:v>7.4969479488023554</c:v>
                </c:pt>
                <c:pt idx="892">
                  <c:v>7.4969479488023554</c:v>
                </c:pt>
                <c:pt idx="893">
                  <c:v>7.4969479488023554</c:v>
                </c:pt>
                <c:pt idx="894">
                  <c:v>7.4969479488023554</c:v>
                </c:pt>
                <c:pt idx="895">
                  <c:v>7.4969479488023554</c:v>
                </c:pt>
                <c:pt idx="896">
                  <c:v>7.4969479488023554</c:v>
                </c:pt>
                <c:pt idx="897">
                  <c:v>7.4969479488023554</c:v>
                </c:pt>
                <c:pt idx="898">
                  <c:v>7.4969479488023554</c:v>
                </c:pt>
                <c:pt idx="899">
                  <c:v>7.4969479488023554</c:v>
                </c:pt>
                <c:pt idx="900">
                  <c:v>7.4969479488023554</c:v>
                </c:pt>
                <c:pt idx="901">
                  <c:v>7.4969479488023554</c:v>
                </c:pt>
                <c:pt idx="902">
                  <c:v>7.5368027751923661</c:v>
                </c:pt>
                <c:pt idx="903">
                  <c:v>7.5368027751923661</c:v>
                </c:pt>
                <c:pt idx="904">
                  <c:v>7.5368027751923661</c:v>
                </c:pt>
                <c:pt idx="905">
                  <c:v>7.5368027751923661</c:v>
                </c:pt>
                <c:pt idx="906">
                  <c:v>7.5368027751923661</c:v>
                </c:pt>
                <c:pt idx="907">
                  <c:v>7.5368027751923661</c:v>
                </c:pt>
                <c:pt idx="908">
                  <c:v>7.5368027751923661</c:v>
                </c:pt>
                <c:pt idx="909">
                  <c:v>7.5368027751923661</c:v>
                </c:pt>
                <c:pt idx="910">
                  <c:v>7.5368027751923661</c:v>
                </c:pt>
                <c:pt idx="911">
                  <c:v>7.5775713806706797</c:v>
                </c:pt>
                <c:pt idx="912">
                  <c:v>7.5775713806706797</c:v>
                </c:pt>
                <c:pt idx="913">
                  <c:v>7.6184843636805546</c:v>
                </c:pt>
                <c:pt idx="914">
                  <c:v>7.6184843636805546</c:v>
                </c:pt>
                <c:pt idx="915">
                  <c:v>7.6184843636805546</c:v>
                </c:pt>
                <c:pt idx="916">
                  <c:v>7.6184843636805546</c:v>
                </c:pt>
                <c:pt idx="917">
                  <c:v>7.6184843636805546</c:v>
                </c:pt>
                <c:pt idx="918">
                  <c:v>7.6184843636805546</c:v>
                </c:pt>
                <c:pt idx="919">
                  <c:v>7.6184843636805546</c:v>
                </c:pt>
                <c:pt idx="920">
                  <c:v>7.6184843636805546</c:v>
                </c:pt>
                <c:pt idx="921">
                  <c:v>7.6184843636805546</c:v>
                </c:pt>
                <c:pt idx="922">
                  <c:v>7.6184843636805546</c:v>
                </c:pt>
                <c:pt idx="923">
                  <c:v>7.6605333011572698</c:v>
                </c:pt>
                <c:pt idx="924">
                  <c:v>7.6605333011572698</c:v>
                </c:pt>
                <c:pt idx="925">
                  <c:v>7.7026781969577502</c:v>
                </c:pt>
                <c:pt idx="926">
                  <c:v>7.7026781969577502</c:v>
                </c:pt>
                <c:pt idx="927">
                  <c:v>7.7449582344305092</c:v>
                </c:pt>
                <c:pt idx="928">
                  <c:v>7.7449582344305092</c:v>
                </c:pt>
                <c:pt idx="929">
                  <c:v>7.7449582344305092</c:v>
                </c:pt>
                <c:pt idx="930">
                  <c:v>7.7449582344305092</c:v>
                </c:pt>
                <c:pt idx="931">
                  <c:v>7.7449582344305092</c:v>
                </c:pt>
                <c:pt idx="932">
                  <c:v>7.7449582344305092</c:v>
                </c:pt>
                <c:pt idx="933">
                  <c:v>7.7449582344305092</c:v>
                </c:pt>
                <c:pt idx="934">
                  <c:v>7.7449582344305092</c:v>
                </c:pt>
                <c:pt idx="935">
                  <c:v>7.7449582344305092</c:v>
                </c:pt>
                <c:pt idx="936">
                  <c:v>7.7449582344305092</c:v>
                </c:pt>
                <c:pt idx="937">
                  <c:v>7.7449582344305092</c:v>
                </c:pt>
                <c:pt idx="938">
                  <c:v>7.7449582344305092</c:v>
                </c:pt>
                <c:pt idx="939">
                  <c:v>7.7449582344305092</c:v>
                </c:pt>
                <c:pt idx="940">
                  <c:v>7.7449582344305092</c:v>
                </c:pt>
                <c:pt idx="941">
                  <c:v>7.7449582344305092</c:v>
                </c:pt>
                <c:pt idx="942">
                  <c:v>7.7449582344305092</c:v>
                </c:pt>
                <c:pt idx="943">
                  <c:v>7.7894828684872497</c:v>
                </c:pt>
                <c:pt idx="944">
                  <c:v>7.7894828684872497</c:v>
                </c:pt>
                <c:pt idx="945">
                  <c:v>7.968358750410653</c:v>
                </c:pt>
                <c:pt idx="946">
                  <c:v>7.968358750410653</c:v>
                </c:pt>
                <c:pt idx="947">
                  <c:v>7.968358750410653</c:v>
                </c:pt>
                <c:pt idx="948">
                  <c:v>7.968358750410653</c:v>
                </c:pt>
                <c:pt idx="949">
                  <c:v>7.968358750410653</c:v>
                </c:pt>
                <c:pt idx="950">
                  <c:v>7.968358750410653</c:v>
                </c:pt>
                <c:pt idx="951">
                  <c:v>7.968358750410653</c:v>
                </c:pt>
                <c:pt idx="952">
                  <c:v>8.0141228683865844</c:v>
                </c:pt>
                <c:pt idx="953">
                  <c:v>8.0141228683865844</c:v>
                </c:pt>
                <c:pt idx="954">
                  <c:v>8.06027734762975</c:v>
                </c:pt>
                <c:pt idx="955">
                  <c:v>8.06027734762975</c:v>
                </c:pt>
                <c:pt idx="956">
                  <c:v>8.06027734762975</c:v>
                </c:pt>
                <c:pt idx="957">
                  <c:v>8.06027734762975</c:v>
                </c:pt>
                <c:pt idx="958">
                  <c:v>8.06027734762975</c:v>
                </c:pt>
                <c:pt idx="959">
                  <c:v>8.06027734762975</c:v>
                </c:pt>
                <c:pt idx="960">
                  <c:v>8.06027734762975</c:v>
                </c:pt>
                <c:pt idx="961">
                  <c:v>8.06027734762975</c:v>
                </c:pt>
                <c:pt idx="962">
                  <c:v>8.06027734762975</c:v>
                </c:pt>
                <c:pt idx="963">
                  <c:v>8.1082625890975795</c:v>
                </c:pt>
                <c:pt idx="964">
                  <c:v>8.1082625890975795</c:v>
                </c:pt>
                <c:pt idx="965">
                  <c:v>8.1082625890975795</c:v>
                </c:pt>
                <c:pt idx="966">
                  <c:v>8.1564491320503372</c:v>
                </c:pt>
                <c:pt idx="967">
                  <c:v>8.1564491320503372</c:v>
                </c:pt>
                <c:pt idx="968">
                  <c:v>8.1564491320503372</c:v>
                </c:pt>
                <c:pt idx="969">
                  <c:v>8.1564491320503372</c:v>
                </c:pt>
                <c:pt idx="970">
                  <c:v>8.2054323591799108</c:v>
                </c:pt>
                <c:pt idx="971">
                  <c:v>8.2054323591799108</c:v>
                </c:pt>
                <c:pt idx="972">
                  <c:v>8.2054323591799108</c:v>
                </c:pt>
                <c:pt idx="973">
                  <c:v>8.3044022434287665</c:v>
                </c:pt>
                <c:pt idx="974">
                  <c:v>8.3044022434287665</c:v>
                </c:pt>
                <c:pt idx="975">
                  <c:v>8.3044022434287665</c:v>
                </c:pt>
                <c:pt idx="976">
                  <c:v>8.3044022434287665</c:v>
                </c:pt>
                <c:pt idx="977">
                  <c:v>8.3044022434287665</c:v>
                </c:pt>
                <c:pt idx="978">
                  <c:v>8.3044022434287665</c:v>
                </c:pt>
                <c:pt idx="979">
                  <c:v>8.3548676246926945</c:v>
                </c:pt>
                <c:pt idx="980">
                  <c:v>8.3548676246926945</c:v>
                </c:pt>
                <c:pt idx="981">
                  <c:v>8.5080349768519898</c:v>
                </c:pt>
                <c:pt idx="982">
                  <c:v>8.5080349768519898</c:v>
                </c:pt>
                <c:pt idx="983">
                  <c:v>8.5080349768519898</c:v>
                </c:pt>
                <c:pt idx="984">
                  <c:v>8.5080349768519898</c:v>
                </c:pt>
                <c:pt idx="985">
                  <c:v>8.5598131121225816</c:v>
                </c:pt>
                <c:pt idx="986">
                  <c:v>8.5598131121225816</c:v>
                </c:pt>
                <c:pt idx="987">
                  <c:v>8.5598131121225816</c:v>
                </c:pt>
                <c:pt idx="988">
                  <c:v>8.5598131121225816</c:v>
                </c:pt>
                <c:pt idx="989">
                  <c:v>8.5598131121225816</c:v>
                </c:pt>
                <c:pt idx="990">
                  <c:v>8.5598131121225816</c:v>
                </c:pt>
                <c:pt idx="991">
                  <c:v>8.5598131121225816</c:v>
                </c:pt>
                <c:pt idx="992">
                  <c:v>8.6124860308367985</c:v>
                </c:pt>
                <c:pt idx="993">
                  <c:v>8.6124860308367985</c:v>
                </c:pt>
                <c:pt idx="994">
                  <c:v>8.6124860308367985</c:v>
                </c:pt>
                <c:pt idx="995">
                  <c:v>8.6124860308367985</c:v>
                </c:pt>
                <c:pt idx="996">
                  <c:v>8.6124860308367985</c:v>
                </c:pt>
                <c:pt idx="997">
                  <c:v>8.6124860308367985</c:v>
                </c:pt>
                <c:pt idx="998">
                  <c:v>8.6124860308367985</c:v>
                </c:pt>
                <c:pt idx="999">
                  <c:v>8.6124860308367985</c:v>
                </c:pt>
                <c:pt idx="1000">
                  <c:v>8.6124860308367985</c:v>
                </c:pt>
                <c:pt idx="1001">
                  <c:v>8.6124860308367985</c:v>
                </c:pt>
                <c:pt idx="1002">
                  <c:v>8.6124860308367985</c:v>
                </c:pt>
                <c:pt idx="1003">
                  <c:v>8.6124860308367985</c:v>
                </c:pt>
                <c:pt idx="1004">
                  <c:v>8.6124860308367985</c:v>
                </c:pt>
                <c:pt idx="1005">
                  <c:v>8.6124860308367985</c:v>
                </c:pt>
                <c:pt idx="1006">
                  <c:v>8.6124860308367985</c:v>
                </c:pt>
                <c:pt idx="1007">
                  <c:v>8.6124860308367985</c:v>
                </c:pt>
                <c:pt idx="1008">
                  <c:v>8.6124860308367985</c:v>
                </c:pt>
                <c:pt idx="1009">
                  <c:v>8.6124860308367985</c:v>
                </c:pt>
                <c:pt idx="1010">
                  <c:v>8.6124860308367985</c:v>
                </c:pt>
                <c:pt idx="1011">
                  <c:v>8.6124860308367985</c:v>
                </c:pt>
                <c:pt idx="1012">
                  <c:v>8.6124860308367985</c:v>
                </c:pt>
                <c:pt idx="1013">
                  <c:v>8.6124860308367985</c:v>
                </c:pt>
                <c:pt idx="1014">
                  <c:v>8.670326229551458</c:v>
                </c:pt>
                <c:pt idx="1015">
                  <c:v>8.670326229551458</c:v>
                </c:pt>
                <c:pt idx="1016">
                  <c:v>8.670326229551458</c:v>
                </c:pt>
                <c:pt idx="1017">
                  <c:v>8.670326229551458</c:v>
                </c:pt>
                <c:pt idx="1018">
                  <c:v>8.670326229551458</c:v>
                </c:pt>
                <c:pt idx="1019">
                  <c:v>8.670326229551458</c:v>
                </c:pt>
                <c:pt idx="1020">
                  <c:v>8.7901814444733084</c:v>
                </c:pt>
                <c:pt idx="1021">
                  <c:v>8.7901814444733084</c:v>
                </c:pt>
                <c:pt idx="1022">
                  <c:v>8.8506253268825432</c:v>
                </c:pt>
                <c:pt idx="1023">
                  <c:v>8.8506253268825432</c:v>
                </c:pt>
                <c:pt idx="1024">
                  <c:v>8.8506253268825432</c:v>
                </c:pt>
                <c:pt idx="1025">
                  <c:v>8.9115948082692498</c:v>
                </c:pt>
                <c:pt idx="1026">
                  <c:v>8.9115948082692498</c:v>
                </c:pt>
                <c:pt idx="1027">
                  <c:v>8.9733496592467006</c:v>
                </c:pt>
                <c:pt idx="1028">
                  <c:v>8.9733496592467006</c:v>
                </c:pt>
                <c:pt idx="1029">
                  <c:v>8.9733496592467006</c:v>
                </c:pt>
                <c:pt idx="1030">
                  <c:v>8.9733496592467006</c:v>
                </c:pt>
                <c:pt idx="1031">
                  <c:v>8.9733496592467006</c:v>
                </c:pt>
                <c:pt idx="1032">
                  <c:v>8.9733496592467006</c:v>
                </c:pt>
                <c:pt idx="1033">
                  <c:v>8.9733496592467006</c:v>
                </c:pt>
                <c:pt idx="1034">
                  <c:v>8.9733496592467006</c:v>
                </c:pt>
                <c:pt idx="1035">
                  <c:v>8.9733496592467006</c:v>
                </c:pt>
                <c:pt idx="1036">
                  <c:v>8.9733496592467006</c:v>
                </c:pt>
                <c:pt idx="1037">
                  <c:v>8.9733496592467006</c:v>
                </c:pt>
                <c:pt idx="1038">
                  <c:v>8.9733496592467006</c:v>
                </c:pt>
                <c:pt idx="1039">
                  <c:v>9.0426241267815204</c:v>
                </c:pt>
                <c:pt idx="1040">
                  <c:v>9.0426241267815204</c:v>
                </c:pt>
                <c:pt idx="1041">
                  <c:v>9.0426241267815204</c:v>
                </c:pt>
                <c:pt idx="1042">
                  <c:v>9.0426241267815204</c:v>
                </c:pt>
                <c:pt idx="1043">
                  <c:v>9.0426241267815204</c:v>
                </c:pt>
                <c:pt idx="1044">
                  <c:v>9.0426241267815204</c:v>
                </c:pt>
                <c:pt idx="1045">
                  <c:v>9.0426241267815204</c:v>
                </c:pt>
                <c:pt idx="1046">
                  <c:v>9.0426241267815204</c:v>
                </c:pt>
                <c:pt idx="1047">
                  <c:v>9.0426241267815204</c:v>
                </c:pt>
                <c:pt idx="1048">
                  <c:v>9.0426241267815204</c:v>
                </c:pt>
                <c:pt idx="1049">
                  <c:v>9.0426241267815204</c:v>
                </c:pt>
                <c:pt idx="1050">
                  <c:v>9.0426241267815204</c:v>
                </c:pt>
                <c:pt idx="1051">
                  <c:v>9.0426241267815204</c:v>
                </c:pt>
                <c:pt idx="1052">
                  <c:v>9.0426241267815204</c:v>
                </c:pt>
                <c:pt idx="1053">
                  <c:v>9.0426241267815204</c:v>
                </c:pt>
                <c:pt idx="1054">
                  <c:v>9.1942197532368866</c:v>
                </c:pt>
                <c:pt idx="1055">
                  <c:v>9.1942197532368866</c:v>
                </c:pt>
                <c:pt idx="1056">
                  <c:v>9.3467063699401027</c:v>
                </c:pt>
                <c:pt idx="1057">
                  <c:v>9.3467063699401027</c:v>
                </c:pt>
                <c:pt idx="1058">
                  <c:v>9.3467063699401027</c:v>
                </c:pt>
                <c:pt idx="1059">
                  <c:v>9.3467063699401027</c:v>
                </c:pt>
                <c:pt idx="1060">
                  <c:v>9.3467063699401027</c:v>
                </c:pt>
                <c:pt idx="1061">
                  <c:v>9.3467063699401027</c:v>
                </c:pt>
                <c:pt idx="1062">
                  <c:v>9.3467063699401027</c:v>
                </c:pt>
                <c:pt idx="1063">
                  <c:v>9.3467063699401027</c:v>
                </c:pt>
                <c:pt idx="1064">
                  <c:v>9.42505839554949</c:v>
                </c:pt>
                <c:pt idx="1065">
                  <c:v>9.42505839554949</c:v>
                </c:pt>
                <c:pt idx="1066">
                  <c:v>9.42505839554949</c:v>
                </c:pt>
                <c:pt idx="1067">
                  <c:v>9.42505839554949</c:v>
                </c:pt>
                <c:pt idx="1068">
                  <c:v>9.5054265779846805</c:v>
                </c:pt>
                <c:pt idx="1069">
                  <c:v>9.5054265779846805</c:v>
                </c:pt>
                <c:pt idx="1070">
                  <c:v>9.5054265779846805</c:v>
                </c:pt>
                <c:pt idx="1071">
                  <c:v>9.5054265779846805</c:v>
                </c:pt>
                <c:pt idx="1072">
                  <c:v>9.5054265779846805</c:v>
                </c:pt>
                <c:pt idx="1073">
                  <c:v>9.5054265779846805</c:v>
                </c:pt>
                <c:pt idx="1074">
                  <c:v>9.5054265779846805</c:v>
                </c:pt>
                <c:pt idx="1075">
                  <c:v>9.5907988170620495</c:v>
                </c:pt>
                <c:pt idx="1076">
                  <c:v>9.5907988170620495</c:v>
                </c:pt>
                <c:pt idx="1077">
                  <c:v>9.5907988170620495</c:v>
                </c:pt>
                <c:pt idx="1078">
                  <c:v>9.5907988170620495</c:v>
                </c:pt>
                <c:pt idx="1079">
                  <c:v>9.5907988170620495</c:v>
                </c:pt>
                <c:pt idx="1080">
                  <c:v>9.5907988170620495</c:v>
                </c:pt>
                <c:pt idx="1081">
                  <c:v>9.5907988170620495</c:v>
                </c:pt>
                <c:pt idx="1082">
                  <c:v>9.5907988170620495</c:v>
                </c:pt>
                <c:pt idx="1083">
                  <c:v>9.5907988170620495</c:v>
                </c:pt>
                <c:pt idx="1084">
                  <c:v>9.5907988170620495</c:v>
                </c:pt>
                <c:pt idx="1085">
                  <c:v>9.5907988170620495</c:v>
                </c:pt>
                <c:pt idx="1086">
                  <c:v>9.6835262028907128</c:v>
                </c:pt>
                <c:pt idx="1087">
                  <c:v>9.6835262028907128</c:v>
                </c:pt>
                <c:pt idx="1088">
                  <c:v>9.6835262028907128</c:v>
                </c:pt>
                <c:pt idx="1089">
                  <c:v>9.6835262028907128</c:v>
                </c:pt>
                <c:pt idx="1090">
                  <c:v>9.6835262028907128</c:v>
                </c:pt>
                <c:pt idx="1091">
                  <c:v>9.6835262028907128</c:v>
                </c:pt>
                <c:pt idx="1092">
                  <c:v>9.6835262028907128</c:v>
                </c:pt>
                <c:pt idx="1093">
                  <c:v>9.6835262028907128</c:v>
                </c:pt>
                <c:pt idx="1094">
                  <c:v>9.6835262028907128</c:v>
                </c:pt>
                <c:pt idx="1095">
                  <c:v>9.6835262028907128</c:v>
                </c:pt>
                <c:pt idx="1096">
                  <c:v>9.7842134646489143</c:v>
                </c:pt>
                <c:pt idx="1097">
                  <c:v>9.7842134646489143</c:v>
                </c:pt>
                <c:pt idx="1098">
                  <c:v>9.7842134646489143</c:v>
                </c:pt>
                <c:pt idx="1099">
                  <c:v>9.8873172206893205</c:v>
                </c:pt>
                <c:pt idx="1100">
                  <c:v>9.8873172206893205</c:v>
                </c:pt>
                <c:pt idx="1101">
                  <c:v>9.9907760987367435</c:v>
                </c:pt>
                <c:pt idx="1102">
                  <c:v>9.9907760987367435</c:v>
                </c:pt>
                <c:pt idx="1103">
                  <c:v>9.9907760987367435</c:v>
                </c:pt>
                <c:pt idx="1104">
                  <c:v>9.9907760987367435</c:v>
                </c:pt>
                <c:pt idx="1105">
                  <c:v>9.9907760987367435</c:v>
                </c:pt>
                <c:pt idx="1106">
                  <c:v>9.9907760987367435</c:v>
                </c:pt>
                <c:pt idx="1107">
                  <c:v>9.9907760987367435</c:v>
                </c:pt>
                <c:pt idx="1108">
                  <c:v>9.9907760987367435</c:v>
                </c:pt>
                <c:pt idx="1109">
                  <c:v>9.9907760987367435</c:v>
                </c:pt>
                <c:pt idx="1110">
                  <c:v>9.9907760987367435</c:v>
                </c:pt>
                <c:pt idx="1111">
                  <c:v>9.9907760987367435</c:v>
                </c:pt>
                <c:pt idx="1112">
                  <c:v>9.9907760987367435</c:v>
                </c:pt>
                <c:pt idx="1113">
                  <c:v>9.9907760987367435</c:v>
                </c:pt>
                <c:pt idx="1114">
                  <c:v>9.9907760987367435</c:v>
                </c:pt>
                <c:pt idx="1115">
                  <c:v>9.9907760987367435</c:v>
                </c:pt>
                <c:pt idx="1116">
                  <c:v>9.9907760987367435</c:v>
                </c:pt>
                <c:pt idx="1117">
                  <c:v>9.9907760987367435</c:v>
                </c:pt>
                <c:pt idx="1118">
                  <c:v>9.9907760987367435</c:v>
                </c:pt>
                <c:pt idx="1119">
                  <c:v>10.10999361383775</c:v>
                </c:pt>
                <c:pt idx="1120">
                  <c:v>10.10999361383775</c:v>
                </c:pt>
                <c:pt idx="1121">
                  <c:v>10.10999361383775</c:v>
                </c:pt>
                <c:pt idx="1122">
                  <c:v>10.10999361383775</c:v>
                </c:pt>
                <c:pt idx="1123">
                  <c:v>10.10999361383775</c:v>
                </c:pt>
                <c:pt idx="1124">
                  <c:v>10.10999361383775</c:v>
                </c:pt>
                <c:pt idx="1125">
                  <c:v>10.10999361383775</c:v>
                </c:pt>
                <c:pt idx="1126">
                  <c:v>10.10999361383775</c:v>
                </c:pt>
                <c:pt idx="1127">
                  <c:v>10.10999361383775</c:v>
                </c:pt>
                <c:pt idx="1128">
                  <c:v>10.10999361383775</c:v>
                </c:pt>
                <c:pt idx="1129">
                  <c:v>10.10999361383775</c:v>
                </c:pt>
                <c:pt idx="1130">
                  <c:v>10.10999361383775</c:v>
                </c:pt>
                <c:pt idx="1131">
                  <c:v>10.10999361383775</c:v>
                </c:pt>
                <c:pt idx="1132">
                  <c:v>10.10999361383775</c:v>
                </c:pt>
                <c:pt idx="1133">
                  <c:v>10.10999361383775</c:v>
                </c:pt>
                <c:pt idx="1134">
                  <c:v>10.10999361383775</c:v>
                </c:pt>
                <c:pt idx="1135">
                  <c:v>10.10999361383775</c:v>
                </c:pt>
                <c:pt idx="1136">
                  <c:v>10.10999361383775</c:v>
                </c:pt>
                <c:pt idx="1137">
                  <c:v>10.10999361383775</c:v>
                </c:pt>
                <c:pt idx="1138">
                  <c:v>10.10999361383775</c:v>
                </c:pt>
                <c:pt idx="1139">
                  <c:v>10.10999361383775</c:v>
                </c:pt>
                <c:pt idx="1140">
                  <c:v>10.10999361383775</c:v>
                </c:pt>
                <c:pt idx="1141">
                  <c:v>10.10999361383775</c:v>
                </c:pt>
                <c:pt idx="1142">
                  <c:v>10.10999361383775</c:v>
                </c:pt>
                <c:pt idx="1143">
                  <c:v>10.26965614738333</c:v>
                </c:pt>
                <c:pt idx="1144">
                  <c:v>10.26965614738333</c:v>
                </c:pt>
                <c:pt idx="1145">
                  <c:v>10.26965614738333</c:v>
                </c:pt>
                <c:pt idx="1146">
                  <c:v>10.26965614738333</c:v>
                </c:pt>
                <c:pt idx="1147">
                  <c:v>10.26965614738333</c:v>
                </c:pt>
                <c:pt idx="1148">
                  <c:v>10.26965614738333</c:v>
                </c:pt>
                <c:pt idx="1149">
                  <c:v>10.26965614738333</c:v>
                </c:pt>
                <c:pt idx="1150">
                  <c:v>10.26965614738333</c:v>
                </c:pt>
                <c:pt idx="1151">
                  <c:v>10.26965614738333</c:v>
                </c:pt>
                <c:pt idx="1152">
                  <c:v>10.26965614738333</c:v>
                </c:pt>
                <c:pt idx="1153">
                  <c:v>10.26965614738333</c:v>
                </c:pt>
                <c:pt idx="1154">
                  <c:v>10.26965614738333</c:v>
                </c:pt>
                <c:pt idx="1155">
                  <c:v>10.26965614738333</c:v>
                </c:pt>
                <c:pt idx="1156">
                  <c:v>10.26965614738333</c:v>
                </c:pt>
                <c:pt idx="1157">
                  <c:v>10.26965614738333</c:v>
                </c:pt>
                <c:pt idx="1158">
                  <c:v>10.26965614738333</c:v>
                </c:pt>
                <c:pt idx="1159">
                  <c:v>10.26965614738333</c:v>
                </c:pt>
                <c:pt idx="1160">
                  <c:v>10.26965614738333</c:v>
                </c:pt>
                <c:pt idx="1161">
                  <c:v>10.26965614738333</c:v>
                </c:pt>
                <c:pt idx="1162">
                  <c:v>10.26965614738333</c:v>
                </c:pt>
                <c:pt idx="1163">
                  <c:v>10.26965614738333</c:v>
                </c:pt>
                <c:pt idx="1164">
                  <c:v>10.26965614738333</c:v>
                </c:pt>
                <c:pt idx="1165">
                  <c:v>10.26965614738333</c:v>
                </c:pt>
                <c:pt idx="1166">
                  <c:v>10.26965614738333</c:v>
                </c:pt>
                <c:pt idx="1167">
                  <c:v>10.26965614738333</c:v>
                </c:pt>
                <c:pt idx="1168">
                  <c:v>10.26965614738333</c:v>
                </c:pt>
                <c:pt idx="1169">
                  <c:v>10.26965614738333</c:v>
                </c:pt>
                <c:pt idx="1170">
                  <c:v>10.26965614738333</c:v>
                </c:pt>
                <c:pt idx="1171">
                  <c:v>10.26965614738333</c:v>
                </c:pt>
                <c:pt idx="1172">
                  <c:v>10.26965614738333</c:v>
                </c:pt>
                <c:pt idx="1173">
                  <c:v>10.26965614738333</c:v>
                </c:pt>
                <c:pt idx="1174">
                  <c:v>10.26965614738333</c:v>
                </c:pt>
                <c:pt idx="1175">
                  <c:v>10.26965614738333</c:v>
                </c:pt>
                <c:pt idx="1176">
                  <c:v>10.26965614738333</c:v>
                </c:pt>
                <c:pt idx="1177">
                  <c:v>10.26965614738333</c:v>
                </c:pt>
                <c:pt idx="1178">
                  <c:v>10.26965614738333</c:v>
                </c:pt>
                <c:pt idx="1179">
                  <c:v>10.26965614738333</c:v>
                </c:pt>
                <c:pt idx="1180">
                  <c:v>10.26965614738333</c:v>
                </c:pt>
                <c:pt idx="1181">
                  <c:v>10.26965614738333</c:v>
                </c:pt>
                <c:pt idx="1182">
                  <c:v>10.26965614738333</c:v>
                </c:pt>
                <c:pt idx="1183">
                  <c:v>10.26965614738333</c:v>
                </c:pt>
                <c:pt idx="1184">
                  <c:v>10.26965614738333</c:v>
                </c:pt>
                <c:pt idx="1185">
                  <c:v>10.57076468380151</c:v>
                </c:pt>
                <c:pt idx="1186">
                  <c:v>10.57076468380151</c:v>
                </c:pt>
                <c:pt idx="1187">
                  <c:v>10.57076468380151</c:v>
                </c:pt>
                <c:pt idx="1188">
                  <c:v>10.57076468380151</c:v>
                </c:pt>
                <c:pt idx="1189">
                  <c:v>10.57076468380151</c:v>
                </c:pt>
                <c:pt idx="1190">
                  <c:v>10.57076468380151</c:v>
                </c:pt>
                <c:pt idx="1191">
                  <c:v>10.57076468380151</c:v>
                </c:pt>
                <c:pt idx="1192">
                  <c:v>10.57076468380151</c:v>
                </c:pt>
                <c:pt idx="1193">
                  <c:v>10.57076468380151</c:v>
                </c:pt>
                <c:pt idx="1194">
                  <c:v>10.57076468380151</c:v>
                </c:pt>
                <c:pt idx="1195">
                  <c:v>10.57076468380151</c:v>
                </c:pt>
                <c:pt idx="1196">
                  <c:v>10.57076468380151</c:v>
                </c:pt>
                <c:pt idx="1197">
                  <c:v>10.57076468380151</c:v>
                </c:pt>
                <c:pt idx="1198">
                  <c:v>10.57076468380151</c:v>
                </c:pt>
                <c:pt idx="1199">
                  <c:v>10.57076468380151</c:v>
                </c:pt>
                <c:pt idx="1200">
                  <c:v>10.57076468380151</c:v>
                </c:pt>
                <c:pt idx="1201">
                  <c:v>10.57076468380151</c:v>
                </c:pt>
                <c:pt idx="1202">
                  <c:v>10.57076468380151</c:v>
                </c:pt>
                <c:pt idx="1203">
                  <c:v>10.57076468380151</c:v>
                </c:pt>
                <c:pt idx="1204">
                  <c:v>10.57076468380151</c:v>
                </c:pt>
                <c:pt idx="1205">
                  <c:v>10.57076468380151</c:v>
                </c:pt>
                <c:pt idx="1206">
                  <c:v>10.57076468380151</c:v>
                </c:pt>
                <c:pt idx="1207">
                  <c:v>10.57076468380151</c:v>
                </c:pt>
                <c:pt idx="1208">
                  <c:v>10.57076468380151</c:v>
                </c:pt>
                <c:pt idx="1209">
                  <c:v>10.57076468380151</c:v>
                </c:pt>
                <c:pt idx="1210">
                  <c:v>10.57076468380151</c:v>
                </c:pt>
                <c:pt idx="1211">
                  <c:v>10.57076468380151</c:v>
                </c:pt>
                <c:pt idx="1212">
                  <c:v>10.57076468380151</c:v>
                </c:pt>
                <c:pt idx="1213">
                  <c:v>10.57076468380151</c:v>
                </c:pt>
                <c:pt idx="1214">
                  <c:v>10.57076468380151</c:v>
                </c:pt>
                <c:pt idx="1215">
                  <c:v>10.57076468380151</c:v>
                </c:pt>
                <c:pt idx="1216">
                  <c:v>10.57076468380151</c:v>
                </c:pt>
                <c:pt idx="1217">
                  <c:v>10.57076468380151</c:v>
                </c:pt>
                <c:pt idx="1218">
                  <c:v>10.57076468380151</c:v>
                </c:pt>
                <c:pt idx="1219">
                  <c:v>10.57076468380151</c:v>
                </c:pt>
                <c:pt idx="1220">
                  <c:v>10.57076468380151</c:v>
                </c:pt>
                <c:pt idx="1221">
                  <c:v>10.57076468380151</c:v>
                </c:pt>
                <c:pt idx="1222">
                  <c:v>10.57076468380151</c:v>
                </c:pt>
                <c:pt idx="1223">
                  <c:v>10.57076468380151</c:v>
                </c:pt>
                <c:pt idx="1224">
                  <c:v>10.57076468380151</c:v>
                </c:pt>
                <c:pt idx="1225">
                  <c:v>10.57076468380151</c:v>
                </c:pt>
                <c:pt idx="1226">
                  <c:v>10.57076468380151</c:v>
                </c:pt>
                <c:pt idx="1227">
                  <c:v>10.57076468380151</c:v>
                </c:pt>
                <c:pt idx="1228">
                  <c:v>10.57076468380151</c:v>
                </c:pt>
                <c:pt idx="1229">
                  <c:v>10.57076468380151</c:v>
                </c:pt>
                <c:pt idx="1230">
                  <c:v>10.57076468380151</c:v>
                </c:pt>
                <c:pt idx="1231">
                  <c:v>10.57076468380151</c:v>
                </c:pt>
                <c:pt idx="1232">
                  <c:v>10.57076468380151</c:v>
                </c:pt>
                <c:pt idx="1233">
                  <c:v>10.57076468380151</c:v>
                </c:pt>
                <c:pt idx="1234">
                  <c:v>10.57076468380151</c:v>
                </c:pt>
                <c:pt idx="1235">
                  <c:v>10.57076468380151</c:v>
                </c:pt>
                <c:pt idx="1236">
                  <c:v>10.57076468380151</c:v>
                </c:pt>
                <c:pt idx="1237">
                  <c:v>10.57076468380151</c:v>
                </c:pt>
                <c:pt idx="1238">
                  <c:v>10.57076468380151</c:v>
                </c:pt>
                <c:pt idx="1239">
                  <c:v>10.57076468380151</c:v>
                </c:pt>
                <c:pt idx="1240">
                  <c:v>10.57076468380151</c:v>
                </c:pt>
                <c:pt idx="1241">
                  <c:v>10.57076468380151</c:v>
                </c:pt>
                <c:pt idx="1242">
                  <c:v>10.57076468380151</c:v>
                </c:pt>
                <c:pt idx="1243">
                  <c:v>10.57076468380151</c:v>
                </c:pt>
                <c:pt idx="1244">
                  <c:v>10.57076468380151</c:v>
                </c:pt>
                <c:pt idx="1245">
                  <c:v>10.57076468380151</c:v>
                </c:pt>
                <c:pt idx="1246">
                  <c:v>10.57076468380151</c:v>
                </c:pt>
                <c:pt idx="1247">
                  <c:v>10.57076468380151</c:v>
                </c:pt>
                <c:pt idx="1248">
                  <c:v>10.57076468380151</c:v>
                </c:pt>
                <c:pt idx="1249">
                  <c:v>10.57076468380151</c:v>
                </c:pt>
                <c:pt idx="1250">
                  <c:v>10.57076468380151</c:v>
                </c:pt>
                <c:pt idx="1251">
                  <c:v>10.57076468380151</c:v>
                </c:pt>
                <c:pt idx="1252">
                  <c:v>10.57076468380151</c:v>
                </c:pt>
                <c:pt idx="1253">
                  <c:v>10.57076468380151</c:v>
                </c:pt>
                <c:pt idx="1254">
                  <c:v>10.57076468380151</c:v>
                </c:pt>
                <c:pt idx="1255">
                  <c:v>10.57076468380151</c:v>
                </c:pt>
                <c:pt idx="1256">
                  <c:v>10.57076468380151</c:v>
                </c:pt>
                <c:pt idx="1257">
                  <c:v>10.57076468380151</c:v>
                </c:pt>
                <c:pt idx="1258">
                  <c:v>10.57076468380151</c:v>
                </c:pt>
                <c:pt idx="1259">
                  <c:v>10.57076468380151</c:v>
                </c:pt>
                <c:pt idx="1260">
                  <c:v>10.57076468380151</c:v>
                </c:pt>
                <c:pt idx="1261">
                  <c:v>10.57076468380151</c:v>
                </c:pt>
                <c:pt idx="1262">
                  <c:v>10.57076468380151</c:v>
                </c:pt>
                <c:pt idx="1263">
                  <c:v>10.57076468380151</c:v>
                </c:pt>
                <c:pt idx="1264">
                  <c:v>10.57076468380151</c:v>
                </c:pt>
                <c:pt idx="1265">
                  <c:v>10.57076468380151</c:v>
                </c:pt>
                <c:pt idx="1266">
                  <c:v>10.57076468380151</c:v>
                </c:pt>
                <c:pt idx="1267">
                  <c:v>10.57076468380151</c:v>
                </c:pt>
                <c:pt idx="1268">
                  <c:v>10.57076468380151</c:v>
                </c:pt>
                <c:pt idx="1269">
                  <c:v>10.57076468380151</c:v>
                </c:pt>
                <c:pt idx="1270">
                  <c:v>10.57076468380151</c:v>
                </c:pt>
                <c:pt idx="1271">
                  <c:v>10.57076468380151</c:v>
                </c:pt>
                <c:pt idx="1272">
                  <c:v>10.57076468380151</c:v>
                </c:pt>
                <c:pt idx="1273">
                  <c:v>10.57076468380151</c:v>
                </c:pt>
                <c:pt idx="1274">
                  <c:v>10.57076468380151</c:v>
                </c:pt>
                <c:pt idx="1275">
                  <c:v>10.57076468380151</c:v>
                </c:pt>
                <c:pt idx="1276">
                  <c:v>10.57076468380151</c:v>
                </c:pt>
                <c:pt idx="1277">
                  <c:v>10.57076468380151</c:v>
                </c:pt>
                <c:pt idx="1278">
                  <c:v>10.57076468380151</c:v>
                </c:pt>
                <c:pt idx="1279">
                  <c:v>10.57076468380151</c:v>
                </c:pt>
                <c:pt idx="1280">
                  <c:v>10.57076468380151</c:v>
                </c:pt>
                <c:pt idx="1281">
                  <c:v>10.57076468380151</c:v>
                </c:pt>
                <c:pt idx="1282">
                  <c:v>10.57076468380151</c:v>
                </c:pt>
                <c:pt idx="1283">
                  <c:v>10.57076468380151</c:v>
                </c:pt>
                <c:pt idx="1284">
                  <c:v>10.57076468380151</c:v>
                </c:pt>
                <c:pt idx="1285">
                  <c:v>10.57076468380151</c:v>
                </c:pt>
                <c:pt idx="1286">
                  <c:v>10.57076468380151</c:v>
                </c:pt>
                <c:pt idx="1287">
                  <c:v>10.57076468380151</c:v>
                </c:pt>
                <c:pt idx="1288">
                  <c:v>10.57076468380151</c:v>
                </c:pt>
                <c:pt idx="1289">
                  <c:v>10.57076468380151</c:v>
                </c:pt>
              </c:numCache>
            </c:numRef>
          </c:yVal>
          <c:smooth val="0"/>
          <c:extLst xmlns:c16r2="http://schemas.microsoft.com/office/drawing/2015/06/chart">
            <c:ext xmlns:c16="http://schemas.microsoft.com/office/drawing/2014/chart" uri="{C3380CC4-5D6E-409C-BE32-E72D297353CC}">
              <c16:uniqueId val="{00000001-BD00-4D2E-9A19-5A3CE4AFE316}"/>
            </c:ext>
          </c:extLst>
        </c:ser>
        <c:dLbls>
          <c:showLegendKey val="0"/>
          <c:showVal val="0"/>
          <c:showCatName val="0"/>
          <c:showSerName val="0"/>
          <c:showPercent val="0"/>
          <c:showBubbleSize val="0"/>
        </c:dLbls>
        <c:axId val="169805312"/>
        <c:axId val="169806848"/>
      </c:scatterChart>
      <c:valAx>
        <c:axId val="169805312"/>
        <c:scaling>
          <c:orientation val="minMax"/>
          <c:max val="30"/>
          <c:min val="0"/>
        </c:scaling>
        <c:delete val="0"/>
        <c:axPos val="b"/>
        <c:numFmt formatCode="0" sourceLinked="0"/>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Arial" panose="020B0604020202020204" pitchFamily="34" charset="0"/>
              </a:defRPr>
            </a:pPr>
            <a:endParaRPr lang="cs-CZ"/>
          </a:p>
        </c:txPr>
        <c:crossAx val="169806848"/>
        <c:crossesAt val="-2"/>
        <c:crossBetween val="midCat"/>
        <c:majorUnit val="3"/>
        <c:minorUnit val="3"/>
      </c:valAx>
      <c:valAx>
        <c:axId val="169806848"/>
        <c:scaling>
          <c:orientation val="minMax"/>
          <c:max val="12"/>
          <c:min val="0"/>
        </c:scaling>
        <c:delete val="0"/>
        <c:axPos val="l"/>
        <c:numFmt formatCode="0" sourceLinked="0"/>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Arial" panose="020B0604020202020204" pitchFamily="34" charset="0"/>
              </a:defRPr>
            </a:pPr>
            <a:endParaRPr lang="cs-CZ"/>
          </a:p>
        </c:txPr>
        <c:crossAx val="169805312"/>
        <c:crosses val="autoZero"/>
        <c:crossBetween val="midCat"/>
        <c:majorUnit val="2"/>
        <c:minorUnit val="4.0000000000000001E-3"/>
      </c:valAx>
      <c:spPr>
        <a:noFill/>
        <a:ln>
          <a:noFill/>
        </a:ln>
        <a:effectLst/>
      </c:spPr>
    </c:plotArea>
    <c:plotVisOnly val="1"/>
    <c:dispBlanksAs val="span"/>
    <c:showDLblsOverMax val="0"/>
  </c:chart>
  <c:spPr>
    <a:noFill/>
    <a:ln>
      <a:noFill/>
    </a:ln>
    <a:effectLst/>
  </c:spPr>
  <c:txPr>
    <a:bodyPr/>
    <a:lstStyle/>
    <a:p>
      <a:pPr>
        <a:defRPr sz="1600" b="1">
          <a:solidFill>
            <a:schemeClr val="tx1"/>
          </a:solidFill>
        </a:defRPr>
      </a:pPr>
      <a:endParaRPr lang="cs-CZ"/>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EED93C-5DE0-43D0-BBDD-02AD12817EB2}" type="doc">
      <dgm:prSet loTypeId="urn:microsoft.com/office/officeart/2005/8/layout/pyramid1" loCatId="pyramid" qsTypeId="urn:microsoft.com/office/officeart/2005/8/quickstyle/3d1" qsCatId="3D" csTypeId="urn:microsoft.com/office/officeart/2005/8/colors/accent1_2#1" csCatId="accent1" phldr="1"/>
      <dgm:spPr/>
    </dgm:pt>
    <dgm:pt modelId="{DCEC8937-AE1E-4104-B3F6-1347967E1BB0}">
      <dgm:prSet phldrT="[Text]" custT="1"/>
      <dgm:spPr>
        <a:solidFill>
          <a:srgbClr val="002060"/>
        </a:solidFill>
      </dgm:spPr>
      <dgm:t>
        <a:bodyPr/>
        <a:lstStyle/>
        <a:p>
          <a:endParaRPr lang="en-GB" sz="800" b="1" dirty="0" smtClean="0">
            <a:solidFill>
              <a:schemeClr val="accent2"/>
            </a:solidFill>
            <a:ea typeface="MS PGothic" pitchFamily="34" charset="-128"/>
          </a:endParaRPr>
        </a:p>
      </dgm:t>
    </dgm:pt>
    <dgm:pt modelId="{C7FCBA2B-4C3A-4F59-B6F7-97666A6E7BDF}" type="parTrans" cxnId="{DBF2E318-F6EC-47F3-B151-814BB6A24507}">
      <dgm:prSet/>
      <dgm:spPr/>
      <dgm:t>
        <a:bodyPr/>
        <a:lstStyle/>
        <a:p>
          <a:endParaRPr lang="en-GB"/>
        </a:p>
      </dgm:t>
    </dgm:pt>
    <dgm:pt modelId="{6AF6DA6A-8B93-44B3-9156-5AAA6DDA2A57}" type="sibTrans" cxnId="{DBF2E318-F6EC-47F3-B151-814BB6A24507}">
      <dgm:prSet/>
      <dgm:spPr/>
      <dgm:t>
        <a:bodyPr/>
        <a:lstStyle/>
        <a:p>
          <a:endParaRPr lang="en-GB"/>
        </a:p>
      </dgm:t>
    </dgm:pt>
    <dgm:pt modelId="{1F1D8553-8B6D-43C6-9BD3-5C4B1277EACD}">
      <dgm:prSet phldrT="[Text]" custT="1"/>
      <dgm:spPr>
        <a:solidFill>
          <a:schemeClr val="tx2">
            <a:lumMod val="20000"/>
            <a:lumOff val="80000"/>
          </a:schemeClr>
        </a:solidFill>
      </dgm:spPr>
      <dgm:t>
        <a:bodyPr/>
        <a:lstStyle/>
        <a:p>
          <a:endParaRPr lang="en-GB" sz="700" b="1" dirty="0">
            <a:solidFill>
              <a:schemeClr val="accent2"/>
            </a:solidFill>
          </a:endParaRPr>
        </a:p>
      </dgm:t>
    </dgm:pt>
    <dgm:pt modelId="{6CD5E61F-20BC-49CF-A6C6-A16F8CC28663}" type="parTrans" cxnId="{70DAA0B3-1618-485F-B34A-6CD911021C0F}">
      <dgm:prSet/>
      <dgm:spPr/>
      <dgm:t>
        <a:bodyPr/>
        <a:lstStyle/>
        <a:p>
          <a:endParaRPr lang="en-GB"/>
        </a:p>
      </dgm:t>
    </dgm:pt>
    <dgm:pt modelId="{37420C55-4E4F-4724-AF91-FCB94C31959F}" type="sibTrans" cxnId="{70DAA0B3-1618-485F-B34A-6CD911021C0F}">
      <dgm:prSet/>
      <dgm:spPr/>
      <dgm:t>
        <a:bodyPr/>
        <a:lstStyle/>
        <a:p>
          <a:endParaRPr lang="en-GB"/>
        </a:p>
      </dgm:t>
    </dgm:pt>
    <dgm:pt modelId="{2A8D32F8-B24A-4B5E-AE03-14743A711BF0}">
      <dgm:prSet phldrT="[Text]" custT="1"/>
      <dgm:spPr>
        <a:solidFill>
          <a:schemeClr val="tx2">
            <a:lumMod val="20000"/>
            <a:lumOff val="80000"/>
          </a:schemeClr>
        </a:solidFill>
      </dgm:spPr>
      <dgm:t>
        <a:bodyPr/>
        <a:lstStyle/>
        <a:p>
          <a:endParaRPr lang="en-GB" sz="700" b="1" dirty="0">
            <a:solidFill>
              <a:schemeClr val="accent2"/>
            </a:solidFill>
          </a:endParaRPr>
        </a:p>
      </dgm:t>
    </dgm:pt>
    <dgm:pt modelId="{C3029D68-FD03-4CC6-9944-C7CBA5E88659}" type="parTrans" cxnId="{30A8F9A3-5F64-406D-BF4E-D39A2AEDED56}">
      <dgm:prSet/>
      <dgm:spPr/>
      <dgm:t>
        <a:bodyPr/>
        <a:lstStyle/>
        <a:p>
          <a:endParaRPr lang="en-GB"/>
        </a:p>
      </dgm:t>
    </dgm:pt>
    <dgm:pt modelId="{22BDC1DF-1252-48CA-B410-7E89334901E4}" type="sibTrans" cxnId="{30A8F9A3-5F64-406D-BF4E-D39A2AEDED56}">
      <dgm:prSet/>
      <dgm:spPr/>
      <dgm:t>
        <a:bodyPr/>
        <a:lstStyle/>
        <a:p>
          <a:endParaRPr lang="en-GB"/>
        </a:p>
      </dgm:t>
    </dgm:pt>
    <dgm:pt modelId="{2639B79F-C5E3-4C8D-BBBA-8DDFC54AC3F9}" type="pres">
      <dgm:prSet presAssocID="{C3EED93C-5DE0-43D0-BBDD-02AD12817EB2}" presName="Name0" presStyleCnt="0">
        <dgm:presLayoutVars>
          <dgm:dir/>
          <dgm:animLvl val="lvl"/>
          <dgm:resizeHandles val="exact"/>
        </dgm:presLayoutVars>
      </dgm:prSet>
      <dgm:spPr/>
    </dgm:pt>
    <dgm:pt modelId="{2BADDD82-6CE3-4D34-A9CB-F9DDE2A20411}" type="pres">
      <dgm:prSet presAssocID="{DCEC8937-AE1E-4104-B3F6-1347967E1BB0}" presName="Name8" presStyleCnt="0"/>
      <dgm:spPr/>
    </dgm:pt>
    <dgm:pt modelId="{BB4E7D41-1448-4AC2-AC5E-29BDC4C79900}" type="pres">
      <dgm:prSet presAssocID="{DCEC8937-AE1E-4104-B3F6-1347967E1BB0}" presName="level" presStyleLbl="node1" presStyleIdx="0" presStyleCnt="3" custAng="0" custLinFactNeighborY="-4856">
        <dgm:presLayoutVars>
          <dgm:chMax val="1"/>
          <dgm:bulletEnabled val="1"/>
        </dgm:presLayoutVars>
      </dgm:prSet>
      <dgm:spPr/>
      <dgm:t>
        <a:bodyPr/>
        <a:lstStyle/>
        <a:p>
          <a:endParaRPr lang="en-GB"/>
        </a:p>
      </dgm:t>
    </dgm:pt>
    <dgm:pt modelId="{EE8CA35B-3C5D-42E6-8121-8171B37FA949}" type="pres">
      <dgm:prSet presAssocID="{DCEC8937-AE1E-4104-B3F6-1347967E1BB0}" presName="levelTx" presStyleLbl="revTx" presStyleIdx="0" presStyleCnt="0">
        <dgm:presLayoutVars>
          <dgm:chMax val="1"/>
          <dgm:bulletEnabled val="1"/>
        </dgm:presLayoutVars>
      </dgm:prSet>
      <dgm:spPr/>
      <dgm:t>
        <a:bodyPr/>
        <a:lstStyle/>
        <a:p>
          <a:endParaRPr lang="en-GB"/>
        </a:p>
      </dgm:t>
    </dgm:pt>
    <dgm:pt modelId="{677D6330-F1C0-4250-81DB-BBC1F9FBE6D3}" type="pres">
      <dgm:prSet presAssocID="{1F1D8553-8B6D-43C6-9BD3-5C4B1277EACD}" presName="Name8" presStyleCnt="0"/>
      <dgm:spPr/>
    </dgm:pt>
    <dgm:pt modelId="{65836F00-2C3A-4C4C-96DC-39988B9F6FA3}" type="pres">
      <dgm:prSet presAssocID="{1F1D8553-8B6D-43C6-9BD3-5C4B1277EACD}" presName="level" presStyleLbl="node1" presStyleIdx="1" presStyleCnt="3">
        <dgm:presLayoutVars>
          <dgm:chMax val="1"/>
          <dgm:bulletEnabled val="1"/>
        </dgm:presLayoutVars>
      </dgm:prSet>
      <dgm:spPr/>
      <dgm:t>
        <a:bodyPr/>
        <a:lstStyle/>
        <a:p>
          <a:endParaRPr lang="en-GB"/>
        </a:p>
      </dgm:t>
    </dgm:pt>
    <dgm:pt modelId="{1BB90C1B-3C66-4ED0-8D6C-59EB2107150B}" type="pres">
      <dgm:prSet presAssocID="{1F1D8553-8B6D-43C6-9BD3-5C4B1277EACD}" presName="levelTx" presStyleLbl="revTx" presStyleIdx="0" presStyleCnt="0">
        <dgm:presLayoutVars>
          <dgm:chMax val="1"/>
          <dgm:bulletEnabled val="1"/>
        </dgm:presLayoutVars>
      </dgm:prSet>
      <dgm:spPr/>
      <dgm:t>
        <a:bodyPr/>
        <a:lstStyle/>
        <a:p>
          <a:endParaRPr lang="en-GB"/>
        </a:p>
      </dgm:t>
    </dgm:pt>
    <dgm:pt modelId="{B71A8643-51A0-4743-8810-7CE0B247B63F}" type="pres">
      <dgm:prSet presAssocID="{2A8D32F8-B24A-4B5E-AE03-14743A711BF0}" presName="Name8" presStyleCnt="0"/>
      <dgm:spPr/>
    </dgm:pt>
    <dgm:pt modelId="{6FC38C09-2547-435F-ABD0-5A9B390DCC6E}" type="pres">
      <dgm:prSet presAssocID="{2A8D32F8-B24A-4B5E-AE03-14743A711BF0}" presName="level" presStyleLbl="node1" presStyleIdx="2" presStyleCnt="3" custLinFactNeighborY="4862">
        <dgm:presLayoutVars>
          <dgm:chMax val="1"/>
          <dgm:bulletEnabled val="1"/>
        </dgm:presLayoutVars>
      </dgm:prSet>
      <dgm:spPr/>
      <dgm:t>
        <a:bodyPr/>
        <a:lstStyle/>
        <a:p>
          <a:endParaRPr lang="en-GB"/>
        </a:p>
      </dgm:t>
    </dgm:pt>
    <dgm:pt modelId="{9E5B9038-8306-466F-AFBE-44230869C25B}" type="pres">
      <dgm:prSet presAssocID="{2A8D32F8-B24A-4B5E-AE03-14743A711BF0}" presName="levelTx" presStyleLbl="revTx" presStyleIdx="0" presStyleCnt="0">
        <dgm:presLayoutVars>
          <dgm:chMax val="1"/>
          <dgm:bulletEnabled val="1"/>
        </dgm:presLayoutVars>
      </dgm:prSet>
      <dgm:spPr/>
      <dgm:t>
        <a:bodyPr/>
        <a:lstStyle/>
        <a:p>
          <a:endParaRPr lang="en-GB"/>
        </a:p>
      </dgm:t>
    </dgm:pt>
  </dgm:ptLst>
  <dgm:cxnLst>
    <dgm:cxn modelId="{9C247CC7-945F-4D83-83B0-DBD60BBB09AF}" type="presOf" srcId="{2A8D32F8-B24A-4B5E-AE03-14743A711BF0}" destId="{6FC38C09-2547-435F-ABD0-5A9B390DCC6E}" srcOrd="0" destOrd="0" presId="urn:microsoft.com/office/officeart/2005/8/layout/pyramid1"/>
    <dgm:cxn modelId="{2B1FCF4A-A3AE-4BA6-A0C5-DE74B7BA4164}" type="presOf" srcId="{1F1D8553-8B6D-43C6-9BD3-5C4B1277EACD}" destId="{1BB90C1B-3C66-4ED0-8D6C-59EB2107150B}" srcOrd="1" destOrd="0" presId="urn:microsoft.com/office/officeart/2005/8/layout/pyramid1"/>
    <dgm:cxn modelId="{C8C86A5D-D008-450C-AD1D-10CC67FEF414}" type="presOf" srcId="{DCEC8937-AE1E-4104-B3F6-1347967E1BB0}" destId="{BB4E7D41-1448-4AC2-AC5E-29BDC4C79900}" srcOrd="0" destOrd="0" presId="urn:microsoft.com/office/officeart/2005/8/layout/pyramid1"/>
    <dgm:cxn modelId="{A3F306BB-5BD0-48B2-B51F-E222A1E17453}" type="presOf" srcId="{2A8D32F8-B24A-4B5E-AE03-14743A711BF0}" destId="{9E5B9038-8306-466F-AFBE-44230869C25B}" srcOrd="1" destOrd="0" presId="urn:microsoft.com/office/officeart/2005/8/layout/pyramid1"/>
    <dgm:cxn modelId="{DBF2E318-F6EC-47F3-B151-814BB6A24507}" srcId="{C3EED93C-5DE0-43D0-BBDD-02AD12817EB2}" destId="{DCEC8937-AE1E-4104-B3F6-1347967E1BB0}" srcOrd="0" destOrd="0" parTransId="{C7FCBA2B-4C3A-4F59-B6F7-97666A6E7BDF}" sibTransId="{6AF6DA6A-8B93-44B3-9156-5AAA6DDA2A57}"/>
    <dgm:cxn modelId="{30A8F9A3-5F64-406D-BF4E-D39A2AEDED56}" srcId="{C3EED93C-5DE0-43D0-BBDD-02AD12817EB2}" destId="{2A8D32F8-B24A-4B5E-AE03-14743A711BF0}" srcOrd="2" destOrd="0" parTransId="{C3029D68-FD03-4CC6-9944-C7CBA5E88659}" sibTransId="{22BDC1DF-1252-48CA-B410-7E89334901E4}"/>
    <dgm:cxn modelId="{14545813-DBBC-48FE-9D40-A142AD622336}" type="presOf" srcId="{DCEC8937-AE1E-4104-B3F6-1347967E1BB0}" destId="{EE8CA35B-3C5D-42E6-8121-8171B37FA949}" srcOrd="1" destOrd="0" presId="urn:microsoft.com/office/officeart/2005/8/layout/pyramid1"/>
    <dgm:cxn modelId="{93451548-1091-49A0-87BB-1E1EF245B25F}" type="presOf" srcId="{1F1D8553-8B6D-43C6-9BD3-5C4B1277EACD}" destId="{65836F00-2C3A-4C4C-96DC-39988B9F6FA3}" srcOrd="0" destOrd="0" presId="urn:microsoft.com/office/officeart/2005/8/layout/pyramid1"/>
    <dgm:cxn modelId="{70DAA0B3-1618-485F-B34A-6CD911021C0F}" srcId="{C3EED93C-5DE0-43D0-BBDD-02AD12817EB2}" destId="{1F1D8553-8B6D-43C6-9BD3-5C4B1277EACD}" srcOrd="1" destOrd="0" parTransId="{6CD5E61F-20BC-49CF-A6C6-A16F8CC28663}" sibTransId="{37420C55-4E4F-4724-AF91-FCB94C31959F}"/>
    <dgm:cxn modelId="{86F22EC5-F1DF-401F-A594-1C130AA91DBE}" type="presOf" srcId="{C3EED93C-5DE0-43D0-BBDD-02AD12817EB2}" destId="{2639B79F-C5E3-4C8D-BBBA-8DDFC54AC3F9}" srcOrd="0" destOrd="0" presId="urn:microsoft.com/office/officeart/2005/8/layout/pyramid1"/>
    <dgm:cxn modelId="{C88435F6-8B5F-4CFA-9D52-D2364438BD8B}" type="presParOf" srcId="{2639B79F-C5E3-4C8D-BBBA-8DDFC54AC3F9}" destId="{2BADDD82-6CE3-4D34-A9CB-F9DDE2A20411}" srcOrd="0" destOrd="0" presId="urn:microsoft.com/office/officeart/2005/8/layout/pyramid1"/>
    <dgm:cxn modelId="{94DEC086-FA89-45DE-BB5E-47670712FBFB}" type="presParOf" srcId="{2BADDD82-6CE3-4D34-A9CB-F9DDE2A20411}" destId="{BB4E7D41-1448-4AC2-AC5E-29BDC4C79900}" srcOrd="0" destOrd="0" presId="urn:microsoft.com/office/officeart/2005/8/layout/pyramid1"/>
    <dgm:cxn modelId="{DDC58D03-0FED-40D4-AEAC-AE3ED2B330AA}" type="presParOf" srcId="{2BADDD82-6CE3-4D34-A9CB-F9DDE2A20411}" destId="{EE8CA35B-3C5D-42E6-8121-8171B37FA949}" srcOrd="1" destOrd="0" presId="urn:microsoft.com/office/officeart/2005/8/layout/pyramid1"/>
    <dgm:cxn modelId="{9CC70630-9D45-453B-B0AC-90889B1DE624}" type="presParOf" srcId="{2639B79F-C5E3-4C8D-BBBA-8DDFC54AC3F9}" destId="{677D6330-F1C0-4250-81DB-BBC1F9FBE6D3}" srcOrd="1" destOrd="0" presId="urn:microsoft.com/office/officeart/2005/8/layout/pyramid1"/>
    <dgm:cxn modelId="{5969BD74-826F-430C-ACB8-61B66293E171}" type="presParOf" srcId="{677D6330-F1C0-4250-81DB-BBC1F9FBE6D3}" destId="{65836F00-2C3A-4C4C-96DC-39988B9F6FA3}" srcOrd="0" destOrd="0" presId="urn:microsoft.com/office/officeart/2005/8/layout/pyramid1"/>
    <dgm:cxn modelId="{1150390E-D600-42D2-A521-14203CE0DDCD}" type="presParOf" srcId="{677D6330-F1C0-4250-81DB-BBC1F9FBE6D3}" destId="{1BB90C1B-3C66-4ED0-8D6C-59EB2107150B}" srcOrd="1" destOrd="0" presId="urn:microsoft.com/office/officeart/2005/8/layout/pyramid1"/>
    <dgm:cxn modelId="{4C21B345-B19E-4467-AC31-DB85E8936B4D}" type="presParOf" srcId="{2639B79F-C5E3-4C8D-BBBA-8DDFC54AC3F9}" destId="{B71A8643-51A0-4743-8810-7CE0B247B63F}" srcOrd="2" destOrd="0" presId="urn:microsoft.com/office/officeart/2005/8/layout/pyramid1"/>
    <dgm:cxn modelId="{AF2D815D-95FD-414B-AF43-1077D9085D17}" type="presParOf" srcId="{B71A8643-51A0-4743-8810-7CE0B247B63F}" destId="{6FC38C09-2547-435F-ABD0-5A9B390DCC6E}" srcOrd="0" destOrd="0" presId="urn:microsoft.com/office/officeart/2005/8/layout/pyramid1"/>
    <dgm:cxn modelId="{FB86E853-2409-4877-93DB-1DF1C194AB87}" type="presParOf" srcId="{B71A8643-51A0-4743-8810-7CE0B247B63F}" destId="{9E5B9038-8306-466F-AFBE-44230869C25B}"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EED93C-5DE0-43D0-BBDD-02AD12817EB2}" type="doc">
      <dgm:prSet loTypeId="urn:microsoft.com/office/officeart/2005/8/layout/pyramid1" loCatId="pyramid" qsTypeId="urn:microsoft.com/office/officeart/2005/8/quickstyle/3d1" qsCatId="3D" csTypeId="urn:microsoft.com/office/officeart/2005/8/colors/accent1_2#1" csCatId="accent1" phldr="1"/>
      <dgm:spPr/>
    </dgm:pt>
    <dgm:pt modelId="{DCEC8937-AE1E-4104-B3F6-1347967E1BB0}">
      <dgm:prSet phldrT="[Text]" custT="1"/>
      <dgm:spPr>
        <a:solidFill>
          <a:srgbClr val="002060"/>
        </a:solidFill>
      </dgm:spPr>
      <dgm:t>
        <a:bodyPr/>
        <a:lstStyle/>
        <a:p>
          <a:endParaRPr lang="en-GB" sz="800" b="1" smtClean="0">
            <a:solidFill>
              <a:schemeClr val="accent2"/>
            </a:solidFill>
            <a:ea typeface="MS PGothic" pitchFamily="34" charset="-128"/>
          </a:endParaRPr>
        </a:p>
      </dgm:t>
    </dgm:pt>
    <dgm:pt modelId="{C7FCBA2B-4C3A-4F59-B6F7-97666A6E7BDF}" type="parTrans" cxnId="{DBF2E318-F6EC-47F3-B151-814BB6A24507}">
      <dgm:prSet/>
      <dgm:spPr/>
      <dgm:t>
        <a:bodyPr/>
        <a:lstStyle/>
        <a:p>
          <a:endParaRPr lang="en-GB"/>
        </a:p>
      </dgm:t>
    </dgm:pt>
    <dgm:pt modelId="{6AF6DA6A-8B93-44B3-9156-5AAA6DDA2A57}" type="sibTrans" cxnId="{DBF2E318-F6EC-47F3-B151-814BB6A24507}">
      <dgm:prSet/>
      <dgm:spPr/>
      <dgm:t>
        <a:bodyPr/>
        <a:lstStyle/>
        <a:p>
          <a:endParaRPr lang="en-GB"/>
        </a:p>
      </dgm:t>
    </dgm:pt>
    <dgm:pt modelId="{1F1D8553-8B6D-43C6-9BD3-5C4B1277EACD}">
      <dgm:prSet phldrT="[Text]" custT="1"/>
      <dgm:spPr>
        <a:solidFill>
          <a:schemeClr val="tx2">
            <a:lumMod val="20000"/>
            <a:lumOff val="80000"/>
          </a:schemeClr>
        </a:solidFill>
      </dgm:spPr>
      <dgm:t>
        <a:bodyPr/>
        <a:lstStyle/>
        <a:p>
          <a:endParaRPr lang="en-GB" sz="700" b="1">
            <a:solidFill>
              <a:schemeClr val="accent2"/>
            </a:solidFill>
          </a:endParaRPr>
        </a:p>
      </dgm:t>
    </dgm:pt>
    <dgm:pt modelId="{6CD5E61F-20BC-49CF-A6C6-A16F8CC28663}" type="parTrans" cxnId="{70DAA0B3-1618-485F-B34A-6CD911021C0F}">
      <dgm:prSet/>
      <dgm:spPr/>
      <dgm:t>
        <a:bodyPr/>
        <a:lstStyle/>
        <a:p>
          <a:endParaRPr lang="en-GB"/>
        </a:p>
      </dgm:t>
    </dgm:pt>
    <dgm:pt modelId="{37420C55-4E4F-4724-AF91-FCB94C31959F}" type="sibTrans" cxnId="{70DAA0B3-1618-485F-B34A-6CD911021C0F}">
      <dgm:prSet/>
      <dgm:spPr/>
      <dgm:t>
        <a:bodyPr/>
        <a:lstStyle/>
        <a:p>
          <a:endParaRPr lang="en-GB"/>
        </a:p>
      </dgm:t>
    </dgm:pt>
    <dgm:pt modelId="{2A8D32F8-B24A-4B5E-AE03-14743A711BF0}">
      <dgm:prSet phldrT="[Text]" custT="1"/>
      <dgm:spPr>
        <a:solidFill>
          <a:schemeClr val="tx2">
            <a:lumMod val="20000"/>
            <a:lumOff val="80000"/>
          </a:schemeClr>
        </a:solidFill>
      </dgm:spPr>
      <dgm:t>
        <a:bodyPr/>
        <a:lstStyle/>
        <a:p>
          <a:endParaRPr lang="en-GB" sz="700" b="1">
            <a:solidFill>
              <a:schemeClr val="accent2"/>
            </a:solidFill>
          </a:endParaRPr>
        </a:p>
      </dgm:t>
    </dgm:pt>
    <dgm:pt modelId="{C3029D68-FD03-4CC6-9944-C7CBA5E88659}" type="parTrans" cxnId="{30A8F9A3-5F64-406D-BF4E-D39A2AEDED56}">
      <dgm:prSet/>
      <dgm:spPr/>
      <dgm:t>
        <a:bodyPr/>
        <a:lstStyle/>
        <a:p>
          <a:endParaRPr lang="en-GB"/>
        </a:p>
      </dgm:t>
    </dgm:pt>
    <dgm:pt modelId="{22BDC1DF-1252-48CA-B410-7E89334901E4}" type="sibTrans" cxnId="{30A8F9A3-5F64-406D-BF4E-D39A2AEDED56}">
      <dgm:prSet/>
      <dgm:spPr/>
      <dgm:t>
        <a:bodyPr/>
        <a:lstStyle/>
        <a:p>
          <a:endParaRPr lang="en-GB"/>
        </a:p>
      </dgm:t>
    </dgm:pt>
    <dgm:pt modelId="{2639B79F-C5E3-4C8D-BBBA-8DDFC54AC3F9}" type="pres">
      <dgm:prSet presAssocID="{C3EED93C-5DE0-43D0-BBDD-02AD12817EB2}" presName="Name0" presStyleCnt="0">
        <dgm:presLayoutVars>
          <dgm:dir/>
          <dgm:animLvl val="lvl"/>
          <dgm:resizeHandles val="exact"/>
        </dgm:presLayoutVars>
      </dgm:prSet>
      <dgm:spPr/>
    </dgm:pt>
    <dgm:pt modelId="{2BADDD82-6CE3-4D34-A9CB-F9DDE2A20411}" type="pres">
      <dgm:prSet presAssocID="{DCEC8937-AE1E-4104-B3F6-1347967E1BB0}" presName="Name8" presStyleCnt="0"/>
      <dgm:spPr/>
    </dgm:pt>
    <dgm:pt modelId="{BB4E7D41-1448-4AC2-AC5E-29BDC4C79900}" type="pres">
      <dgm:prSet presAssocID="{DCEC8937-AE1E-4104-B3F6-1347967E1BB0}" presName="level" presStyleLbl="node1" presStyleIdx="0" presStyleCnt="3" custAng="0" custLinFactNeighborY="-4856">
        <dgm:presLayoutVars>
          <dgm:chMax val="1"/>
          <dgm:bulletEnabled val="1"/>
        </dgm:presLayoutVars>
      </dgm:prSet>
      <dgm:spPr/>
      <dgm:t>
        <a:bodyPr/>
        <a:lstStyle/>
        <a:p>
          <a:endParaRPr lang="en-GB"/>
        </a:p>
      </dgm:t>
    </dgm:pt>
    <dgm:pt modelId="{EE8CA35B-3C5D-42E6-8121-8171B37FA949}" type="pres">
      <dgm:prSet presAssocID="{DCEC8937-AE1E-4104-B3F6-1347967E1BB0}" presName="levelTx" presStyleLbl="revTx" presStyleIdx="0" presStyleCnt="0">
        <dgm:presLayoutVars>
          <dgm:chMax val="1"/>
          <dgm:bulletEnabled val="1"/>
        </dgm:presLayoutVars>
      </dgm:prSet>
      <dgm:spPr/>
      <dgm:t>
        <a:bodyPr/>
        <a:lstStyle/>
        <a:p>
          <a:endParaRPr lang="en-GB"/>
        </a:p>
      </dgm:t>
    </dgm:pt>
    <dgm:pt modelId="{677D6330-F1C0-4250-81DB-BBC1F9FBE6D3}" type="pres">
      <dgm:prSet presAssocID="{1F1D8553-8B6D-43C6-9BD3-5C4B1277EACD}" presName="Name8" presStyleCnt="0"/>
      <dgm:spPr/>
    </dgm:pt>
    <dgm:pt modelId="{65836F00-2C3A-4C4C-96DC-39988B9F6FA3}" type="pres">
      <dgm:prSet presAssocID="{1F1D8553-8B6D-43C6-9BD3-5C4B1277EACD}" presName="level" presStyleLbl="node1" presStyleIdx="1" presStyleCnt="3">
        <dgm:presLayoutVars>
          <dgm:chMax val="1"/>
          <dgm:bulletEnabled val="1"/>
        </dgm:presLayoutVars>
      </dgm:prSet>
      <dgm:spPr/>
      <dgm:t>
        <a:bodyPr/>
        <a:lstStyle/>
        <a:p>
          <a:endParaRPr lang="en-GB"/>
        </a:p>
      </dgm:t>
    </dgm:pt>
    <dgm:pt modelId="{1BB90C1B-3C66-4ED0-8D6C-59EB2107150B}" type="pres">
      <dgm:prSet presAssocID="{1F1D8553-8B6D-43C6-9BD3-5C4B1277EACD}" presName="levelTx" presStyleLbl="revTx" presStyleIdx="0" presStyleCnt="0">
        <dgm:presLayoutVars>
          <dgm:chMax val="1"/>
          <dgm:bulletEnabled val="1"/>
        </dgm:presLayoutVars>
      </dgm:prSet>
      <dgm:spPr/>
      <dgm:t>
        <a:bodyPr/>
        <a:lstStyle/>
        <a:p>
          <a:endParaRPr lang="en-GB"/>
        </a:p>
      </dgm:t>
    </dgm:pt>
    <dgm:pt modelId="{B71A8643-51A0-4743-8810-7CE0B247B63F}" type="pres">
      <dgm:prSet presAssocID="{2A8D32F8-B24A-4B5E-AE03-14743A711BF0}" presName="Name8" presStyleCnt="0"/>
      <dgm:spPr/>
    </dgm:pt>
    <dgm:pt modelId="{6FC38C09-2547-435F-ABD0-5A9B390DCC6E}" type="pres">
      <dgm:prSet presAssocID="{2A8D32F8-B24A-4B5E-AE03-14743A711BF0}" presName="level" presStyleLbl="node1" presStyleIdx="2" presStyleCnt="3" custLinFactNeighborY="4862">
        <dgm:presLayoutVars>
          <dgm:chMax val="1"/>
          <dgm:bulletEnabled val="1"/>
        </dgm:presLayoutVars>
      </dgm:prSet>
      <dgm:spPr/>
      <dgm:t>
        <a:bodyPr/>
        <a:lstStyle/>
        <a:p>
          <a:endParaRPr lang="en-GB"/>
        </a:p>
      </dgm:t>
    </dgm:pt>
    <dgm:pt modelId="{9E5B9038-8306-466F-AFBE-44230869C25B}" type="pres">
      <dgm:prSet presAssocID="{2A8D32F8-B24A-4B5E-AE03-14743A711BF0}" presName="levelTx" presStyleLbl="revTx" presStyleIdx="0" presStyleCnt="0">
        <dgm:presLayoutVars>
          <dgm:chMax val="1"/>
          <dgm:bulletEnabled val="1"/>
        </dgm:presLayoutVars>
      </dgm:prSet>
      <dgm:spPr/>
      <dgm:t>
        <a:bodyPr/>
        <a:lstStyle/>
        <a:p>
          <a:endParaRPr lang="en-GB"/>
        </a:p>
      </dgm:t>
    </dgm:pt>
  </dgm:ptLst>
  <dgm:cxnLst>
    <dgm:cxn modelId="{8E60CB27-255F-486B-8C09-A1D5388C6357}" type="presOf" srcId="{1F1D8553-8B6D-43C6-9BD3-5C4B1277EACD}" destId="{65836F00-2C3A-4C4C-96DC-39988B9F6FA3}" srcOrd="0" destOrd="0" presId="urn:microsoft.com/office/officeart/2005/8/layout/pyramid1"/>
    <dgm:cxn modelId="{0105FFB2-A335-4CCC-A0C0-CD8B3B2FEA91}" type="presOf" srcId="{1F1D8553-8B6D-43C6-9BD3-5C4B1277EACD}" destId="{1BB90C1B-3C66-4ED0-8D6C-59EB2107150B}" srcOrd="1" destOrd="0" presId="urn:microsoft.com/office/officeart/2005/8/layout/pyramid1"/>
    <dgm:cxn modelId="{716EDCF2-D967-4378-B568-6BA8935985F3}" type="presOf" srcId="{2A8D32F8-B24A-4B5E-AE03-14743A711BF0}" destId="{9E5B9038-8306-466F-AFBE-44230869C25B}" srcOrd="1" destOrd="0" presId="urn:microsoft.com/office/officeart/2005/8/layout/pyramid1"/>
    <dgm:cxn modelId="{A12E2B1F-1114-41C9-8DAC-9FD7F02D73D9}" type="presOf" srcId="{C3EED93C-5DE0-43D0-BBDD-02AD12817EB2}" destId="{2639B79F-C5E3-4C8D-BBBA-8DDFC54AC3F9}" srcOrd="0" destOrd="0" presId="urn:microsoft.com/office/officeart/2005/8/layout/pyramid1"/>
    <dgm:cxn modelId="{DBF2E318-F6EC-47F3-B151-814BB6A24507}" srcId="{C3EED93C-5DE0-43D0-BBDD-02AD12817EB2}" destId="{DCEC8937-AE1E-4104-B3F6-1347967E1BB0}" srcOrd="0" destOrd="0" parTransId="{C7FCBA2B-4C3A-4F59-B6F7-97666A6E7BDF}" sibTransId="{6AF6DA6A-8B93-44B3-9156-5AAA6DDA2A57}"/>
    <dgm:cxn modelId="{30A8F9A3-5F64-406D-BF4E-D39A2AEDED56}" srcId="{C3EED93C-5DE0-43D0-BBDD-02AD12817EB2}" destId="{2A8D32F8-B24A-4B5E-AE03-14743A711BF0}" srcOrd="2" destOrd="0" parTransId="{C3029D68-FD03-4CC6-9944-C7CBA5E88659}" sibTransId="{22BDC1DF-1252-48CA-B410-7E89334901E4}"/>
    <dgm:cxn modelId="{70DAA0B3-1618-485F-B34A-6CD911021C0F}" srcId="{C3EED93C-5DE0-43D0-BBDD-02AD12817EB2}" destId="{1F1D8553-8B6D-43C6-9BD3-5C4B1277EACD}" srcOrd="1" destOrd="0" parTransId="{6CD5E61F-20BC-49CF-A6C6-A16F8CC28663}" sibTransId="{37420C55-4E4F-4724-AF91-FCB94C31959F}"/>
    <dgm:cxn modelId="{3FD8AB6D-9B6B-4DC3-A63D-B4B832C7B6E6}" type="presOf" srcId="{DCEC8937-AE1E-4104-B3F6-1347967E1BB0}" destId="{BB4E7D41-1448-4AC2-AC5E-29BDC4C79900}" srcOrd="0" destOrd="0" presId="urn:microsoft.com/office/officeart/2005/8/layout/pyramid1"/>
    <dgm:cxn modelId="{56B95C57-9C64-4EFF-A46C-9711A94895DC}" type="presOf" srcId="{DCEC8937-AE1E-4104-B3F6-1347967E1BB0}" destId="{EE8CA35B-3C5D-42E6-8121-8171B37FA949}" srcOrd="1" destOrd="0" presId="urn:microsoft.com/office/officeart/2005/8/layout/pyramid1"/>
    <dgm:cxn modelId="{350C140F-4E5A-41FB-875F-FD63A21C08C2}" type="presOf" srcId="{2A8D32F8-B24A-4B5E-AE03-14743A711BF0}" destId="{6FC38C09-2547-435F-ABD0-5A9B390DCC6E}" srcOrd="0" destOrd="0" presId="urn:microsoft.com/office/officeart/2005/8/layout/pyramid1"/>
    <dgm:cxn modelId="{82251645-02EF-429B-82C1-E3CEE32D74BE}" type="presParOf" srcId="{2639B79F-C5E3-4C8D-BBBA-8DDFC54AC3F9}" destId="{2BADDD82-6CE3-4D34-A9CB-F9DDE2A20411}" srcOrd="0" destOrd="0" presId="urn:microsoft.com/office/officeart/2005/8/layout/pyramid1"/>
    <dgm:cxn modelId="{F82F79A0-576B-49C7-983B-357F0E3B9A75}" type="presParOf" srcId="{2BADDD82-6CE3-4D34-A9CB-F9DDE2A20411}" destId="{BB4E7D41-1448-4AC2-AC5E-29BDC4C79900}" srcOrd="0" destOrd="0" presId="urn:microsoft.com/office/officeart/2005/8/layout/pyramid1"/>
    <dgm:cxn modelId="{3958B722-5D4D-4E6F-854D-A732C449D0BB}" type="presParOf" srcId="{2BADDD82-6CE3-4D34-A9CB-F9DDE2A20411}" destId="{EE8CA35B-3C5D-42E6-8121-8171B37FA949}" srcOrd="1" destOrd="0" presId="urn:microsoft.com/office/officeart/2005/8/layout/pyramid1"/>
    <dgm:cxn modelId="{96859275-84DC-4CE5-9C8E-E20B8B435DB6}" type="presParOf" srcId="{2639B79F-C5E3-4C8D-BBBA-8DDFC54AC3F9}" destId="{677D6330-F1C0-4250-81DB-BBC1F9FBE6D3}" srcOrd="1" destOrd="0" presId="urn:microsoft.com/office/officeart/2005/8/layout/pyramid1"/>
    <dgm:cxn modelId="{5B0DE3F2-4537-44A2-AD78-97EAFACD0783}" type="presParOf" srcId="{677D6330-F1C0-4250-81DB-BBC1F9FBE6D3}" destId="{65836F00-2C3A-4C4C-96DC-39988B9F6FA3}" srcOrd="0" destOrd="0" presId="urn:microsoft.com/office/officeart/2005/8/layout/pyramid1"/>
    <dgm:cxn modelId="{AF3DF472-FF65-435F-A45C-7E01FC18061F}" type="presParOf" srcId="{677D6330-F1C0-4250-81DB-BBC1F9FBE6D3}" destId="{1BB90C1B-3C66-4ED0-8D6C-59EB2107150B}" srcOrd="1" destOrd="0" presId="urn:microsoft.com/office/officeart/2005/8/layout/pyramid1"/>
    <dgm:cxn modelId="{3C7EBF45-B576-4DA5-AEEA-A1C9A1A0A739}" type="presParOf" srcId="{2639B79F-C5E3-4C8D-BBBA-8DDFC54AC3F9}" destId="{B71A8643-51A0-4743-8810-7CE0B247B63F}" srcOrd="2" destOrd="0" presId="urn:microsoft.com/office/officeart/2005/8/layout/pyramid1"/>
    <dgm:cxn modelId="{28623C35-4F00-41B6-B9B4-DF78550DE6E8}" type="presParOf" srcId="{B71A8643-51A0-4743-8810-7CE0B247B63F}" destId="{6FC38C09-2547-435F-ABD0-5A9B390DCC6E}" srcOrd="0" destOrd="0" presId="urn:microsoft.com/office/officeart/2005/8/layout/pyramid1"/>
    <dgm:cxn modelId="{77EDE8DE-8407-475D-9A4A-4C34613AB529}" type="presParOf" srcId="{B71A8643-51A0-4743-8810-7CE0B247B63F}" destId="{9E5B9038-8306-466F-AFBE-44230869C25B}"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0971</cdr:x>
      <cdr:y>0.06877</cdr:y>
    </cdr:from>
    <cdr:to>
      <cdr:x>0.95928</cdr:x>
      <cdr:y>0.85722</cdr:y>
    </cdr:to>
    <cdr:sp macro="" textlink="">
      <cdr:nvSpPr>
        <cdr:cNvPr id="2" name="Freeform 1"/>
        <cdr:cNvSpPr/>
      </cdr:nvSpPr>
      <cdr:spPr>
        <a:xfrm xmlns:a="http://schemas.openxmlformats.org/drawingml/2006/main">
          <a:off x="436246" y="177801"/>
          <a:ext cx="3378200" cy="2038350"/>
        </a:xfrm>
        <a:custGeom xmlns:a="http://schemas.openxmlformats.org/drawingml/2006/main">
          <a:avLst/>
          <a:gdLst>
            <a:gd name="connsiteX0" fmla="*/ 0 w 3378200"/>
            <a:gd name="connsiteY0" fmla="*/ 2038350 h 2038350"/>
            <a:gd name="connsiteX1" fmla="*/ 88900 w 3378200"/>
            <a:gd name="connsiteY1" fmla="*/ 1997075 h 2038350"/>
            <a:gd name="connsiteX2" fmla="*/ 165100 w 3378200"/>
            <a:gd name="connsiteY2" fmla="*/ 1958975 h 2038350"/>
            <a:gd name="connsiteX3" fmla="*/ 257175 w 3378200"/>
            <a:gd name="connsiteY3" fmla="*/ 1898650 h 2038350"/>
            <a:gd name="connsiteX4" fmla="*/ 307975 w 3378200"/>
            <a:gd name="connsiteY4" fmla="*/ 1863725 h 2038350"/>
            <a:gd name="connsiteX5" fmla="*/ 377825 w 3378200"/>
            <a:gd name="connsiteY5" fmla="*/ 1812925 h 2038350"/>
            <a:gd name="connsiteX6" fmla="*/ 450850 w 3378200"/>
            <a:gd name="connsiteY6" fmla="*/ 1762125 h 2038350"/>
            <a:gd name="connsiteX7" fmla="*/ 485775 w 3378200"/>
            <a:gd name="connsiteY7" fmla="*/ 1739900 h 2038350"/>
            <a:gd name="connsiteX8" fmla="*/ 539750 w 3378200"/>
            <a:gd name="connsiteY8" fmla="*/ 1714500 h 2038350"/>
            <a:gd name="connsiteX9" fmla="*/ 581025 w 3378200"/>
            <a:gd name="connsiteY9" fmla="*/ 1685925 h 2038350"/>
            <a:gd name="connsiteX10" fmla="*/ 644525 w 3378200"/>
            <a:gd name="connsiteY10" fmla="*/ 1635125 h 2038350"/>
            <a:gd name="connsiteX11" fmla="*/ 701675 w 3378200"/>
            <a:gd name="connsiteY11" fmla="*/ 1600200 h 2038350"/>
            <a:gd name="connsiteX12" fmla="*/ 755650 w 3378200"/>
            <a:gd name="connsiteY12" fmla="*/ 1581150 h 2038350"/>
            <a:gd name="connsiteX13" fmla="*/ 815975 w 3378200"/>
            <a:gd name="connsiteY13" fmla="*/ 1543050 h 2038350"/>
            <a:gd name="connsiteX14" fmla="*/ 841375 w 3378200"/>
            <a:gd name="connsiteY14" fmla="*/ 1511300 h 2038350"/>
            <a:gd name="connsiteX15" fmla="*/ 869950 w 3378200"/>
            <a:gd name="connsiteY15" fmla="*/ 1485900 h 2038350"/>
            <a:gd name="connsiteX16" fmla="*/ 898525 w 3378200"/>
            <a:gd name="connsiteY16" fmla="*/ 1463675 h 2038350"/>
            <a:gd name="connsiteX17" fmla="*/ 936625 w 3378200"/>
            <a:gd name="connsiteY17" fmla="*/ 1454150 h 2038350"/>
            <a:gd name="connsiteX18" fmla="*/ 971550 w 3378200"/>
            <a:gd name="connsiteY18" fmla="*/ 1422400 h 2038350"/>
            <a:gd name="connsiteX19" fmla="*/ 1003300 w 3378200"/>
            <a:gd name="connsiteY19" fmla="*/ 1393825 h 2038350"/>
            <a:gd name="connsiteX20" fmla="*/ 1031875 w 3378200"/>
            <a:gd name="connsiteY20" fmla="*/ 1371600 h 2038350"/>
            <a:gd name="connsiteX21" fmla="*/ 1069975 w 3378200"/>
            <a:gd name="connsiteY21" fmla="*/ 1352550 h 2038350"/>
            <a:gd name="connsiteX22" fmla="*/ 1104900 w 3378200"/>
            <a:gd name="connsiteY22" fmla="*/ 1323975 h 2038350"/>
            <a:gd name="connsiteX23" fmla="*/ 1152525 w 3378200"/>
            <a:gd name="connsiteY23" fmla="*/ 1285875 h 2038350"/>
            <a:gd name="connsiteX24" fmla="*/ 1187450 w 3378200"/>
            <a:gd name="connsiteY24" fmla="*/ 1270000 h 2038350"/>
            <a:gd name="connsiteX25" fmla="*/ 1235075 w 3378200"/>
            <a:gd name="connsiteY25" fmla="*/ 1235075 h 2038350"/>
            <a:gd name="connsiteX26" fmla="*/ 1273175 w 3378200"/>
            <a:gd name="connsiteY26" fmla="*/ 1212850 h 2038350"/>
            <a:gd name="connsiteX27" fmla="*/ 1314450 w 3378200"/>
            <a:gd name="connsiteY27" fmla="*/ 1193800 h 2038350"/>
            <a:gd name="connsiteX28" fmla="*/ 1352550 w 3378200"/>
            <a:gd name="connsiteY28" fmla="*/ 1184275 h 2038350"/>
            <a:gd name="connsiteX29" fmla="*/ 1409700 w 3378200"/>
            <a:gd name="connsiteY29" fmla="*/ 1162050 h 2038350"/>
            <a:gd name="connsiteX30" fmla="*/ 1454150 w 3378200"/>
            <a:gd name="connsiteY30" fmla="*/ 1133475 h 2038350"/>
            <a:gd name="connsiteX31" fmla="*/ 1482725 w 3378200"/>
            <a:gd name="connsiteY31" fmla="*/ 1114425 h 2038350"/>
            <a:gd name="connsiteX32" fmla="*/ 1520825 w 3378200"/>
            <a:gd name="connsiteY32" fmla="*/ 1098550 h 2038350"/>
            <a:gd name="connsiteX33" fmla="*/ 1571625 w 3378200"/>
            <a:gd name="connsiteY33" fmla="*/ 1066800 h 2038350"/>
            <a:gd name="connsiteX34" fmla="*/ 1625600 w 3378200"/>
            <a:gd name="connsiteY34" fmla="*/ 1025525 h 2038350"/>
            <a:gd name="connsiteX35" fmla="*/ 1651000 w 3378200"/>
            <a:gd name="connsiteY35" fmla="*/ 996950 h 2038350"/>
            <a:gd name="connsiteX36" fmla="*/ 1689100 w 3378200"/>
            <a:gd name="connsiteY36" fmla="*/ 971550 h 2038350"/>
            <a:gd name="connsiteX37" fmla="*/ 1727200 w 3378200"/>
            <a:gd name="connsiteY37" fmla="*/ 946150 h 2038350"/>
            <a:gd name="connsiteX38" fmla="*/ 1790700 w 3378200"/>
            <a:gd name="connsiteY38" fmla="*/ 917575 h 2038350"/>
            <a:gd name="connsiteX39" fmla="*/ 1844675 w 3378200"/>
            <a:gd name="connsiteY39" fmla="*/ 895350 h 2038350"/>
            <a:gd name="connsiteX40" fmla="*/ 1879600 w 3378200"/>
            <a:gd name="connsiteY40" fmla="*/ 876300 h 2038350"/>
            <a:gd name="connsiteX41" fmla="*/ 1914525 w 3378200"/>
            <a:gd name="connsiteY41" fmla="*/ 841375 h 2038350"/>
            <a:gd name="connsiteX42" fmla="*/ 1984375 w 3378200"/>
            <a:gd name="connsiteY42" fmla="*/ 806450 h 2038350"/>
            <a:gd name="connsiteX43" fmla="*/ 2028825 w 3378200"/>
            <a:gd name="connsiteY43" fmla="*/ 768350 h 2038350"/>
            <a:gd name="connsiteX44" fmla="*/ 2054225 w 3378200"/>
            <a:gd name="connsiteY44" fmla="*/ 752475 h 2038350"/>
            <a:gd name="connsiteX45" fmla="*/ 2066925 w 3378200"/>
            <a:gd name="connsiteY45" fmla="*/ 739775 h 2038350"/>
            <a:gd name="connsiteX46" fmla="*/ 2101850 w 3378200"/>
            <a:gd name="connsiteY46" fmla="*/ 723900 h 2038350"/>
            <a:gd name="connsiteX47" fmla="*/ 2130425 w 3378200"/>
            <a:gd name="connsiteY47" fmla="*/ 695325 h 2038350"/>
            <a:gd name="connsiteX48" fmla="*/ 2171700 w 3378200"/>
            <a:gd name="connsiteY48" fmla="*/ 673100 h 2038350"/>
            <a:gd name="connsiteX49" fmla="*/ 2203450 w 3378200"/>
            <a:gd name="connsiteY49" fmla="*/ 650875 h 2038350"/>
            <a:gd name="connsiteX50" fmla="*/ 2228850 w 3378200"/>
            <a:gd name="connsiteY50" fmla="*/ 631825 h 2038350"/>
            <a:gd name="connsiteX51" fmla="*/ 2257425 w 3378200"/>
            <a:gd name="connsiteY51" fmla="*/ 609600 h 2038350"/>
            <a:gd name="connsiteX52" fmla="*/ 2292350 w 3378200"/>
            <a:gd name="connsiteY52" fmla="*/ 587375 h 2038350"/>
            <a:gd name="connsiteX53" fmla="*/ 2346325 w 3378200"/>
            <a:gd name="connsiteY53" fmla="*/ 558800 h 2038350"/>
            <a:gd name="connsiteX54" fmla="*/ 2406650 w 3378200"/>
            <a:gd name="connsiteY54" fmla="*/ 523875 h 2038350"/>
            <a:gd name="connsiteX55" fmla="*/ 2476500 w 3378200"/>
            <a:gd name="connsiteY55" fmla="*/ 485775 h 2038350"/>
            <a:gd name="connsiteX56" fmla="*/ 2501900 w 3378200"/>
            <a:gd name="connsiteY56" fmla="*/ 447675 h 2038350"/>
            <a:gd name="connsiteX57" fmla="*/ 2552700 w 3378200"/>
            <a:gd name="connsiteY57" fmla="*/ 441325 h 2038350"/>
            <a:gd name="connsiteX58" fmla="*/ 2581275 w 3378200"/>
            <a:gd name="connsiteY58" fmla="*/ 415925 h 2038350"/>
            <a:gd name="connsiteX59" fmla="*/ 2613025 w 3378200"/>
            <a:gd name="connsiteY59" fmla="*/ 381000 h 2038350"/>
            <a:gd name="connsiteX60" fmla="*/ 2651125 w 3378200"/>
            <a:gd name="connsiteY60" fmla="*/ 355600 h 2038350"/>
            <a:gd name="connsiteX61" fmla="*/ 2708275 w 3378200"/>
            <a:gd name="connsiteY61" fmla="*/ 317500 h 2038350"/>
            <a:gd name="connsiteX62" fmla="*/ 2762250 w 3378200"/>
            <a:gd name="connsiteY62" fmla="*/ 304800 h 2038350"/>
            <a:gd name="connsiteX63" fmla="*/ 2819400 w 3378200"/>
            <a:gd name="connsiteY63" fmla="*/ 282575 h 2038350"/>
            <a:gd name="connsiteX64" fmla="*/ 2895600 w 3378200"/>
            <a:gd name="connsiteY64" fmla="*/ 254000 h 2038350"/>
            <a:gd name="connsiteX65" fmla="*/ 2955925 w 3378200"/>
            <a:gd name="connsiteY65" fmla="*/ 222250 h 2038350"/>
            <a:gd name="connsiteX66" fmla="*/ 3035300 w 3378200"/>
            <a:gd name="connsiteY66" fmla="*/ 177800 h 2038350"/>
            <a:gd name="connsiteX67" fmla="*/ 3063875 w 3378200"/>
            <a:gd name="connsiteY67" fmla="*/ 174625 h 2038350"/>
            <a:gd name="connsiteX68" fmla="*/ 3076575 w 3378200"/>
            <a:gd name="connsiteY68" fmla="*/ 155575 h 2038350"/>
            <a:gd name="connsiteX69" fmla="*/ 3140075 w 3378200"/>
            <a:gd name="connsiteY69" fmla="*/ 146050 h 2038350"/>
            <a:gd name="connsiteX70" fmla="*/ 3162300 w 3378200"/>
            <a:gd name="connsiteY70" fmla="*/ 117475 h 2038350"/>
            <a:gd name="connsiteX71" fmla="*/ 3190875 w 3378200"/>
            <a:gd name="connsiteY71" fmla="*/ 117475 h 2038350"/>
            <a:gd name="connsiteX72" fmla="*/ 3225800 w 3378200"/>
            <a:gd name="connsiteY72" fmla="*/ 69850 h 2038350"/>
            <a:gd name="connsiteX73" fmla="*/ 3254375 w 3378200"/>
            <a:gd name="connsiteY73" fmla="*/ 50800 h 2038350"/>
            <a:gd name="connsiteX74" fmla="*/ 3302000 w 3378200"/>
            <a:gd name="connsiteY74" fmla="*/ 25400 h 2038350"/>
            <a:gd name="connsiteX75" fmla="*/ 3378200 w 3378200"/>
            <a:gd name="connsiteY75" fmla="*/ 0 h 203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378200" h="2038350">
              <a:moveTo>
                <a:pt x="0" y="2038350"/>
              </a:moveTo>
              <a:lnTo>
                <a:pt x="88900" y="1997075"/>
              </a:lnTo>
              <a:lnTo>
                <a:pt x="165100" y="1958975"/>
              </a:lnTo>
              <a:lnTo>
                <a:pt x="257175" y="1898650"/>
              </a:lnTo>
              <a:lnTo>
                <a:pt x="307975" y="1863725"/>
              </a:lnTo>
              <a:lnTo>
                <a:pt x="377825" y="1812925"/>
              </a:lnTo>
              <a:lnTo>
                <a:pt x="450850" y="1762125"/>
              </a:lnTo>
              <a:lnTo>
                <a:pt x="485775" y="1739900"/>
              </a:lnTo>
              <a:lnTo>
                <a:pt x="539750" y="1714500"/>
              </a:lnTo>
              <a:lnTo>
                <a:pt x="581025" y="1685925"/>
              </a:lnTo>
              <a:lnTo>
                <a:pt x="644525" y="1635125"/>
              </a:lnTo>
              <a:lnTo>
                <a:pt x="701675" y="1600200"/>
              </a:lnTo>
              <a:lnTo>
                <a:pt x="755650" y="1581150"/>
              </a:lnTo>
              <a:lnTo>
                <a:pt x="815975" y="1543050"/>
              </a:lnTo>
              <a:lnTo>
                <a:pt x="841375" y="1511300"/>
              </a:lnTo>
              <a:lnTo>
                <a:pt x="869950" y="1485900"/>
              </a:lnTo>
              <a:lnTo>
                <a:pt x="898525" y="1463675"/>
              </a:lnTo>
              <a:lnTo>
                <a:pt x="936625" y="1454150"/>
              </a:lnTo>
              <a:lnTo>
                <a:pt x="971550" y="1422400"/>
              </a:lnTo>
              <a:lnTo>
                <a:pt x="1003300" y="1393825"/>
              </a:lnTo>
              <a:lnTo>
                <a:pt x="1031875" y="1371600"/>
              </a:lnTo>
              <a:lnTo>
                <a:pt x="1069975" y="1352550"/>
              </a:lnTo>
              <a:lnTo>
                <a:pt x="1104900" y="1323975"/>
              </a:lnTo>
              <a:lnTo>
                <a:pt x="1152525" y="1285875"/>
              </a:lnTo>
              <a:lnTo>
                <a:pt x="1187450" y="1270000"/>
              </a:lnTo>
              <a:lnTo>
                <a:pt x="1235075" y="1235075"/>
              </a:lnTo>
              <a:lnTo>
                <a:pt x="1273175" y="1212850"/>
              </a:lnTo>
              <a:lnTo>
                <a:pt x="1314450" y="1193800"/>
              </a:lnTo>
              <a:lnTo>
                <a:pt x="1352550" y="1184275"/>
              </a:lnTo>
              <a:lnTo>
                <a:pt x="1409700" y="1162050"/>
              </a:lnTo>
              <a:lnTo>
                <a:pt x="1454150" y="1133475"/>
              </a:lnTo>
              <a:lnTo>
                <a:pt x="1482725" y="1114425"/>
              </a:lnTo>
              <a:lnTo>
                <a:pt x="1520825" y="1098550"/>
              </a:lnTo>
              <a:lnTo>
                <a:pt x="1571625" y="1066800"/>
              </a:lnTo>
              <a:lnTo>
                <a:pt x="1625600" y="1025525"/>
              </a:lnTo>
              <a:lnTo>
                <a:pt x="1651000" y="996950"/>
              </a:lnTo>
              <a:lnTo>
                <a:pt x="1689100" y="971550"/>
              </a:lnTo>
              <a:lnTo>
                <a:pt x="1727200" y="946150"/>
              </a:lnTo>
              <a:lnTo>
                <a:pt x="1790700" y="917575"/>
              </a:lnTo>
              <a:lnTo>
                <a:pt x="1844675" y="895350"/>
              </a:lnTo>
              <a:lnTo>
                <a:pt x="1879600" y="876300"/>
              </a:lnTo>
              <a:lnTo>
                <a:pt x="1914525" y="841375"/>
              </a:lnTo>
              <a:lnTo>
                <a:pt x="1984375" y="806450"/>
              </a:lnTo>
              <a:lnTo>
                <a:pt x="2028825" y="768350"/>
              </a:lnTo>
              <a:lnTo>
                <a:pt x="2054225" y="752475"/>
              </a:lnTo>
              <a:lnTo>
                <a:pt x="2066925" y="739775"/>
              </a:lnTo>
              <a:lnTo>
                <a:pt x="2101850" y="723900"/>
              </a:lnTo>
              <a:lnTo>
                <a:pt x="2130425" y="695325"/>
              </a:lnTo>
              <a:lnTo>
                <a:pt x="2171700" y="673100"/>
              </a:lnTo>
              <a:lnTo>
                <a:pt x="2203450" y="650875"/>
              </a:lnTo>
              <a:lnTo>
                <a:pt x="2228850" y="631825"/>
              </a:lnTo>
              <a:lnTo>
                <a:pt x="2257425" y="609600"/>
              </a:lnTo>
              <a:lnTo>
                <a:pt x="2292350" y="587375"/>
              </a:lnTo>
              <a:lnTo>
                <a:pt x="2346325" y="558800"/>
              </a:lnTo>
              <a:lnTo>
                <a:pt x="2406650" y="523875"/>
              </a:lnTo>
              <a:lnTo>
                <a:pt x="2476500" y="485775"/>
              </a:lnTo>
              <a:lnTo>
                <a:pt x="2501900" y="447675"/>
              </a:lnTo>
              <a:lnTo>
                <a:pt x="2552700" y="441325"/>
              </a:lnTo>
              <a:lnTo>
                <a:pt x="2581275" y="415925"/>
              </a:lnTo>
              <a:lnTo>
                <a:pt x="2613025" y="381000"/>
              </a:lnTo>
              <a:lnTo>
                <a:pt x="2651125" y="355600"/>
              </a:lnTo>
              <a:lnTo>
                <a:pt x="2708275" y="317500"/>
              </a:lnTo>
              <a:lnTo>
                <a:pt x="2762250" y="304800"/>
              </a:lnTo>
              <a:lnTo>
                <a:pt x="2819400" y="282575"/>
              </a:lnTo>
              <a:lnTo>
                <a:pt x="2895600" y="254000"/>
              </a:lnTo>
              <a:lnTo>
                <a:pt x="2955925" y="222250"/>
              </a:lnTo>
              <a:lnTo>
                <a:pt x="3035300" y="177800"/>
              </a:lnTo>
              <a:lnTo>
                <a:pt x="3063875" y="174625"/>
              </a:lnTo>
              <a:lnTo>
                <a:pt x="3076575" y="155575"/>
              </a:lnTo>
              <a:lnTo>
                <a:pt x="3140075" y="146050"/>
              </a:lnTo>
              <a:lnTo>
                <a:pt x="3162300" y="117475"/>
              </a:lnTo>
              <a:lnTo>
                <a:pt x="3190875" y="117475"/>
              </a:lnTo>
              <a:lnTo>
                <a:pt x="3225800" y="69850"/>
              </a:lnTo>
              <a:lnTo>
                <a:pt x="3254375" y="50800"/>
              </a:lnTo>
              <a:lnTo>
                <a:pt x="3302000" y="25400"/>
              </a:lnTo>
              <a:lnTo>
                <a:pt x="3378200" y="0"/>
              </a:lnTo>
            </a:path>
          </a:pathLst>
        </a:custGeom>
        <a:noFill xmlns:a="http://schemas.openxmlformats.org/drawingml/2006/main"/>
        <a:ln xmlns:a="http://schemas.openxmlformats.org/drawingml/2006/main" w="28575">
          <a:solidFill>
            <a:srgbClr val="001965"/>
          </a:solidFill>
          <a:prstDash val="soli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1121</cdr:x>
      <cdr:y>0.1007</cdr:y>
    </cdr:from>
    <cdr:to>
      <cdr:x>0.95688</cdr:x>
      <cdr:y>0.85844</cdr:y>
    </cdr:to>
    <cdr:sp macro="" textlink="">
      <cdr:nvSpPr>
        <cdr:cNvPr id="3" name="Freeform 2"/>
        <cdr:cNvSpPr/>
      </cdr:nvSpPr>
      <cdr:spPr>
        <a:xfrm xmlns:a="http://schemas.openxmlformats.org/drawingml/2006/main">
          <a:off x="445771" y="260351"/>
          <a:ext cx="3359150" cy="1958975"/>
        </a:xfrm>
        <a:custGeom xmlns:a="http://schemas.openxmlformats.org/drawingml/2006/main">
          <a:avLst/>
          <a:gdLst>
            <a:gd name="connsiteX0" fmla="*/ 0 w 3359150"/>
            <a:gd name="connsiteY0" fmla="*/ 1958975 h 1958975"/>
            <a:gd name="connsiteX1" fmla="*/ 101600 w 3359150"/>
            <a:gd name="connsiteY1" fmla="*/ 1917700 h 1958975"/>
            <a:gd name="connsiteX2" fmla="*/ 142875 w 3359150"/>
            <a:gd name="connsiteY2" fmla="*/ 1860550 h 1958975"/>
            <a:gd name="connsiteX3" fmla="*/ 200025 w 3359150"/>
            <a:gd name="connsiteY3" fmla="*/ 1822450 h 1958975"/>
            <a:gd name="connsiteX4" fmla="*/ 250825 w 3359150"/>
            <a:gd name="connsiteY4" fmla="*/ 1793875 h 1958975"/>
            <a:gd name="connsiteX5" fmla="*/ 333375 w 3359150"/>
            <a:gd name="connsiteY5" fmla="*/ 1762125 h 1958975"/>
            <a:gd name="connsiteX6" fmla="*/ 396875 w 3359150"/>
            <a:gd name="connsiteY6" fmla="*/ 1727200 h 1958975"/>
            <a:gd name="connsiteX7" fmla="*/ 488950 w 3359150"/>
            <a:gd name="connsiteY7" fmla="*/ 1673225 h 1958975"/>
            <a:gd name="connsiteX8" fmla="*/ 549275 w 3359150"/>
            <a:gd name="connsiteY8" fmla="*/ 1654175 h 1958975"/>
            <a:gd name="connsiteX9" fmla="*/ 603250 w 3359150"/>
            <a:gd name="connsiteY9" fmla="*/ 1593850 h 1958975"/>
            <a:gd name="connsiteX10" fmla="*/ 771525 w 3359150"/>
            <a:gd name="connsiteY10" fmla="*/ 1514475 h 1958975"/>
            <a:gd name="connsiteX11" fmla="*/ 847725 w 3359150"/>
            <a:gd name="connsiteY11" fmla="*/ 1466850 h 1958975"/>
            <a:gd name="connsiteX12" fmla="*/ 1012825 w 3359150"/>
            <a:gd name="connsiteY12" fmla="*/ 1365250 h 1958975"/>
            <a:gd name="connsiteX13" fmla="*/ 1047750 w 3359150"/>
            <a:gd name="connsiteY13" fmla="*/ 1355725 h 1958975"/>
            <a:gd name="connsiteX14" fmla="*/ 1063625 w 3359150"/>
            <a:gd name="connsiteY14" fmla="*/ 1333500 h 1958975"/>
            <a:gd name="connsiteX15" fmla="*/ 1225550 w 3359150"/>
            <a:gd name="connsiteY15" fmla="*/ 1260475 h 1958975"/>
            <a:gd name="connsiteX16" fmla="*/ 1270000 w 3359150"/>
            <a:gd name="connsiteY16" fmla="*/ 1231900 h 1958975"/>
            <a:gd name="connsiteX17" fmla="*/ 1397000 w 3359150"/>
            <a:gd name="connsiteY17" fmla="*/ 1146175 h 1958975"/>
            <a:gd name="connsiteX18" fmla="*/ 1473200 w 3359150"/>
            <a:gd name="connsiteY18" fmla="*/ 1085850 h 1958975"/>
            <a:gd name="connsiteX19" fmla="*/ 1517650 w 3359150"/>
            <a:gd name="connsiteY19" fmla="*/ 1060450 h 1958975"/>
            <a:gd name="connsiteX20" fmla="*/ 1597025 w 3359150"/>
            <a:gd name="connsiteY20" fmla="*/ 1009650 h 1958975"/>
            <a:gd name="connsiteX21" fmla="*/ 1663700 w 3359150"/>
            <a:gd name="connsiteY21" fmla="*/ 968375 h 1958975"/>
            <a:gd name="connsiteX22" fmla="*/ 1724025 w 3359150"/>
            <a:gd name="connsiteY22" fmla="*/ 917575 h 1958975"/>
            <a:gd name="connsiteX23" fmla="*/ 1844675 w 3359150"/>
            <a:gd name="connsiteY23" fmla="*/ 876300 h 1958975"/>
            <a:gd name="connsiteX24" fmla="*/ 1866900 w 3359150"/>
            <a:gd name="connsiteY24" fmla="*/ 857250 h 1958975"/>
            <a:gd name="connsiteX25" fmla="*/ 1879600 w 3359150"/>
            <a:gd name="connsiteY25" fmla="*/ 847725 h 1958975"/>
            <a:gd name="connsiteX26" fmla="*/ 1924050 w 3359150"/>
            <a:gd name="connsiteY26" fmla="*/ 828675 h 1958975"/>
            <a:gd name="connsiteX27" fmla="*/ 1955800 w 3359150"/>
            <a:gd name="connsiteY27" fmla="*/ 784225 h 1958975"/>
            <a:gd name="connsiteX28" fmla="*/ 2019300 w 3359150"/>
            <a:gd name="connsiteY28" fmla="*/ 752475 h 1958975"/>
            <a:gd name="connsiteX29" fmla="*/ 2066925 w 3359150"/>
            <a:gd name="connsiteY29" fmla="*/ 720725 h 1958975"/>
            <a:gd name="connsiteX30" fmla="*/ 2092325 w 3359150"/>
            <a:gd name="connsiteY30" fmla="*/ 720725 h 1958975"/>
            <a:gd name="connsiteX31" fmla="*/ 2117725 w 3359150"/>
            <a:gd name="connsiteY31" fmla="*/ 701675 h 1958975"/>
            <a:gd name="connsiteX32" fmla="*/ 2212975 w 3359150"/>
            <a:gd name="connsiteY32" fmla="*/ 679450 h 1958975"/>
            <a:gd name="connsiteX33" fmla="*/ 2263775 w 3359150"/>
            <a:gd name="connsiteY33" fmla="*/ 660400 h 1958975"/>
            <a:gd name="connsiteX34" fmla="*/ 2298700 w 3359150"/>
            <a:gd name="connsiteY34" fmla="*/ 647700 h 1958975"/>
            <a:gd name="connsiteX35" fmla="*/ 2343150 w 3359150"/>
            <a:gd name="connsiteY35" fmla="*/ 590550 h 1958975"/>
            <a:gd name="connsiteX36" fmla="*/ 2419350 w 3359150"/>
            <a:gd name="connsiteY36" fmla="*/ 577850 h 1958975"/>
            <a:gd name="connsiteX37" fmla="*/ 2473325 w 3359150"/>
            <a:gd name="connsiteY37" fmla="*/ 542925 h 1958975"/>
            <a:gd name="connsiteX38" fmla="*/ 2533650 w 3359150"/>
            <a:gd name="connsiteY38" fmla="*/ 504825 h 1958975"/>
            <a:gd name="connsiteX39" fmla="*/ 2628900 w 3359150"/>
            <a:gd name="connsiteY39" fmla="*/ 457200 h 1958975"/>
            <a:gd name="connsiteX40" fmla="*/ 2676525 w 3359150"/>
            <a:gd name="connsiteY40" fmla="*/ 412750 h 1958975"/>
            <a:gd name="connsiteX41" fmla="*/ 2755900 w 3359150"/>
            <a:gd name="connsiteY41" fmla="*/ 384175 h 1958975"/>
            <a:gd name="connsiteX42" fmla="*/ 2800350 w 3359150"/>
            <a:gd name="connsiteY42" fmla="*/ 371475 h 1958975"/>
            <a:gd name="connsiteX43" fmla="*/ 2844800 w 3359150"/>
            <a:gd name="connsiteY43" fmla="*/ 333375 h 1958975"/>
            <a:gd name="connsiteX44" fmla="*/ 2936875 w 3359150"/>
            <a:gd name="connsiteY44" fmla="*/ 295275 h 1958975"/>
            <a:gd name="connsiteX45" fmla="*/ 2965450 w 3359150"/>
            <a:gd name="connsiteY45" fmla="*/ 263525 h 1958975"/>
            <a:gd name="connsiteX46" fmla="*/ 3016250 w 3359150"/>
            <a:gd name="connsiteY46" fmla="*/ 238125 h 1958975"/>
            <a:gd name="connsiteX47" fmla="*/ 3028950 w 3359150"/>
            <a:gd name="connsiteY47" fmla="*/ 215900 h 1958975"/>
            <a:gd name="connsiteX48" fmla="*/ 3060700 w 3359150"/>
            <a:gd name="connsiteY48" fmla="*/ 193675 h 1958975"/>
            <a:gd name="connsiteX49" fmla="*/ 3105150 w 3359150"/>
            <a:gd name="connsiteY49" fmla="*/ 171450 h 1958975"/>
            <a:gd name="connsiteX50" fmla="*/ 3136900 w 3359150"/>
            <a:gd name="connsiteY50" fmla="*/ 155575 h 1958975"/>
            <a:gd name="connsiteX51" fmla="*/ 3162300 w 3359150"/>
            <a:gd name="connsiteY51" fmla="*/ 127000 h 1958975"/>
            <a:gd name="connsiteX52" fmla="*/ 3209925 w 3359150"/>
            <a:gd name="connsiteY52" fmla="*/ 107950 h 1958975"/>
            <a:gd name="connsiteX53" fmla="*/ 3219450 w 3359150"/>
            <a:gd name="connsiteY53" fmla="*/ 85725 h 1958975"/>
            <a:gd name="connsiteX54" fmla="*/ 3225800 w 3359150"/>
            <a:gd name="connsiteY54" fmla="*/ 69850 h 1958975"/>
            <a:gd name="connsiteX55" fmla="*/ 3270250 w 3359150"/>
            <a:gd name="connsiteY55" fmla="*/ 66675 h 1958975"/>
            <a:gd name="connsiteX56" fmla="*/ 3286125 w 3359150"/>
            <a:gd name="connsiteY56" fmla="*/ 34925 h 1958975"/>
            <a:gd name="connsiteX57" fmla="*/ 3340100 w 3359150"/>
            <a:gd name="connsiteY57" fmla="*/ 25400 h 1958975"/>
            <a:gd name="connsiteX58" fmla="*/ 3359150 w 3359150"/>
            <a:gd name="connsiteY58" fmla="*/ 0 h 195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59150" h="1958975">
              <a:moveTo>
                <a:pt x="0" y="1958975"/>
              </a:moveTo>
              <a:lnTo>
                <a:pt x="101600" y="1917700"/>
              </a:lnTo>
              <a:lnTo>
                <a:pt x="142875" y="1860550"/>
              </a:lnTo>
              <a:lnTo>
                <a:pt x="200025" y="1822450"/>
              </a:lnTo>
              <a:lnTo>
                <a:pt x="250825" y="1793875"/>
              </a:lnTo>
              <a:lnTo>
                <a:pt x="333375" y="1762125"/>
              </a:lnTo>
              <a:lnTo>
                <a:pt x="396875" y="1727200"/>
              </a:lnTo>
              <a:lnTo>
                <a:pt x="488950" y="1673225"/>
              </a:lnTo>
              <a:lnTo>
                <a:pt x="549275" y="1654175"/>
              </a:lnTo>
              <a:lnTo>
                <a:pt x="603250" y="1593850"/>
              </a:lnTo>
              <a:lnTo>
                <a:pt x="771525" y="1514475"/>
              </a:lnTo>
              <a:lnTo>
                <a:pt x="847725" y="1466850"/>
              </a:lnTo>
              <a:lnTo>
                <a:pt x="1012825" y="1365250"/>
              </a:lnTo>
              <a:lnTo>
                <a:pt x="1047750" y="1355725"/>
              </a:lnTo>
              <a:lnTo>
                <a:pt x="1063625" y="1333500"/>
              </a:lnTo>
              <a:lnTo>
                <a:pt x="1225550" y="1260475"/>
              </a:lnTo>
              <a:lnTo>
                <a:pt x="1270000" y="1231900"/>
              </a:lnTo>
              <a:lnTo>
                <a:pt x="1397000" y="1146175"/>
              </a:lnTo>
              <a:lnTo>
                <a:pt x="1473200" y="1085850"/>
              </a:lnTo>
              <a:lnTo>
                <a:pt x="1517650" y="1060450"/>
              </a:lnTo>
              <a:lnTo>
                <a:pt x="1597025" y="1009650"/>
              </a:lnTo>
              <a:lnTo>
                <a:pt x="1663700" y="968375"/>
              </a:lnTo>
              <a:lnTo>
                <a:pt x="1724025" y="917575"/>
              </a:lnTo>
              <a:lnTo>
                <a:pt x="1844675" y="876300"/>
              </a:lnTo>
              <a:lnTo>
                <a:pt x="1866900" y="857250"/>
              </a:lnTo>
              <a:lnTo>
                <a:pt x="1879600" y="847725"/>
              </a:lnTo>
              <a:lnTo>
                <a:pt x="1924050" y="828675"/>
              </a:lnTo>
              <a:lnTo>
                <a:pt x="1955800" y="784225"/>
              </a:lnTo>
              <a:lnTo>
                <a:pt x="2019300" y="752475"/>
              </a:lnTo>
              <a:lnTo>
                <a:pt x="2066925" y="720725"/>
              </a:lnTo>
              <a:lnTo>
                <a:pt x="2092325" y="720725"/>
              </a:lnTo>
              <a:lnTo>
                <a:pt x="2117725" y="701675"/>
              </a:lnTo>
              <a:lnTo>
                <a:pt x="2212975" y="679450"/>
              </a:lnTo>
              <a:lnTo>
                <a:pt x="2263775" y="660400"/>
              </a:lnTo>
              <a:lnTo>
                <a:pt x="2298700" y="647700"/>
              </a:lnTo>
              <a:lnTo>
                <a:pt x="2343150" y="590550"/>
              </a:lnTo>
              <a:lnTo>
                <a:pt x="2419350" y="577850"/>
              </a:lnTo>
              <a:lnTo>
                <a:pt x="2473325" y="542925"/>
              </a:lnTo>
              <a:lnTo>
                <a:pt x="2533650" y="504825"/>
              </a:lnTo>
              <a:lnTo>
                <a:pt x="2628900" y="457200"/>
              </a:lnTo>
              <a:lnTo>
                <a:pt x="2676525" y="412750"/>
              </a:lnTo>
              <a:lnTo>
                <a:pt x="2755900" y="384175"/>
              </a:lnTo>
              <a:lnTo>
                <a:pt x="2800350" y="371475"/>
              </a:lnTo>
              <a:lnTo>
                <a:pt x="2844800" y="333375"/>
              </a:lnTo>
              <a:lnTo>
                <a:pt x="2936875" y="295275"/>
              </a:lnTo>
              <a:lnTo>
                <a:pt x="2965450" y="263525"/>
              </a:lnTo>
              <a:lnTo>
                <a:pt x="3016250" y="238125"/>
              </a:lnTo>
              <a:lnTo>
                <a:pt x="3028950" y="215900"/>
              </a:lnTo>
              <a:lnTo>
                <a:pt x="3060700" y="193675"/>
              </a:lnTo>
              <a:lnTo>
                <a:pt x="3105150" y="171450"/>
              </a:lnTo>
              <a:lnTo>
                <a:pt x="3136900" y="155575"/>
              </a:lnTo>
              <a:lnTo>
                <a:pt x="3162300" y="127000"/>
              </a:lnTo>
              <a:lnTo>
                <a:pt x="3209925" y="107950"/>
              </a:lnTo>
              <a:lnTo>
                <a:pt x="3219450" y="85725"/>
              </a:lnTo>
              <a:lnTo>
                <a:pt x="3225800" y="69850"/>
              </a:lnTo>
              <a:lnTo>
                <a:pt x="3270250" y="66675"/>
              </a:lnTo>
              <a:lnTo>
                <a:pt x="3286125" y="34925"/>
              </a:lnTo>
              <a:lnTo>
                <a:pt x="3340100" y="25400"/>
              </a:lnTo>
              <a:lnTo>
                <a:pt x="3359150" y="0"/>
              </a:lnTo>
            </a:path>
          </a:pathLst>
        </a:custGeom>
        <a:noFill xmlns:a="http://schemas.openxmlformats.org/drawingml/2006/main"/>
        <a:ln xmlns:a="http://schemas.openxmlformats.org/drawingml/2006/main" w="28575">
          <a:solidFill>
            <a:srgbClr val="E64A0E"/>
          </a:solidFill>
          <a:prstDash val="solid"/>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8420BD-2216-4F78-A01B-93FBCAE4D086}" type="datetimeFigureOut">
              <a:rPr lang="en-GB" smtClean="0"/>
              <a:t>20/01/2018</a:t>
            </a:fld>
            <a:endParaRPr lang="en-GB"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C6B7577-DC4C-4EBE-9968-1BCD3804FD1E}" type="slidenum">
              <a:rPr lang="en-GB" smtClean="0"/>
              <a:t>‹#›</a:t>
            </a:fld>
            <a:endParaRPr lang="en-GB" dirty="0"/>
          </a:p>
        </p:txBody>
      </p:sp>
    </p:spTree>
    <p:extLst>
      <p:ext uri="{BB962C8B-B14F-4D97-AF65-F5344CB8AC3E}">
        <p14:creationId xmlns:p14="http://schemas.microsoft.com/office/powerpoint/2010/main" val="2676681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3E978C-A82F-44B2-985B-919148759259}" type="datetimeFigureOut">
              <a:rPr lang="en-GB" smtClean="0"/>
              <a:t>20/01/2018</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A90F24-1627-407D-9373-D0B7CFDD3C7A}" type="slidenum">
              <a:rPr lang="en-GB" smtClean="0"/>
              <a:t>‹#›</a:t>
            </a:fld>
            <a:endParaRPr lang="en-GB" dirty="0"/>
          </a:p>
        </p:txBody>
      </p:sp>
    </p:spTree>
    <p:extLst>
      <p:ext uri="{BB962C8B-B14F-4D97-AF65-F5344CB8AC3E}">
        <p14:creationId xmlns:p14="http://schemas.microsoft.com/office/powerpoint/2010/main" val="223147854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Slide Image Placeholder 1"/>
          <p:cNvSpPr>
            <a:spLocks noGrp="1" noRot="1" noChangeAspect="1" noTextEdit="1"/>
          </p:cNvSpPr>
          <p:nvPr>
            <p:ph type="sldImg"/>
          </p:nvPr>
        </p:nvSpPr>
        <p:spPr bwMode="auto">
          <a:xfrm>
            <a:off x="5500688" y="379413"/>
            <a:ext cx="3362325" cy="1892300"/>
          </a:xfrm>
          <a:noFill/>
          <a:ln>
            <a:solidFill>
              <a:srgbClr val="000000"/>
            </a:solidFill>
            <a:miter lim="800000"/>
            <a:headEnd/>
            <a:tailEnd/>
          </a:ln>
        </p:spPr>
      </p:sp>
      <p:sp>
        <p:nvSpPr>
          <p:cNvPr id="119810" name="Notes Placeholder 2"/>
          <p:cNvSpPr>
            <a:spLocks noGrp="1"/>
          </p:cNvSpPr>
          <p:nvPr>
            <p:ph type="body" idx="1"/>
          </p:nvPr>
        </p:nvSpPr>
        <p:spPr bwMode="auto">
          <a:xfrm>
            <a:off x="1436836" y="2399493"/>
            <a:ext cx="11494679" cy="2274913"/>
          </a:xfrm>
          <a:noFill/>
        </p:spPr>
        <p:txBody>
          <a:bodyPr wrap="square" lIns="91056" tIns="45528" rIns="91056" bIns="45528" numCol="1" anchor="t" anchorCtr="0" compatLnSpc="1">
            <a:prstTxWarp prst="textNoShape">
              <a:avLst/>
            </a:prstTxWarp>
          </a:bodyPr>
          <a:lstStyle/>
          <a:p>
            <a:r>
              <a:rPr lang="en-GB" sz="1000" dirty="0">
                <a:ea typeface="ＭＳ Ｐゴシック" pitchFamily="34" charset="-128"/>
              </a:rPr>
              <a:t>Studies examining whether intensive glucose control reduces cardiovascular risk in patients with diabetes have produced mixed results. This meta-analysis involved data from four large randomised controlled trials (ACCORD, ADVANCE, UKPDS, VADT; 163 studies in total were identified, but only these four met the meta-analysis eligibility criteria). Overall, data from 27,049 patients were included in the analysis. Relative to less intensive therapy, more intensive therapy was associated with a modest, but significant, 9% reduction in the risk of major cardiovascular events. This reduction was primarily due to a 15% decrease in myocardial infarction (hazard ratio=0.85, 95% CI, 0.76–0.94). There was no difference in terms of mortality rates or cardiovascular death, however. More intensively treated patients also experienced significantly more major hypoglycaemia events. </a:t>
            </a:r>
          </a:p>
          <a:p>
            <a:endParaRPr lang="en-GB" sz="1000" dirty="0">
              <a:ea typeface="ＭＳ Ｐゴシック" pitchFamily="34" charset="-128"/>
            </a:endParaRPr>
          </a:p>
          <a:p>
            <a:r>
              <a:rPr lang="en-GB" sz="1000" dirty="0">
                <a:ea typeface="ＭＳ Ｐゴシック" pitchFamily="34" charset="-128"/>
              </a:rPr>
              <a:t>ADVANCE, </a:t>
            </a:r>
            <a:r>
              <a:rPr lang="en-GB" sz="1000" u="sng" dirty="0">
                <a:ea typeface="ＭＳ Ｐゴシック" pitchFamily="34" charset="-128"/>
              </a:rPr>
              <a:t>A</a:t>
            </a:r>
            <a:r>
              <a:rPr lang="en-GB" sz="1000" dirty="0">
                <a:ea typeface="ＭＳ Ｐゴシック" pitchFamily="34" charset="-128"/>
              </a:rPr>
              <a:t>ction in </a:t>
            </a:r>
            <a:r>
              <a:rPr lang="en-GB" sz="1000" u="sng" dirty="0">
                <a:ea typeface="ＭＳ Ｐゴシック" pitchFamily="34" charset="-128"/>
              </a:rPr>
              <a:t>D</a:t>
            </a:r>
            <a:r>
              <a:rPr lang="en-GB" sz="1000" dirty="0">
                <a:ea typeface="ＭＳ Ｐゴシック" pitchFamily="34" charset="-128"/>
              </a:rPr>
              <a:t>iabetes and </a:t>
            </a:r>
            <a:r>
              <a:rPr lang="en-GB" sz="1000" u="sng" dirty="0">
                <a:ea typeface="ＭＳ Ｐゴシック" pitchFamily="34" charset="-128"/>
              </a:rPr>
              <a:t>V</a:t>
            </a:r>
            <a:r>
              <a:rPr lang="en-GB" sz="1000" dirty="0">
                <a:ea typeface="ＭＳ Ｐゴシック" pitchFamily="34" charset="-128"/>
              </a:rPr>
              <a:t>ascular </a:t>
            </a:r>
            <a:r>
              <a:rPr lang="en-GB" sz="1000" u="sng" dirty="0">
                <a:ea typeface="ＭＳ Ｐゴシック" pitchFamily="34" charset="-128"/>
              </a:rPr>
              <a:t>D</a:t>
            </a:r>
            <a:r>
              <a:rPr lang="en-GB" sz="1000" dirty="0">
                <a:ea typeface="ＭＳ Ｐゴシック" pitchFamily="34" charset="-128"/>
              </a:rPr>
              <a:t>isease: Preter</a:t>
            </a:r>
            <a:r>
              <a:rPr lang="en-GB" sz="1000" u="sng" dirty="0">
                <a:ea typeface="ＭＳ Ｐゴシック" pitchFamily="34" charset="-128"/>
              </a:rPr>
              <a:t>A</a:t>
            </a:r>
            <a:r>
              <a:rPr lang="en-GB" sz="1000" dirty="0">
                <a:ea typeface="ＭＳ Ｐゴシック" pitchFamily="34" charset="-128"/>
              </a:rPr>
              <a:t>x and Diamicro</a:t>
            </a:r>
            <a:r>
              <a:rPr lang="en-GB" sz="1000" u="sng" dirty="0">
                <a:ea typeface="ＭＳ Ｐゴシック" pitchFamily="34" charset="-128"/>
              </a:rPr>
              <a:t>N</a:t>
            </a:r>
            <a:r>
              <a:rPr lang="en-GB" sz="1000" dirty="0">
                <a:ea typeface="ＭＳ Ｐゴシック" pitchFamily="34" charset="-128"/>
              </a:rPr>
              <a:t> MR </a:t>
            </a:r>
            <a:r>
              <a:rPr lang="en-GB" sz="1000" u="sng" dirty="0">
                <a:ea typeface="ＭＳ Ｐゴシック" pitchFamily="34" charset="-128"/>
              </a:rPr>
              <a:t>C</a:t>
            </a:r>
            <a:r>
              <a:rPr lang="en-GB" sz="1000" dirty="0">
                <a:ea typeface="ＭＳ Ｐゴシック" pitchFamily="34" charset="-128"/>
              </a:rPr>
              <a:t>ontrolled </a:t>
            </a:r>
            <a:r>
              <a:rPr lang="en-GB" sz="1000" u="sng" dirty="0">
                <a:ea typeface="ＭＳ Ｐゴシック" pitchFamily="34" charset="-128"/>
              </a:rPr>
              <a:t>E</a:t>
            </a:r>
            <a:r>
              <a:rPr lang="en-GB" sz="1000" dirty="0">
                <a:ea typeface="ＭＳ Ｐゴシック" pitchFamily="34" charset="-128"/>
              </a:rPr>
              <a:t>valuation</a:t>
            </a:r>
          </a:p>
          <a:p>
            <a:r>
              <a:rPr lang="en-GB" sz="1000" dirty="0">
                <a:ea typeface="ＭＳ Ｐゴシック" pitchFamily="34" charset="-128"/>
              </a:rPr>
              <a:t>ACCORD, </a:t>
            </a:r>
            <a:r>
              <a:rPr lang="en-GB" sz="1000" u="sng" dirty="0">
                <a:ea typeface="ＭＳ Ｐゴシック" pitchFamily="34" charset="-128"/>
              </a:rPr>
              <a:t>A</a:t>
            </a:r>
            <a:r>
              <a:rPr lang="en-GB" sz="1000" dirty="0">
                <a:ea typeface="ＭＳ Ｐゴシック" pitchFamily="34" charset="-128"/>
              </a:rPr>
              <a:t>ction to </a:t>
            </a:r>
            <a:r>
              <a:rPr lang="en-GB" sz="1000" u="sng" dirty="0">
                <a:ea typeface="ＭＳ Ｐゴシック" pitchFamily="34" charset="-128"/>
              </a:rPr>
              <a:t>C</a:t>
            </a:r>
            <a:r>
              <a:rPr lang="en-GB" sz="1000" dirty="0">
                <a:ea typeface="ＭＳ Ｐゴシック" pitchFamily="34" charset="-128"/>
              </a:rPr>
              <a:t>ontrol </a:t>
            </a:r>
            <a:r>
              <a:rPr lang="en-GB" sz="1000" u="sng" dirty="0">
                <a:ea typeface="ＭＳ Ｐゴシック" pitchFamily="34" charset="-128"/>
              </a:rPr>
              <a:t>C</a:t>
            </a:r>
            <a:r>
              <a:rPr lang="en-GB" sz="1000" dirty="0">
                <a:ea typeface="ＭＳ Ｐゴシック" pitchFamily="34" charset="-128"/>
              </a:rPr>
              <a:t>ardiovascular </a:t>
            </a:r>
            <a:r>
              <a:rPr lang="en-GB" sz="1000" u="sng" dirty="0">
                <a:ea typeface="ＭＳ Ｐゴシック" pitchFamily="34" charset="-128"/>
              </a:rPr>
              <a:t>R</a:t>
            </a:r>
            <a:r>
              <a:rPr lang="en-GB" sz="1000" dirty="0">
                <a:ea typeface="ＭＳ Ｐゴシック" pitchFamily="34" charset="-128"/>
              </a:rPr>
              <a:t>isk in </a:t>
            </a:r>
            <a:r>
              <a:rPr lang="en-GB" sz="1000" u="sng" dirty="0">
                <a:ea typeface="ＭＳ Ｐゴシック" pitchFamily="34" charset="-128"/>
              </a:rPr>
              <a:t>D</a:t>
            </a:r>
            <a:r>
              <a:rPr lang="en-GB" sz="1000" dirty="0">
                <a:ea typeface="ＭＳ Ｐゴシック" pitchFamily="34" charset="-128"/>
              </a:rPr>
              <a:t>iabetes</a:t>
            </a:r>
          </a:p>
          <a:p>
            <a:r>
              <a:rPr lang="en-GB" sz="1000" dirty="0">
                <a:ea typeface="ＭＳ Ｐゴシック" pitchFamily="34" charset="-128"/>
              </a:rPr>
              <a:t>UKPDS, </a:t>
            </a:r>
            <a:r>
              <a:rPr lang="en-GB" sz="1000" u="sng" dirty="0">
                <a:ea typeface="ＭＳ Ｐゴシック" pitchFamily="34" charset="-128"/>
              </a:rPr>
              <a:t>U</a:t>
            </a:r>
            <a:r>
              <a:rPr lang="en-GB" sz="1000" dirty="0">
                <a:ea typeface="ＭＳ Ｐゴシック" pitchFamily="34" charset="-128"/>
              </a:rPr>
              <a:t>nited </a:t>
            </a:r>
            <a:r>
              <a:rPr lang="en-GB" sz="1000" u="sng" dirty="0">
                <a:ea typeface="ＭＳ Ｐゴシック" pitchFamily="34" charset="-128"/>
              </a:rPr>
              <a:t>K</a:t>
            </a:r>
            <a:r>
              <a:rPr lang="en-GB" sz="1000" dirty="0">
                <a:ea typeface="ＭＳ Ｐゴシック" pitchFamily="34" charset="-128"/>
              </a:rPr>
              <a:t>ingdom </a:t>
            </a:r>
            <a:r>
              <a:rPr lang="en-GB" sz="1000" u="sng" dirty="0">
                <a:ea typeface="ＭＳ Ｐゴシック" pitchFamily="34" charset="-128"/>
              </a:rPr>
              <a:t>P</a:t>
            </a:r>
            <a:r>
              <a:rPr lang="en-GB" sz="1000" dirty="0">
                <a:ea typeface="ＭＳ Ｐゴシック" pitchFamily="34" charset="-128"/>
              </a:rPr>
              <a:t>rospective </a:t>
            </a:r>
            <a:r>
              <a:rPr lang="en-GB" sz="1000" u="sng" dirty="0">
                <a:ea typeface="ＭＳ Ｐゴシック" pitchFamily="34" charset="-128"/>
              </a:rPr>
              <a:t>D</a:t>
            </a:r>
            <a:r>
              <a:rPr lang="en-GB" sz="1000" dirty="0">
                <a:ea typeface="ＭＳ Ｐゴシック" pitchFamily="34" charset="-128"/>
              </a:rPr>
              <a:t>iabetes </a:t>
            </a:r>
            <a:r>
              <a:rPr lang="en-GB" sz="1000" u="sng" dirty="0">
                <a:ea typeface="ＭＳ Ｐゴシック" pitchFamily="34" charset="-128"/>
              </a:rPr>
              <a:t>S</a:t>
            </a:r>
            <a:r>
              <a:rPr lang="en-GB" sz="1000" dirty="0">
                <a:ea typeface="ＭＳ Ｐゴシック" pitchFamily="34" charset="-128"/>
              </a:rPr>
              <a:t>tudy</a:t>
            </a:r>
          </a:p>
          <a:p>
            <a:r>
              <a:rPr lang="en-GB" sz="1000" dirty="0">
                <a:ea typeface="ＭＳ Ｐゴシック" pitchFamily="34" charset="-128"/>
              </a:rPr>
              <a:t>VADT, </a:t>
            </a:r>
            <a:r>
              <a:rPr lang="en-GB" sz="1000" u="sng" dirty="0">
                <a:ea typeface="ＭＳ Ｐゴシック" pitchFamily="34" charset="-128"/>
              </a:rPr>
              <a:t>V</a:t>
            </a:r>
            <a:r>
              <a:rPr lang="en-GB" sz="1000" dirty="0">
                <a:ea typeface="ＭＳ Ｐゴシック" pitchFamily="34" charset="-128"/>
              </a:rPr>
              <a:t>eterans </a:t>
            </a:r>
            <a:r>
              <a:rPr lang="en-GB" sz="1000" u="sng" dirty="0">
                <a:ea typeface="ＭＳ Ｐゴシック" pitchFamily="34" charset="-128"/>
              </a:rPr>
              <a:t>A</a:t>
            </a:r>
            <a:r>
              <a:rPr lang="en-GB" sz="1000" dirty="0">
                <a:ea typeface="ＭＳ Ｐゴシック" pitchFamily="34" charset="-128"/>
              </a:rPr>
              <a:t>ffairs </a:t>
            </a:r>
            <a:r>
              <a:rPr lang="en-GB" sz="1000" u="sng" dirty="0">
                <a:ea typeface="ＭＳ Ｐゴシック" pitchFamily="34" charset="-128"/>
              </a:rPr>
              <a:t>D</a:t>
            </a:r>
            <a:r>
              <a:rPr lang="en-GB" sz="1000" dirty="0">
                <a:ea typeface="ＭＳ Ｐゴシック" pitchFamily="34" charset="-128"/>
              </a:rPr>
              <a:t>iabetes </a:t>
            </a:r>
            <a:r>
              <a:rPr lang="en-GB" sz="1000" u="sng" dirty="0">
                <a:ea typeface="ＭＳ Ｐゴシック" pitchFamily="34" charset="-128"/>
              </a:rPr>
              <a:t>T</a:t>
            </a:r>
            <a:r>
              <a:rPr lang="en-GB" sz="1000" dirty="0">
                <a:ea typeface="ＭＳ Ｐゴシック" pitchFamily="34" charset="-128"/>
              </a:rPr>
              <a:t>rial</a:t>
            </a:r>
          </a:p>
          <a:p>
            <a:endParaRPr lang="en-GB" sz="1000" dirty="0">
              <a:ea typeface="ＭＳ Ｐゴシック" pitchFamily="34" charset="-128"/>
            </a:endParaRPr>
          </a:p>
          <a:p>
            <a:r>
              <a:rPr lang="en-GB" sz="1000" dirty="0">
                <a:ea typeface="ＭＳ Ｐゴシック" pitchFamily="34" charset="-128"/>
              </a:rPr>
              <a:t>CI, confidence interval</a:t>
            </a:r>
            <a:r>
              <a:rPr lang="en-GB" sz="1000" dirty="0" smtClean="0">
                <a:ea typeface="ＭＳ Ｐゴシック" pitchFamily="34" charset="-128"/>
              </a:rPr>
              <a:t>.</a:t>
            </a:r>
          </a:p>
          <a:p>
            <a:endParaRPr lang="en-GB" sz="1000" dirty="0" smtClean="0">
              <a:ea typeface="ＭＳ Ｐゴシック" pitchFamily="34" charset="-128"/>
            </a:endParaRPr>
          </a:p>
        </p:txBody>
      </p:sp>
      <p:sp>
        <p:nvSpPr>
          <p:cNvPr id="119811" name="Slide Number Placeholder 3"/>
          <p:cNvSpPr txBox="1">
            <a:spLocks noGrp="1"/>
          </p:cNvSpPr>
          <p:nvPr/>
        </p:nvSpPr>
        <p:spPr bwMode="auto">
          <a:xfrm>
            <a:off x="8135413" y="4799863"/>
            <a:ext cx="6229612" cy="252671"/>
          </a:xfrm>
          <a:prstGeom prst="rect">
            <a:avLst/>
          </a:prstGeom>
          <a:noFill/>
          <a:ln w="9525">
            <a:noFill/>
            <a:miter lim="800000"/>
            <a:headEnd/>
            <a:tailEnd/>
          </a:ln>
        </p:spPr>
        <p:txBody>
          <a:bodyPr lIns="91056" tIns="45528" rIns="91056" bIns="45528" anchor="b"/>
          <a:lstStyle/>
          <a:p>
            <a:pPr algn="r" defTabSz="911225">
              <a:spcBef>
                <a:spcPct val="50000"/>
              </a:spcBef>
            </a:pPr>
            <a:fld id="{B1290B60-73C7-4644-9E32-0BF8FF0103F2}" type="slidenum">
              <a:rPr lang="en-US" sz="1200">
                <a:solidFill>
                  <a:prstClr val="black"/>
                </a:solidFill>
                <a:latin typeface="Verdana"/>
                <a:ea typeface="ヒラギノ角ゴ Pro W3"/>
                <a:cs typeface="ヒラギノ角ゴ Pro W3"/>
              </a:rPr>
              <a:pPr algn="r" defTabSz="911225">
                <a:spcBef>
                  <a:spcPct val="50000"/>
                </a:spcBef>
              </a:pPr>
              <a:t>5</a:t>
            </a:fld>
            <a:endParaRPr lang="en-US" sz="1200" dirty="0">
              <a:solidFill>
                <a:prstClr val="black"/>
              </a:solidFill>
              <a:latin typeface="Verdana"/>
              <a:ea typeface="ヒラギノ角ゴ Pro W3"/>
              <a:cs typeface="ヒラギノ角ゴ Pro W3"/>
            </a:endParaRPr>
          </a:p>
        </p:txBody>
      </p:sp>
    </p:spTree>
    <p:extLst>
      <p:ext uri="{BB962C8B-B14F-4D97-AF65-F5344CB8AC3E}">
        <p14:creationId xmlns:p14="http://schemas.microsoft.com/office/powerpoint/2010/main" val="13127960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sz="1100" b="0" dirty="0"/>
          </a:p>
        </p:txBody>
      </p:sp>
      <p:sp>
        <p:nvSpPr>
          <p:cNvPr id="4" name="Slide Number Placeholder 3"/>
          <p:cNvSpPr>
            <a:spLocks noGrp="1"/>
          </p:cNvSpPr>
          <p:nvPr>
            <p:ph type="sldNum" sz="quarter" idx="10"/>
          </p:nvPr>
        </p:nvSpPr>
        <p:spPr/>
        <p:txBody>
          <a:bodyPr/>
          <a:lstStyle/>
          <a:p>
            <a:pPr>
              <a:defRPr/>
            </a:pPr>
            <a:fld id="{9A5708E6-0F26-4A60-B562-8316E9EF9307}" type="slidenum">
              <a:rPr lang="en-GB">
                <a:solidFill>
                  <a:srgbClr val="001965"/>
                </a:solidFill>
                <a:latin typeface="Verdana"/>
              </a:rPr>
              <a:pPr>
                <a:defRPr/>
              </a:pPr>
              <a:t>16</a:t>
            </a:fld>
            <a:endParaRPr lang="en-GB" dirty="0">
              <a:solidFill>
                <a:srgbClr val="001965"/>
              </a:solidFill>
              <a:latin typeface="Verdana"/>
            </a:endParaRPr>
          </a:p>
        </p:txBody>
      </p:sp>
    </p:spTree>
    <p:extLst>
      <p:ext uri="{BB962C8B-B14F-4D97-AF65-F5344CB8AC3E}">
        <p14:creationId xmlns:p14="http://schemas.microsoft.com/office/powerpoint/2010/main" val="2519943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dirty="0"/>
          </a:p>
        </p:txBody>
      </p:sp>
      <p:sp>
        <p:nvSpPr>
          <p:cNvPr id="10240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defRPr/>
            </a:pPr>
            <a:fld id="{599FBF10-219F-49A0-9B2A-52FB85843EE0}" type="slidenum">
              <a:rPr lang="en-GB" altLang="en-US" smtClean="0">
                <a:solidFill>
                  <a:prstClr val="black"/>
                </a:solidFill>
                <a:latin typeface="Calibri" pitchFamily="34" charset="0"/>
              </a:rPr>
              <a:pPr fontAlgn="base">
                <a:spcBef>
                  <a:spcPct val="0"/>
                </a:spcBef>
                <a:spcAft>
                  <a:spcPct val="0"/>
                </a:spcAft>
                <a:defRPr/>
              </a:pPr>
              <a:t>17</a:t>
            </a:fld>
            <a:endParaRPr lang="en-GB" altLang="en-US" dirty="0">
              <a:solidFill>
                <a:prstClr val="black"/>
              </a:solidFill>
              <a:latin typeface="Calibri" pitchFamily="34" charset="0"/>
            </a:endParaRPr>
          </a:p>
        </p:txBody>
      </p:sp>
    </p:spTree>
    <p:extLst>
      <p:ext uri="{BB962C8B-B14F-4D97-AF65-F5344CB8AC3E}">
        <p14:creationId xmlns:p14="http://schemas.microsoft.com/office/powerpoint/2010/main" val="2410889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sz="1100" b="0" dirty="0"/>
          </a:p>
        </p:txBody>
      </p:sp>
      <p:sp>
        <p:nvSpPr>
          <p:cNvPr id="4" name="Slide Number Placeholder 3"/>
          <p:cNvSpPr>
            <a:spLocks noGrp="1"/>
          </p:cNvSpPr>
          <p:nvPr>
            <p:ph type="sldNum" sz="quarter" idx="10"/>
          </p:nvPr>
        </p:nvSpPr>
        <p:spPr/>
        <p:txBody>
          <a:bodyPr/>
          <a:lstStyle/>
          <a:p>
            <a:pPr>
              <a:defRPr/>
            </a:pPr>
            <a:fld id="{9A5708E6-0F26-4A60-B562-8316E9EF9307}" type="slidenum">
              <a:rPr lang="en-GB">
                <a:solidFill>
                  <a:srgbClr val="001965"/>
                </a:solidFill>
                <a:latin typeface="Verdana"/>
              </a:rPr>
              <a:pPr>
                <a:defRPr/>
              </a:pPr>
              <a:t>18</a:t>
            </a:fld>
            <a:endParaRPr lang="en-GB" dirty="0">
              <a:solidFill>
                <a:srgbClr val="001965"/>
              </a:solidFill>
              <a:latin typeface="Verdana"/>
            </a:endParaRPr>
          </a:p>
        </p:txBody>
      </p:sp>
    </p:spTree>
    <p:extLst>
      <p:ext uri="{BB962C8B-B14F-4D97-AF65-F5344CB8AC3E}">
        <p14:creationId xmlns:p14="http://schemas.microsoft.com/office/powerpoint/2010/main" val="11520275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sz="1100" b="0" dirty="0"/>
          </a:p>
        </p:txBody>
      </p:sp>
      <p:sp>
        <p:nvSpPr>
          <p:cNvPr id="4" name="Slide Number Placeholder 3"/>
          <p:cNvSpPr>
            <a:spLocks noGrp="1"/>
          </p:cNvSpPr>
          <p:nvPr>
            <p:ph type="sldNum" sz="quarter" idx="10"/>
          </p:nvPr>
        </p:nvSpPr>
        <p:spPr/>
        <p:txBody>
          <a:bodyPr/>
          <a:lstStyle/>
          <a:p>
            <a:pPr>
              <a:defRPr/>
            </a:pPr>
            <a:fld id="{9A5708E6-0F26-4A60-B562-8316E9EF9307}" type="slidenum">
              <a:rPr lang="en-GB">
                <a:solidFill>
                  <a:srgbClr val="001965"/>
                </a:solidFill>
                <a:latin typeface="Verdana"/>
              </a:rPr>
              <a:pPr>
                <a:defRPr/>
              </a:pPr>
              <a:t>19</a:t>
            </a:fld>
            <a:endParaRPr lang="en-GB" dirty="0">
              <a:solidFill>
                <a:srgbClr val="001965"/>
              </a:solidFill>
              <a:latin typeface="Verdana"/>
            </a:endParaRPr>
          </a:p>
        </p:txBody>
      </p:sp>
    </p:spTree>
    <p:extLst>
      <p:ext uri="{BB962C8B-B14F-4D97-AF65-F5344CB8AC3E}">
        <p14:creationId xmlns:p14="http://schemas.microsoft.com/office/powerpoint/2010/main" val="4001269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838" y="808038"/>
            <a:ext cx="7185026" cy="4041775"/>
          </a:xfrm>
        </p:spPr>
      </p:sp>
      <p:sp>
        <p:nvSpPr>
          <p:cNvPr id="3" name="Notes Placeholder 2"/>
          <p:cNvSpPr>
            <a:spLocks noGrp="1"/>
          </p:cNvSpPr>
          <p:nvPr>
            <p:ph type="body" idx="1"/>
          </p:nvPr>
        </p:nvSpPr>
        <p:spPr/>
        <p:txBody>
          <a:bodyPr/>
          <a:lstStyle/>
          <a:p>
            <a:r>
              <a:rPr lang="en-GB" dirty="0" smtClean="0"/>
              <a:t>Q2 2016 – TERMINATED: NCT01703208 A Study to Assess Cardiovascular Outcomes Following Treatment With </a:t>
            </a:r>
            <a:r>
              <a:rPr lang="en-GB" dirty="0" err="1" smtClean="0"/>
              <a:t>Omarigliptin</a:t>
            </a:r>
            <a:r>
              <a:rPr lang="en-GB" dirty="0" smtClean="0"/>
              <a:t> (MK-3102) in Participants With Type 2 Diabetes Mellitus (MK-3102-018). “The study was terminated for business reasons and not due to any safety or efficacy concerns related to </a:t>
            </a:r>
            <a:r>
              <a:rPr lang="en-GB" dirty="0" err="1" smtClean="0"/>
              <a:t>omarigliptin</a:t>
            </a:r>
            <a:r>
              <a:rPr lang="en-GB" dirty="0" smtClean="0"/>
              <a:t>”</a:t>
            </a:r>
          </a:p>
        </p:txBody>
      </p:sp>
      <p:sp>
        <p:nvSpPr>
          <p:cNvPr id="4" name="Slide Number Placeholder 3"/>
          <p:cNvSpPr>
            <a:spLocks noGrp="1"/>
          </p:cNvSpPr>
          <p:nvPr>
            <p:ph type="sldNum" sz="quarter" idx="10"/>
          </p:nvPr>
        </p:nvSpPr>
        <p:spPr/>
        <p:txBody>
          <a:bodyPr/>
          <a:lstStyle/>
          <a:p>
            <a:fld id="{576E89B1-B476-4C59-A1AE-E6F2A1941AB8}" type="slidenum">
              <a:rPr lang="en-GB">
                <a:solidFill>
                  <a:prstClr val="black"/>
                </a:solidFill>
                <a:latin typeface="Verdana"/>
              </a:rPr>
              <a:pPr/>
              <a:t>20</a:t>
            </a:fld>
            <a:endParaRPr lang="en-GB" dirty="0">
              <a:solidFill>
                <a:prstClr val="black"/>
              </a:solidFill>
              <a:latin typeface="Verdana"/>
            </a:endParaRPr>
          </a:p>
        </p:txBody>
      </p:sp>
    </p:spTree>
    <p:extLst>
      <p:ext uri="{BB962C8B-B14F-4D97-AF65-F5344CB8AC3E}">
        <p14:creationId xmlns:p14="http://schemas.microsoft.com/office/powerpoint/2010/main" val="3101971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lgn="r" defTabSz="914400">
              <a:spcBef>
                <a:spcPct val="0"/>
              </a:spcBef>
            </a:pPr>
            <a:fld id="{DF9E5905-C1D4-4EC0-B0A4-76B8DA01E1DD}" type="slidenum">
              <a:rPr lang="en-GB" altLang="en-US">
                <a:solidFill>
                  <a:srgbClr val="000000"/>
                </a:solidFill>
                <a:latin typeface="Verdana" panose="020B0604030504040204" pitchFamily="34" charset="0"/>
                <a:ea typeface="ヒラギノ角ゴ Pro W3"/>
                <a:cs typeface="ヒラギノ角ゴ Pro W3"/>
              </a:rPr>
              <a:pPr algn="r" defTabSz="914400">
                <a:spcBef>
                  <a:spcPct val="0"/>
                </a:spcBef>
              </a:pPr>
              <a:t>6</a:t>
            </a:fld>
            <a:endParaRPr lang="en-GB" altLang="en-US" dirty="0">
              <a:solidFill>
                <a:srgbClr val="000000"/>
              </a:solidFill>
              <a:latin typeface="Verdana" panose="020B0604030504040204" pitchFamily="34" charset="0"/>
              <a:ea typeface="ヒラギノ角ゴ Pro W3"/>
              <a:cs typeface="ヒラギノ角ゴ Pro W3"/>
            </a:endParaRPr>
          </a:p>
        </p:txBody>
      </p:sp>
      <p:sp>
        <p:nvSpPr>
          <p:cNvPr id="66563"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altLang="en-US" dirty="0">
                <a:ea typeface="ヒラギノ角ゴ Pro W3"/>
                <a:cs typeface="Arial" panose="020B0604020202020204" pitchFamily="34" charset="0"/>
              </a:rPr>
              <a:t>Publication of meta-analysis in NEJM</a:t>
            </a:r>
          </a:p>
          <a:p>
            <a:pPr eaLnBrk="1" hangingPunct="1">
              <a:spcBef>
                <a:spcPct val="0"/>
              </a:spcBef>
            </a:pPr>
            <a:r>
              <a:rPr lang="en-GB" altLang="en-US" dirty="0">
                <a:ea typeface="ヒラギノ角ゴ Pro W3"/>
                <a:cs typeface="Arial" panose="020B0604020202020204" pitchFamily="34" charset="0"/>
              </a:rPr>
              <a:t>Statistically significant increase in myocardial infarction and borderline significant increase in cardiovascular mortality</a:t>
            </a:r>
          </a:p>
          <a:p>
            <a:pPr eaLnBrk="1" hangingPunct="1">
              <a:spcBef>
                <a:spcPct val="0"/>
              </a:spcBef>
            </a:pPr>
            <a:endParaRPr lang="en-GB" altLang="en-US" dirty="0">
              <a:ea typeface="ヒラギノ角ゴ Pro W3"/>
              <a:cs typeface="Arial" panose="020B0604020202020204" pitchFamily="34" charset="0"/>
            </a:endParaRPr>
          </a:p>
          <a:p>
            <a:pPr eaLnBrk="1" hangingPunct="1">
              <a:spcBef>
                <a:spcPct val="0"/>
              </a:spcBef>
            </a:pPr>
            <a:r>
              <a:rPr lang="en-GB" altLang="en-US" dirty="0">
                <a:ea typeface="ヒラギノ角ゴ Pro W3"/>
                <a:cs typeface="Arial" panose="020B0604020202020204" pitchFamily="34" charset="0"/>
              </a:rPr>
              <a:t>Surprisingly little is known about the long-term effects of antidiabetic agents on the cardiovascular system. Indeed, recent studies have shown that several groups of currently available diabetic drugs cause specific concerns, which may explain, in part, the lack of improved cardiovascular outcomes from the treatment of diabetes using specific agents.</a:t>
            </a:r>
          </a:p>
        </p:txBody>
      </p:sp>
      <p:sp>
        <p:nvSpPr>
          <p:cNvPr id="91141" name="Header Placeholder 1"/>
          <p:cNvSpPr>
            <a:spLocks noGrp="1"/>
          </p:cNvSpPr>
          <p:nvPr>
            <p:ph type="hdr" sz="quarter"/>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r>
              <a:rPr lang="en-GB" altLang="en-US" dirty="0">
                <a:solidFill>
                  <a:srgbClr val="000000"/>
                </a:solidFill>
                <a:latin typeface="Calibri" pitchFamily="34" charset="0"/>
              </a:rPr>
              <a:t>Completed &amp; Upcoming CV Outcome Trials in T2DM - What have we learned so far April 2014</a:t>
            </a:r>
          </a:p>
        </p:txBody>
      </p:sp>
      <p:sp>
        <p:nvSpPr>
          <p:cNvPr id="2" name="TextBox 1"/>
          <p:cNvSpPr txBox="1"/>
          <p:nvPr>
            <p:custDataLst>
              <p:tags r:id="rId1"/>
            </p:custDataLst>
          </p:nvPr>
        </p:nvSpPr>
        <p:spPr>
          <a:xfrm>
            <a:off x="0" y="0"/>
            <a:ext cx="3810000" cy="1270000"/>
          </a:xfrm>
          <a:prstGeom prst="rect">
            <a:avLst/>
          </a:prstGeom>
          <a:noFill/>
        </p:spPr>
        <p:txBody>
          <a:bodyPr vert="horz" rtlCol="0">
            <a:spAutoFit/>
          </a:bodyPr>
          <a:lstStyle/>
          <a:p>
            <a:pPr defTabSz="914400"/>
            <a:endParaRPr lang="en-GB" sz="1800">
              <a:solidFill>
                <a:prstClr val="black"/>
              </a:solidFill>
            </a:endParaRPr>
          </a:p>
        </p:txBody>
      </p:sp>
    </p:spTree>
    <p:extLst>
      <p:ext uri="{BB962C8B-B14F-4D97-AF65-F5344CB8AC3E}">
        <p14:creationId xmlns:p14="http://schemas.microsoft.com/office/powerpoint/2010/main" val="1722850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xfrm>
            <a:off x="382588" y="685800"/>
            <a:ext cx="6094412"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dirty="0"/>
          </a:p>
        </p:txBody>
      </p:sp>
      <p:sp>
        <p:nvSpPr>
          <p:cNvPr id="70660"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751" tIns="45376" rIns="90751" bIns="45376" anchor="b"/>
          <a:lstStyle>
            <a:lvl1pPr defTabSz="908050">
              <a:spcBef>
                <a:spcPct val="30000"/>
              </a:spcBef>
              <a:defRPr sz="1200">
                <a:solidFill>
                  <a:schemeClr val="tx1"/>
                </a:solidFill>
                <a:latin typeface="Calibri" panose="020F0502020204030204" pitchFamily="34" charset="0"/>
              </a:defRPr>
            </a:lvl1pPr>
            <a:lvl2pPr marL="742950" indent="-285750" defTabSz="908050">
              <a:spcBef>
                <a:spcPct val="30000"/>
              </a:spcBef>
              <a:defRPr sz="1200">
                <a:solidFill>
                  <a:schemeClr val="tx1"/>
                </a:solidFill>
                <a:latin typeface="Calibri" panose="020F0502020204030204" pitchFamily="34" charset="0"/>
              </a:defRPr>
            </a:lvl2pPr>
            <a:lvl3pPr marL="1143000" indent="-228600" defTabSz="908050">
              <a:spcBef>
                <a:spcPct val="30000"/>
              </a:spcBef>
              <a:defRPr sz="1200">
                <a:solidFill>
                  <a:schemeClr val="tx1"/>
                </a:solidFill>
                <a:latin typeface="Calibri" panose="020F0502020204030204" pitchFamily="34" charset="0"/>
              </a:defRPr>
            </a:lvl3pPr>
            <a:lvl4pPr marL="1600200" indent="-228600" defTabSz="908050">
              <a:spcBef>
                <a:spcPct val="30000"/>
              </a:spcBef>
              <a:defRPr sz="1200">
                <a:solidFill>
                  <a:schemeClr val="tx1"/>
                </a:solidFill>
                <a:latin typeface="Calibri" panose="020F0502020204030204" pitchFamily="34" charset="0"/>
              </a:defRPr>
            </a:lvl4pPr>
            <a:lvl5pPr marL="2057400" indent="-228600" defTabSz="908050">
              <a:spcBef>
                <a:spcPct val="30000"/>
              </a:spcBef>
              <a:defRPr sz="1200">
                <a:solidFill>
                  <a:schemeClr val="tx1"/>
                </a:solidFill>
                <a:latin typeface="Calibri" panose="020F0502020204030204" pitchFamily="34" charset="0"/>
              </a:defRPr>
            </a:lvl5pPr>
            <a:lvl6pPr marL="2514600" indent="-228600" defTabSz="90805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0805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0805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08050" eaLnBrk="0" fontAlgn="base" hangingPunct="0">
              <a:spcBef>
                <a:spcPct val="30000"/>
              </a:spcBef>
              <a:spcAft>
                <a:spcPct val="0"/>
              </a:spcAft>
              <a:defRPr sz="1200">
                <a:solidFill>
                  <a:schemeClr val="tx1"/>
                </a:solidFill>
                <a:latin typeface="Calibri" panose="020F0502020204030204" pitchFamily="34" charset="0"/>
              </a:defRPr>
            </a:lvl9pPr>
          </a:lstStyle>
          <a:p>
            <a:pPr algn="r" fontAlgn="base">
              <a:spcBef>
                <a:spcPct val="0"/>
              </a:spcBef>
              <a:spcAft>
                <a:spcPct val="0"/>
              </a:spcAft>
            </a:pPr>
            <a:fld id="{E6F7A27B-938E-4DFA-BF01-8A55FB89B7BE}" type="slidenum">
              <a:rPr lang="da-DK" altLang="en-US" sz="1100">
                <a:solidFill>
                  <a:prstClr val="black"/>
                </a:solidFill>
                <a:latin typeface="Verdana" panose="020B0604030504040204" pitchFamily="34" charset="0"/>
                <a:cs typeface="Arial" charset="0"/>
              </a:rPr>
              <a:pPr algn="r" fontAlgn="base">
                <a:spcBef>
                  <a:spcPct val="0"/>
                </a:spcBef>
                <a:spcAft>
                  <a:spcPct val="0"/>
                </a:spcAft>
              </a:pPr>
              <a:t>7</a:t>
            </a:fld>
            <a:endParaRPr lang="da-DK" altLang="en-US" sz="1100">
              <a:solidFill>
                <a:prstClr val="black"/>
              </a:solidFill>
              <a:latin typeface="Verdana" panose="020B0604030504040204" pitchFamily="34" charset="0"/>
              <a:cs typeface="Arial" charset="0"/>
            </a:endParaRPr>
          </a:p>
        </p:txBody>
      </p:sp>
    </p:spTree>
    <p:extLst>
      <p:ext uri="{BB962C8B-B14F-4D97-AF65-F5344CB8AC3E}">
        <p14:creationId xmlns:p14="http://schemas.microsoft.com/office/powerpoint/2010/main" val="2023950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2702" indent="-172702">
              <a:buFont typeface="Arial" panose="020B0604020202020204" pitchFamily="34" charset="0"/>
              <a:buChar char="•"/>
            </a:pPr>
            <a:r>
              <a:rPr lang="en-GB" dirty="0"/>
              <a:t>Outcomes trials are a robust way to evaluate the efficacy and safety of therapies, generally involving large numbers of patients followed over long periods of time</a:t>
            </a:r>
            <a:r>
              <a:rPr lang="en-GB" baseline="30000" dirty="0"/>
              <a:t>1</a:t>
            </a:r>
            <a:r>
              <a:rPr lang="en-GB" dirty="0"/>
              <a:t> </a:t>
            </a:r>
          </a:p>
          <a:p>
            <a:pPr marL="172702" indent="-172702">
              <a:buFont typeface="Arial" panose="020B0604020202020204" pitchFamily="34" charset="0"/>
              <a:buChar char="•"/>
            </a:pPr>
            <a:r>
              <a:rPr lang="en-GB" dirty="0"/>
              <a:t>Cardiology CVOTs are typically designed to demonstrate CV benefit vs an active comparator</a:t>
            </a:r>
          </a:p>
          <a:p>
            <a:pPr marL="172702" indent="-172702">
              <a:buFont typeface="Arial" panose="020B0604020202020204" pitchFamily="34" charset="0"/>
              <a:buChar char="•"/>
            </a:pPr>
            <a:r>
              <a:rPr lang="en-GB" sz="1800" dirty="0"/>
              <a:t>CVOTs in the therapy area of diabetes are conducted to rule out an unacceptable increase in cardiovascular risk for a new treatment</a:t>
            </a:r>
          </a:p>
          <a:p>
            <a:pPr marL="633239" lvl="1" indent="-172702">
              <a:buFont typeface="Arial" panose="020B0604020202020204" pitchFamily="34" charset="0"/>
              <a:buChar char="•"/>
            </a:pPr>
            <a:r>
              <a:rPr lang="en-GB" dirty="0">
                <a:solidFill>
                  <a:srgbClr val="001965"/>
                </a:solidFill>
              </a:rPr>
              <a:t>If</a:t>
            </a:r>
            <a:r>
              <a:rPr lang="en-GB" baseline="0" dirty="0">
                <a:solidFill>
                  <a:srgbClr val="001965"/>
                </a:solidFill>
              </a:rPr>
              <a:t> superiority is a pre-defined endpoint, it will be assessed if and only if non-inferiority is confirmed</a:t>
            </a:r>
            <a:endParaRPr lang="en-GB" dirty="0">
              <a:solidFill>
                <a:srgbClr val="001965"/>
              </a:solidFill>
            </a:endParaRPr>
          </a:p>
          <a:p>
            <a:pPr marL="633239" lvl="1" indent="-172702">
              <a:buFont typeface="Arial" panose="020B0604020202020204" pitchFamily="34" charset="0"/>
              <a:buChar char="•"/>
            </a:pPr>
            <a:r>
              <a:rPr lang="en-GB" dirty="0">
                <a:solidFill>
                  <a:srgbClr val="001965"/>
                </a:solidFill>
              </a:rPr>
              <a:t>An aim </a:t>
            </a:r>
            <a:r>
              <a:rPr lang="en-GB" dirty="0">
                <a:solidFill>
                  <a:schemeClr val="tx1"/>
                </a:solidFill>
              </a:rPr>
              <a:t>of diabetes </a:t>
            </a:r>
            <a:r>
              <a:rPr lang="en-GB" dirty="0"/>
              <a:t>CVOTs is to optimise the treatment of patients in all arms and make them as comparable as possible except for the exposure to trial product </a:t>
            </a:r>
          </a:p>
          <a:p>
            <a:pPr marL="633239" lvl="1" indent="-172702">
              <a:buFont typeface="Arial" panose="020B0604020202020204" pitchFamily="34" charset="0"/>
              <a:buChar char="•"/>
            </a:pPr>
            <a:r>
              <a:rPr lang="en-GB" dirty="0"/>
              <a:t>Drug-specific CVOTs in diabetes are distinguishable from glycaemic control-focused studies (e.g. ACCORD, ADVANCE) that used multiple treatment modalities to achieve glycaemic targets</a:t>
            </a:r>
          </a:p>
          <a:p>
            <a:pPr marL="633239" lvl="1" indent="-172702">
              <a:buFont typeface="Arial" panose="020B0604020202020204" pitchFamily="34" charset="0"/>
              <a:buChar char="•"/>
            </a:pPr>
            <a:r>
              <a:rPr lang="en-GB" dirty="0"/>
              <a:t>CVOTs in diabetes are event-driven with MACE as a primary endpoint </a:t>
            </a:r>
          </a:p>
          <a:p>
            <a:pPr marL="633239" lvl="1" indent="-172702">
              <a:buFont typeface="Arial" panose="020B0604020202020204" pitchFamily="34" charset="0"/>
              <a:buChar char="•"/>
            </a:pPr>
            <a:r>
              <a:rPr lang="en-GB" dirty="0"/>
              <a:t>Almost all CVOTs within diabetes are placebo-controlled, testing the addition of the medication of interest or placebo to standard of care</a:t>
            </a:r>
          </a:p>
          <a:p>
            <a:pPr marL="287836" indent="-287836">
              <a:buFont typeface="Arial" panose="020B0604020202020204" pitchFamily="34" charset="0"/>
              <a:buChar char="•"/>
            </a:pPr>
            <a:r>
              <a:rPr lang="en-GB" sz="1800" dirty="0"/>
              <a:t>Event driven - designed to accrue a predefined number of end point events (e.g. CV death); the larger the required number of events, the larger or longer the trial needs to be</a:t>
            </a:r>
          </a:p>
          <a:p>
            <a:pPr marL="287836" indent="-287836">
              <a:buFont typeface="Arial" panose="020B0604020202020204" pitchFamily="34" charset="0"/>
              <a:buChar char="•"/>
            </a:pPr>
            <a:r>
              <a:rPr lang="en-GB" sz="1800" dirty="0"/>
              <a:t>MACE is considered a more stringent end point with arguably less ambiguity and bias and more certain ascertainment than some “softer” end points.</a:t>
            </a:r>
          </a:p>
          <a:p>
            <a:pPr marL="287836" indent="-287836">
              <a:buFont typeface="Arial" panose="020B0604020202020204" pitchFamily="34" charset="0"/>
              <a:buChar char="•"/>
            </a:pPr>
            <a:r>
              <a:rPr lang="en-GB" dirty="0">
                <a:effectLst/>
              </a:rPr>
              <a:t>The type of events chosen as end points may also have a bearing on the trial size; limiting events to MACE may require more patient-years to accrue compared with a broader spectrum of qualifying events</a:t>
            </a:r>
          </a:p>
          <a:p>
            <a:pPr marL="287836" indent="-287836">
              <a:buFont typeface="Arial" panose="020B0604020202020204" pitchFamily="34" charset="0"/>
              <a:buChar char="•"/>
            </a:pPr>
            <a:r>
              <a:rPr lang="en-GB" dirty="0">
                <a:effectLst/>
              </a:rPr>
              <a:t>One exception is CAROLINA, where the sulfonylurea glimepiride is the active comparator. This design may offer an additional benefit of testing efficacy parameters of </a:t>
            </a:r>
            <a:r>
              <a:rPr lang="en-GB" dirty="0" err="1">
                <a:effectLst/>
              </a:rPr>
              <a:t>linagliptin</a:t>
            </a:r>
            <a:r>
              <a:rPr lang="en-GB" dirty="0">
                <a:effectLst/>
              </a:rPr>
              <a:t> versus glimepiride in a long-term, head-to-head comparison; however, an FDA review had raised concerns related to the unknown CV effect of glimepiride, subsequently notifying the sponsor of their requirement to conduct a CV safety study with </a:t>
            </a:r>
            <a:r>
              <a:rPr lang="en-GB" dirty="0" err="1">
                <a:effectLst/>
              </a:rPr>
              <a:t>linagliptin</a:t>
            </a:r>
            <a:r>
              <a:rPr lang="en-GB" dirty="0">
                <a:effectLst/>
              </a:rPr>
              <a:t> versus placebo </a:t>
            </a:r>
            <a:endParaRPr lang="en-GB" dirty="0"/>
          </a:p>
          <a:p>
            <a:r>
              <a:rPr lang="en-GB" dirty="0"/>
              <a:t>	</a:t>
            </a:r>
          </a:p>
        </p:txBody>
      </p:sp>
      <p:sp>
        <p:nvSpPr>
          <p:cNvPr id="4" name="Slide Number Placeholder 3"/>
          <p:cNvSpPr>
            <a:spLocks noGrp="1"/>
          </p:cNvSpPr>
          <p:nvPr>
            <p:ph type="sldNum" sz="quarter" idx="10"/>
          </p:nvPr>
        </p:nvSpPr>
        <p:spPr/>
        <p:txBody>
          <a:bodyPr/>
          <a:lstStyle/>
          <a:p>
            <a:fld id="{A262BE0D-6399-4940-B513-BCB61F479CCE}" type="slidenum">
              <a:rPr lang="en-GB">
                <a:solidFill>
                  <a:prstClr val="black"/>
                </a:solidFill>
                <a:latin typeface="Verdana"/>
              </a:rPr>
              <a:pPr/>
              <a:t>8</a:t>
            </a:fld>
            <a:endParaRPr lang="en-GB" dirty="0">
              <a:solidFill>
                <a:prstClr val="black"/>
              </a:solidFill>
              <a:latin typeface="Verdana"/>
            </a:endParaRPr>
          </a:p>
        </p:txBody>
      </p:sp>
    </p:spTree>
    <p:extLst>
      <p:ext uri="{BB962C8B-B14F-4D97-AF65-F5344CB8AC3E}">
        <p14:creationId xmlns:p14="http://schemas.microsoft.com/office/powerpoint/2010/main" val="2573577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961645" y="8125195"/>
            <a:ext cx="3030731" cy="427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lgn="r" defTabSz="914400">
              <a:spcBef>
                <a:spcPct val="0"/>
              </a:spcBef>
            </a:pPr>
            <a:fld id="{DF9E5905-C1D4-4EC0-B0A4-76B8DA01E1DD}" type="slidenum">
              <a:rPr lang="en-GB" altLang="en-US">
                <a:solidFill>
                  <a:srgbClr val="000000"/>
                </a:solidFill>
                <a:latin typeface="Verdana" panose="020B0604030504040204" pitchFamily="34" charset="0"/>
                <a:ea typeface="ヒラギノ角ゴ Pro W3"/>
                <a:cs typeface="ヒラギノ角ゴ Pro W3"/>
              </a:rPr>
              <a:pPr algn="r" defTabSz="914400">
                <a:spcBef>
                  <a:spcPct val="0"/>
                </a:spcBef>
              </a:pPr>
              <a:t>9</a:t>
            </a:fld>
            <a:endParaRPr lang="en-GB" altLang="en-US" dirty="0">
              <a:solidFill>
                <a:srgbClr val="000000"/>
              </a:solidFill>
              <a:latin typeface="Verdana" panose="020B0604030504040204" pitchFamily="34" charset="0"/>
              <a:ea typeface="ヒラギノ角ゴ Pro W3"/>
              <a:cs typeface="ヒラギノ角ゴ Pro W3"/>
            </a:endParaRPr>
          </a:p>
        </p:txBody>
      </p:sp>
      <p:sp>
        <p:nvSpPr>
          <p:cNvPr id="66563" name="Rectangle 2"/>
          <p:cNvSpPr>
            <a:spLocks noGrp="1" noRot="1" noChangeAspect="1" noChangeArrowheads="1" noTextEdit="1"/>
          </p:cNvSpPr>
          <p:nvPr>
            <p:ph type="sldImg"/>
          </p:nvPr>
        </p:nvSpPr>
        <p:spPr bwMode="auto">
          <a:xfrm>
            <a:off x="646113" y="641350"/>
            <a:ext cx="5702300" cy="32083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dirty="0">
              <a:ea typeface="ヒラギノ角ゴ Pro W3"/>
              <a:cs typeface="Arial" panose="020B0604020202020204" pitchFamily="34" charset="0"/>
            </a:endParaRPr>
          </a:p>
        </p:txBody>
      </p:sp>
      <p:sp>
        <p:nvSpPr>
          <p:cNvPr id="91141" name="Header Placeholder 1"/>
          <p:cNvSpPr>
            <a:spLocks noGrp="1"/>
          </p:cNvSpPr>
          <p:nvPr>
            <p:ph type="hdr" sz="quarter"/>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r>
              <a:rPr lang="en-GB" altLang="en-US" dirty="0">
                <a:solidFill>
                  <a:srgbClr val="000000"/>
                </a:solidFill>
                <a:latin typeface="Calibri" pitchFamily="34" charset="0"/>
              </a:rPr>
              <a:t>Completed &amp; Upcoming CV Outcome Trials in T2DM - What have we learned so far April 2014</a:t>
            </a:r>
          </a:p>
        </p:txBody>
      </p:sp>
      <p:sp>
        <p:nvSpPr>
          <p:cNvPr id="2" name="TextBox 1"/>
          <p:cNvSpPr txBox="1"/>
          <p:nvPr>
            <p:custDataLst>
              <p:tags r:id="rId1"/>
            </p:custDataLst>
          </p:nvPr>
        </p:nvSpPr>
        <p:spPr>
          <a:xfrm>
            <a:off x="0" y="0"/>
            <a:ext cx="3885552" cy="369332"/>
          </a:xfrm>
          <a:prstGeom prst="rect">
            <a:avLst/>
          </a:prstGeom>
          <a:noFill/>
        </p:spPr>
        <p:txBody>
          <a:bodyPr vert="horz" rtlCol="0">
            <a:spAutoFit/>
          </a:bodyPr>
          <a:lstStyle/>
          <a:p>
            <a:pPr defTabSz="914400"/>
            <a:endParaRPr lang="en-GB" sz="1800">
              <a:solidFill>
                <a:prstClr val="black"/>
              </a:solidFill>
              <a:ea typeface="ＭＳ Ｐゴシック" charset="0"/>
            </a:endParaRPr>
          </a:p>
        </p:txBody>
      </p:sp>
    </p:spTree>
    <p:extLst>
      <p:ext uri="{BB962C8B-B14F-4D97-AF65-F5344CB8AC3E}">
        <p14:creationId xmlns:p14="http://schemas.microsoft.com/office/powerpoint/2010/main" val="1503340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F42DF8C-8F7F-4249-817B-A874CC80FA04}" type="slidenum">
              <a:rPr lang="en-GB" smtClean="0">
                <a:solidFill>
                  <a:prstClr val="black"/>
                </a:solidFill>
                <a:latin typeface="Verdana"/>
              </a:rPr>
              <a:pPr/>
              <a:t>11</a:t>
            </a:fld>
            <a:endParaRPr lang="en-GB" dirty="0">
              <a:solidFill>
                <a:prstClr val="black"/>
              </a:solidFill>
              <a:latin typeface="Verdana"/>
            </a:endParaRPr>
          </a:p>
        </p:txBody>
      </p:sp>
    </p:spTree>
    <p:extLst>
      <p:ext uri="{BB962C8B-B14F-4D97-AF65-F5344CB8AC3E}">
        <p14:creationId xmlns:p14="http://schemas.microsoft.com/office/powerpoint/2010/main" val="1982610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sz="1100" b="1" dirty="0"/>
              <a:t>Mortality</a:t>
            </a:r>
            <a:br>
              <a:rPr lang="en-GB" sz="1100" b="1" dirty="0"/>
            </a:br>
            <a:r>
              <a:rPr lang="en-GB" sz="1100" dirty="0"/>
              <a:t>At the end of follow-up, 38 (48%) of the original intensive-therapy patients had died compared with 55 (69%) of conventional-therapy patients</a:t>
            </a:r>
          </a:p>
          <a:p>
            <a:endParaRPr lang="en-GB" sz="1100" dirty="0"/>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sz="1100" b="0" i="0" u="none" strike="noStrike" kern="1200" baseline="0" dirty="0">
                <a:solidFill>
                  <a:schemeClr val="tx1"/>
                </a:solidFill>
              </a:rPr>
              <a:t>Median survival time in the conventional-therapy group was 13.3 years, and the difference in median survival time after randomisation was therefore at least 7.9 years (95% CI 2.2, 9.6 years)</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GB" sz="1100" b="0" i="0" u="none" strike="noStrike" kern="1200" baseline="0" dirty="0">
                <a:solidFill>
                  <a:schemeClr val="tx1"/>
                </a:solidFill>
              </a:rPr>
              <a:t>Formally, median survival time could not be calculated after randomisation in the intensive-therapy group as 48% (and not the 50% required) of intensive-therapy group patients died before the end of follow-up; therefore calculated differences in median survival might underestimate the real difference.</a:t>
            </a:r>
            <a:endParaRPr lang="en-GB" sz="1100" dirty="0"/>
          </a:p>
          <a:p>
            <a:endParaRPr lang="en-GB" sz="110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6BBB935C-7C44-411F-83BE-6DF2428951A9}" type="slidenum">
              <a:rPr lang="en-GB">
                <a:solidFill>
                  <a:srgbClr val="001965"/>
                </a:solidFill>
                <a:latin typeface="Verdana"/>
              </a:rPr>
              <a:pPr>
                <a:defRPr/>
              </a:pPr>
              <a:t>12</a:t>
            </a:fld>
            <a:endParaRPr lang="en-GB" dirty="0">
              <a:solidFill>
                <a:srgbClr val="001965"/>
              </a:solidFill>
              <a:latin typeface="Verdana"/>
            </a:endParaRPr>
          </a:p>
        </p:txBody>
      </p:sp>
    </p:spTree>
    <p:extLst>
      <p:ext uri="{BB962C8B-B14F-4D97-AF65-F5344CB8AC3E}">
        <p14:creationId xmlns:p14="http://schemas.microsoft.com/office/powerpoint/2010/main" val="292799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xfrm>
            <a:off x="381000" y="685800"/>
            <a:ext cx="6096000" cy="3429000"/>
          </a:xfrm>
          <a:ln/>
        </p:spPr>
      </p:sp>
      <p:sp>
        <p:nvSpPr>
          <p:cNvPr id="60419" name="Notes Placeholder 2"/>
          <p:cNvSpPr>
            <a:spLocks noGrp="1"/>
          </p:cNvSpPr>
          <p:nvPr>
            <p:ph type="body" idx="1"/>
          </p:nvPr>
        </p:nvSpPr>
        <p:spPr>
          <a:noFill/>
        </p:spPr>
        <p:txBody>
          <a:bodyPr/>
          <a:lstStyle/>
          <a:p>
            <a:pPr eaLnBrk="1" hangingPunct="1">
              <a:spcBef>
                <a:spcPct val="0"/>
              </a:spcBef>
            </a:pPr>
            <a:endParaRPr lang="en-GB" altLang="cs-CZ" smtClean="0"/>
          </a:p>
        </p:txBody>
      </p:sp>
      <p:sp>
        <p:nvSpPr>
          <p:cNvPr id="51204" name="Slide Number Placeholder 3"/>
          <p:cNvSpPr>
            <a:spLocks noGrp="1"/>
          </p:cNvSpPr>
          <p:nvPr>
            <p:ph type="sldNum" sz="quarter" idx="5"/>
          </p:nvPr>
        </p:nvSpPr>
        <p:spPr>
          <a:xfrm>
            <a:off x="3884613" y="8685213"/>
            <a:ext cx="2971800" cy="457200"/>
          </a:xfrm>
          <a:prstGeom prst="rect">
            <a:avLst/>
          </a:prstGeom>
          <a:ln>
            <a:miter lim="800000"/>
            <a:headEnd/>
            <a:tailEnd/>
          </a:ln>
        </p:spPr>
        <p:txBody>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fld id="{C4A2484C-0B8D-4FD2-AAF6-3CD9ADE33B16}" type="slidenum">
              <a:rPr lang="en-AU" altLang="cs-CZ">
                <a:solidFill>
                  <a:srgbClr val="000000"/>
                </a:solidFill>
                <a:latin typeface="Calibri" pitchFamily="34" charset="0"/>
                <a:ea typeface="ＭＳ Ｐゴシック" pitchFamily="34" charset="-128"/>
              </a:rPr>
              <a:pPr/>
              <a:t>14</a:t>
            </a:fld>
            <a:endParaRPr lang="en-AU" altLang="cs-CZ">
              <a:solidFill>
                <a:srgbClr val="000000"/>
              </a:solidFill>
              <a:latin typeface="Calibri" pitchFamily="34" charset="0"/>
              <a:ea typeface="ＭＳ Ｐゴシック"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a:xfrm>
            <a:off x="381000" y="685800"/>
            <a:ext cx="6096000" cy="3429000"/>
          </a:xfrm>
          <a:ln/>
        </p:spPr>
      </p:sp>
      <p:sp>
        <p:nvSpPr>
          <p:cNvPr id="62467" name="Notes Placeholder 2"/>
          <p:cNvSpPr>
            <a:spLocks noGrp="1"/>
          </p:cNvSpPr>
          <p:nvPr>
            <p:ph type="body" idx="1"/>
          </p:nvPr>
        </p:nvSpPr>
        <p:spPr>
          <a:noFill/>
        </p:spPr>
        <p:txBody>
          <a:bodyPr/>
          <a:lstStyle/>
          <a:p>
            <a:pPr eaLnBrk="1" hangingPunct="1">
              <a:spcBef>
                <a:spcPct val="0"/>
              </a:spcBef>
            </a:pPr>
            <a:endParaRPr lang="en-GB" altLang="cs-CZ" dirty="0" smtClean="0"/>
          </a:p>
        </p:txBody>
      </p:sp>
      <p:sp>
        <p:nvSpPr>
          <p:cNvPr id="52228" name="Slide Number Placeholder 3"/>
          <p:cNvSpPr>
            <a:spLocks noGrp="1"/>
          </p:cNvSpPr>
          <p:nvPr>
            <p:ph type="sldNum" sz="quarter" idx="5"/>
          </p:nvPr>
        </p:nvSpPr>
        <p:spPr>
          <a:xfrm>
            <a:off x="3884613" y="8685213"/>
            <a:ext cx="2971800" cy="457200"/>
          </a:xfrm>
          <a:prstGeom prst="rect">
            <a:avLst/>
          </a:prstGeom>
          <a:ln>
            <a:miter lim="800000"/>
            <a:headEnd/>
            <a:tailEnd/>
          </a:ln>
        </p:spPr>
        <p:txBody>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fld id="{EF4CF831-404C-4504-B679-52EFAE9AD2A9}" type="slidenum">
              <a:rPr lang="en-AU" altLang="cs-CZ">
                <a:solidFill>
                  <a:srgbClr val="000000"/>
                </a:solidFill>
                <a:latin typeface="Calibri" pitchFamily="34" charset="0"/>
                <a:ea typeface="ＭＳ Ｐゴシック" pitchFamily="34" charset="-128"/>
              </a:rPr>
              <a:pPr/>
              <a:t>15</a:t>
            </a:fld>
            <a:endParaRPr lang="en-AU" altLang="cs-CZ">
              <a:solidFill>
                <a:srgbClr val="000000"/>
              </a:solidFill>
              <a:latin typeface="Calibri"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3.xml"/><Relationship Id="rId4" Type="http://schemas.openxmlformats.org/officeDocument/2006/relationships/image" Target="../media/image10.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13.xml"/><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006533"/>
            <a:ext cx="8510400" cy="3261515"/>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800"/>
            </a:lvl1pPr>
          </a:lstStyle>
          <a:p>
            <a:r>
              <a:rPr lang="en-US" noProof="0" dirty="0"/>
              <a:t>Click to edit Master title style</a:t>
            </a:r>
            <a:endParaRPr lang="en-GB" noProof="0" dirty="0"/>
          </a:p>
        </p:txBody>
      </p:sp>
      <p:sp>
        <p:nvSpPr>
          <p:cNvPr id="3" name="Text Placeholder 2"/>
          <p:cNvSpPr>
            <a:spLocks noGrp="1"/>
          </p:cNvSpPr>
          <p:nvPr>
            <p:ph type="body" sz="quarter" idx="10" hasCustomPrompt="1"/>
          </p:nvPr>
        </p:nvSpPr>
        <p:spPr>
          <a:xfrm>
            <a:off x="316801" y="4213924"/>
            <a:ext cx="8509700" cy="770826"/>
          </a:xfrm>
        </p:spPr>
        <p:txBody>
          <a:bodyPr anchor="b"/>
          <a:lstStyle>
            <a:lvl1pPr marL="0" marR="0" indent="0" algn="l" defTabSz="913568"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2136982848"/>
      </p:ext>
    </p:extLst>
  </p:cSld>
  <p:clrMapOvr>
    <a:masterClrMapping/>
  </p:clrMapOvr>
  <p:transition/>
  <p:extLst mod="1">
    <p:ext uri="{DCECCB84-F9BA-43D5-87BE-67443E8EF086}">
      <p15:sldGuideLst xmlns:p15="http://schemas.microsoft.com/office/powerpoint/2012/main" xmlns="">
        <p15:guide id="1" orient="horz" pos="314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dirty="0"/>
              <a:t>Click to edit Master title style</a:t>
            </a:r>
            <a:endParaRPr lang="da-DK" dirty="0"/>
          </a:p>
        </p:txBody>
      </p:sp>
      <p:sp>
        <p:nvSpPr>
          <p:cNvPr id="3" name="Text Placeholder 2"/>
          <p:cNvSpPr>
            <a:spLocks noGrp="1"/>
          </p:cNvSpPr>
          <p:nvPr>
            <p:ph type="body" sz="quarter" idx="10"/>
          </p:nvPr>
        </p:nvSpPr>
        <p:spPr>
          <a:xfrm>
            <a:off x="316801" y="42793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25154085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Zástupný symbol pro obsah 2"/>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F1717A3-CE4F-4B58-A5AC-1BD8753A12B5}"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9316964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cs-CZ" smtClean="0"/>
              <a:t>Kliknutím lze upravit styl.</a:t>
            </a:r>
            <a:endParaRPr lang="cs-CZ"/>
          </a:p>
        </p:txBody>
      </p:sp>
      <p:sp>
        <p:nvSpPr>
          <p:cNvPr id="3" name="Zástupný symbol pro text 2"/>
          <p:cNvSpPr>
            <a:spLocks noGrp="1"/>
          </p:cNvSpPr>
          <p:nvPr>
            <p:ph type="body" idx="1"/>
          </p:nvPr>
        </p:nvSpPr>
        <p:spPr>
          <a:xfrm>
            <a:off x="457200" y="1151338"/>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Kliknutím lze upravit styly předlohy textu.</a:t>
            </a:r>
          </a:p>
        </p:txBody>
      </p:sp>
      <p:sp>
        <p:nvSpPr>
          <p:cNvPr id="4" name="Zástupný symbol pro obsah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Zástupný symbol pro text 4"/>
          <p:cNvSpPr>
            <a:spLocks noGrp="1"/>
          </p:cNvSpPr>
          <p:nvPr>
            <p:ph type="body" sz="quarter" idx="3"/>
          </p:nvPr>
        </p:nvSpPr>
        <p:spPr>
          <a:xfrm>
            <a:off x="4645066" y="1151338"/>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Kliknutím lze upravit styly předlohy textu.</a:t>
            </a:r>
          </a:p>
        </p:txBody>
      </p:sp>
      <p:sp>
        <p:nvSpPr>
          <p:cNvPr id="6" name="Zástupný symbol pro obsah 5"/>
          <p:cNvSpPr>
            <a:spLocks noGrp="1"/>
          </p:cNvSpPr>
          <p:nvPr>
            <p:ph sz="quarter" idx="4"/>
          </p:nvPr>
        </p:nvSpPr>
        <p:spPr>
          <a:xfrm>
            <a:off x="464506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7"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735E4E89-F7D0-4609-A2C6-9F49DA739EF1}"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4419106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4C9FC0F-0A87-40EB-81FC-294CF29CF137}"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1966175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34CF8F48-4A72-48C0-9631-E3FCA0762383}"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04988039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457219" y="204792"/>
            <a:ext cx="3008313" cy="871538"/>
          </a:xfrm>
        </p:spPr>
        <p:txBody>
          <a:bodyPr anchor="b"/>
          <a:lstStyle>
            <a:lvl1pPr algn="l">
              <a:defRPr sz="2000" b="1"/>
            </a:lvl1pPr>
          </a:lstStyle>
          <a:p>
            <a:r>
              <a:rPr lang="cs-CZ" smtClean="0"/>
              <a:t>Kliknutím lze upravit styl.</a:t>
            </a:r>
            <a:endParaRPr lang="cs-CZ"/>
          </a:p>
        </p:txBody>
      </p:sp>
      <p:sp>
        <p:nvSpPr>
          <p:cNvPr id="3" name="Zástupný symbol pro obsah 2"/>
          <p:cNvSpPr>
            <a:spLocks noGrp="1"/>
          </p:cNvSpPr>
          <p:nvPr>
            <p:ph idx="1"/>
          </p:nvPr>
        </p:nvSpPr>
        <p:spPr>
          <a:xfrm>
            <a:off x="3575050" y="20480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text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DF1DBC1-FCE9-4F1E-8E89-9E54A20D57F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47285219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1792288" y="3600505"/>
            <a:ext cx="5486400" cy="425054"/>
          </a:xfrm>
        </p:spPr>
        <p:txBody>
          <a:bodyPr anchor="b"/>
          <a:lstStyle>
            <a:lvl1pPr algn="l">
              <a:defRPr sz="2000" b="1"/>
            </a:lvl1pPr>
          </a:lstStyle>
          <a:p>
            <a:r>
              <a:rPr lang="cs-CZ" smtClean="0"/>
              <a:t>Kliknutím lze upravit styl.</a:t>
            </a:r>
            <a:endParaRPr lang="cs-CZ"/>
          </a:p>
        </p:txBody>
      </p:sp>
      <p:sp>
        <p:nvSpPr>
          <p:cNvPr id="3" name="Zástupný symbol pro obrázek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smtClean="0"/>
          </a:p>
        </p:txBody>
      </p:sp>
      <p:sp>
        <p:nvSpPr>
          <p:cNvPr id="4" name="Zástupný symbol pro text 3"/>
          <p:cNvSpPr>
            <a:spLocks noGrp="1"/>
          </p:cNvSpPr>
          <p:nvPr>
            <p:ph type="body" sz="half" idx="2"/>
          </p:nvPr>
        </p:nvSpPr>
        <p:spPr>
          <a:xfrm>
            <a:off x="1792288" y="4025599"/>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EC24BBF-95BC-4979-B9F6-1C7A4D7FB0A6}"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22498789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Zástupný symbol pro svislý text 2"/>
          <p:cNvSpPr>
            <a:spLocks noGrp="1"/>
          </p:cNvSpPr>
          <p:nvPr>
            <p:ph type="body" orient="vert" idx="1"/>
          </p:nvPr>
        </p:nvSpPr>
        <p:spPr/>
        <p:txBody>
          <a:bodyPr vert="eaVert"/>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82B6731-E73F-4CA4-9C0D-E3BDE95445B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8707246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6629400" y="205980"/>
            <a:ext cx="2057400" cy="4388644"/>
          </a:xfrm>
        </p:spPr>
        <p:txBody>
          <a:bodyPr vert="eaVert"/>
          <a:lstStyle/>
          <a:p>
            <a:r>
              <a:rPr lang="cs-CZ" smtClean="0"/>
              <a:t>Kliknutím lze upravit styl.</a:t>
            </a:r>
            <a:endParaRPr lang="cs-CZ"/>
          </a:p>
        </p:txBody>
      </p:sp>
      <p:sp>
        <p:nvSpPr>
          <p:cNvPr id="3" name="Zástupný symbol pro svislý text 2"/>
          <p:cNvSpPr>
            <a:spLocks noGrp="1"/>
          </p:cNvSpPr>
          <p:nvPr>
            <p:ph type="body" orient="vert" idx="1"/>
          </p:nvPr>
        </p:nvSpPr>
        <p:spPr>
          <a:xfrm>
            <a:off x="457200" y="205980"/>
            <a:ext cx="6019800" cy="4388644"/>
          </a:xfrm>
        </p:spPr>
        <p:txBody>
          <a:bodyPr vert="eaVert"/>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B3C0F44-E305-45A6-8A7E-9D007CAB09D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414684744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bl" preserve="1">
  <p:cSld name="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457200" y="205978"/>
            <a:ext cx="8229600" cy="857250"/>
          </a:xfrm>
        </p:spPr>
        <p:txBody>
          <a:bodyPr/>
          <a:lstStyle/>
          <a:p>
            <a:r>
              <a:rPr lang="cs-CZ" smtClean="0"/>
              <a:t>Kliknutím lze upravit styl.</a:t>
            </a:r>
            <a:endParaRPr lang="cs-CZ"/>
          </a:p>
        </p:txBody>
      </p:sp>
      <p:sp>
        <p:nvSpPr>
          <p:cNvPr id="3" name="Zástupný symbol pro tabulku 2"/>
          <p:cNvSpPr>
            <a:spLocks noGrp="1"/>
          </p:cNvSpPr>
          <p:nvPr>
            <p:ph type="tbl" idx="1"/>
          </p:nvPr>
        </p:nvSpPr>
        <p:spPr>
          <a:xfrm>
            <a:off x="457200" y="1200154"/>
            <a:ext cx="8229600" cy="3394472"/>
          </a:xfrm>
        </p:spPr>
        <p:txBody>
          <a:bodyPr/>
          <a:lstStyle/>
          <a:p>
            <a:pPr lvl="0"/>
            <a:endParaRPr lang="cs-CZ"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410A03-FC27-48C9-9483-0B0567516439}"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1440052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AndTwoObj" preserve="1">
  <p:cSld name="Nadpis, 1 velký a 2 malé obsahy">
    <p:spTree>
      <p:nvGrpSpPr>
        <p:cNvPr id="1" name=""/>
        <p:cNvGrpSpPr/>
        <p:nvPr/>
      </p:nvGrpSpPr>
      <p:grpSpPr>
        <a:xfrm>
          <a:off x="0" y="0"/>
          <a:ext cx="0" cy="0"/>
          <a:chOff x="0" y="0"/>
          <a:chExt cx="0" cy="0"/>
        </a:xfrm>
      </p:grpSpPr>
      <p:sp>
        <p:nvSpPr>
          <p:cNvPr id="2" name="Nadpis 1"/>
          <p:cNvSpPr>
            <a:spLocks noGrp="1"/>
          </p:cNvSpPr>
          <p:nvPr>
            <p:ph type="title"/>
          </p:nvPr>
        </p:nvSpPr>
        <p:spPr>
          <a:xfrm>
            <a:off x="457200" y="205978"/>
            <a:ext cx="8229600" cy="857250"/>
          </a:xfrm>
        </p:spPr>
        <p:txBody>
          <a:bodyPr/>
          <a:lstStyle/>
          <a:p>
            <a:r>
              <a:rPr lang="cs-CZ" smtClean="0"/>
              <a:t>Kliknutím lze upravit styl.</a:t>
            </a:r>
            <a:endParaRPr lang="cs-CZ"/>
          </a:p>
        </p:txBody>
      </p:sp>
      <p:sp>
        <p:nvSpPr>
          <p:cNvPr id="3" name="Zástupný symbol pro obsah 2"/>
          <p:cNvSpPr>
            <a:spLocks noGrp="1"/>
          </p:cNvSpPr>
          <p:nvPr>
            <p:ph sz="half" idx="1"/>
          </p:nvPr>
        </p:nvSpPr>
        <p:spPr>
          <a:xfrm>
            <a:off x="457200" y="1200154"/>
            <a:ext cx="4038600" cy="3394472"/>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quarter" idx="2"/>
          </p:nvPr>
        </p:nvSpPr>
        <p:spPr>
          <a:xfrm>
            <a:off x="4648200" y="1200152"/>
            <a:ext cx="4038600" cy="1639491"/>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Zástupný symbol pro obsah 4"/>
          <p:cNvSpPr>
            <a:spLocks noGrp="1"/>
          </p:cNvSpPr>
          <p:nvPr>
            <p:ph sz="quarter" idx="3"/>
          </p:nvPr>
        </p:nvSpPr>
        <p:spPr>
          <a:xfrm>
            <a:off x="4648200" y="2953991"/>
            <a:ext cx="4038600" cy="1640681"/>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6"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53B5604-B28C-4E76-BCC6-97449C08BBB1}"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4748468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0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Text Placeholder 2"/>
          <p:cNvSpPr>
            <a:spLocks noGrp="1"/>
          </p:cNvSpPr>
          <p:nvPr>
            <p:ph type="body" sz="quarter" idx="11"/>
          </p:nvPr>
        </p:nvSpPr>
        <p:spPr>
          <a:xfrm>
            <a:off x="316801" y="42793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709175789"/>
      </p:ext>
    </p:extLst>
  </p:cSld>
  <p:clrMapOvr>
    <a:masterClrMapping/>
  </p:clrMapOvr>
  <p:transition/>
  <p:extLst mod="1">
    <p:ext uri="{DCECCB84-F9BA-43D5-87BE-67443E8EF086}">
      <p15:sldGuideLst xmlns:p15="http://schemas.microsoft.com/office/powerpoint/2012/main" xmlns="">
        <p15:guide id="1" orient="horz" pos="1620">
          <p15:clr>
            <a:srgbClr val="FBAE40"/>
          </p15:clr>
        </p15:guide>
        <p15:guide id="2" pos="2880">
          <p15:clr>
            <a:srgbClr val="FBAE40"/>
          </p15:clr>
        </p15:guide>
        <p15:guide id="3" orient="horz" pos="31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1"/>
          <p:cNvSpPr>
            <a:spLocks noGrp="1"/>
          </p:cNvSpPr>
          <p:nvPr>
            <p:ph type="title"/>
          </p:nvPr>
        </p:nvSpPr>
        <p:spPr>
          <a:xfrm>
            <a:off x="571500" y="0"/>
            <a:ext cx="8229600" cy="899556"/>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1768712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0"/>
          </p:nvPr>
        </p:nvSpPr>
        <p:spPr/>
        <p:txBody>
          <a:bodyPr/>
          <a:lstStyle>
            <a:lvl1pPr>
              <a:defRPr/>
            </a:lvl1pPr>
          </a:lstStyle>
          <a:p>
            <a:pPr>
              <a:defRPr/>
            </a:pPr>
            <a:fld id="{82775C9F-5975-424C-8FBD-DAE04EDFABC7}" type="slidenum">
              <a:rPr lang="en-GB">
                <a:solidFill>
                  <a:srgbClr val="000000"/>
                </a:solidFill>
              </a:rPr>
              <a:pPr>
                <a:defRPr/>
              </a:pPr>
              <a:t>‹#›</a:t>
            </a:fld>
            <a:endParaRPr lang="en-GB">
              <a:solidFill>
                <a:srgbClr val="000000"/>
              </a:solidFill>
            </a:endParaRPr>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solidFill>
                  <a:srgbClr val="000000"/>
                </a:solidFill>
              </a:rPr>
              <a:t>Presentation title</a:t>
            </a:r>
          </a:p>
        </p:txBody>
      </p:sp>
      <p:sp>
        <p:nvSpPr>
          <p:cNvPr id="7"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solidFill>
                  <a:srgbClr val="000000"/>
                </a:solidFill>
              </a:rPr>
              <a:t>Date</a:t>
            </a:r>
          </a:p>
        </p:txBody>
      </p:sp>
    </p:spTree>
    <p:extLst>
      <p:ext uri="{BB962C8B-B14F-4D97-AF65-F5344CB8AC3E}">
        <p14:creationId xmlns:p14="http://schemas.microsoft.com/office/powerpoint/2010/main" val="2840109239"/>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704"/>
            <a:ext cx="7772400" cy="1101725"/>
          </a:xfrm>
        </p:spPr>
        <p:txBody>
          <a:bodyPr/>
          <a:lstStyle/>
          <a:p>
            <a:r>
              <a:rPr lang="en-US"/>
              <a:t>Click to edit Master title style</a:t>
            </a:r>
            <a:endParaRPr lang="cs-CZ"/>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cs-CZ"/>
          </a:p>
        </p:txBody>
      </p:sp>
    </p:spTree>
    <p:extLst>
      <p:ext uri="{BB962C8B-B14F-4D97-AF65-F5344CB8AC3E}">
        <p14:creationId xmlns:p14="http://schemas.microsoft.com/office/powerpoint/2010/main" val="32635918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s-CZ"/>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19816154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226"/>
            <a:ext cx="7772400" cy="1022350"/>
          </a:xfrm>
        </p:spPr>
        <p:txBody>
          <a:bodyPr anchor="t"/>
          <a:lstStyle>
            <a:lvl1pPr algn="l">
              <a:defRPr sz="4000" b="1" cap="all"/>
            </a:lvl1pPr>
          </a:lstStyle>
          <a:p>
            <a:r>
              <a:rPr lang="en-US"/>
              <a:t>Click to edit Master title style</a:t>
            </a:r>
            <a:endParaRPr lang="cs-CZ"/>
          </a:p>
        </p:txBody>
      </p:sp>
      <p:sp>
        <p:nvSpPr>
          <p:cNvPr id="3" name="Text Placeholder 2"/>
          <p:cNvSpPr>
            <a:spLocks noGrp="1"/>
          </p:cNvSpPr>
          <p:nvPr>
            <p:ph type="body" idx="1"/>
          </p:nvPr>
        </p:nvSpPr>
        <p:spPr>
          <a:xfrm>
            <a:off x="722313" y="2179640"/>
            <a:ext cx="7772400" cy="112553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6813744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s-CZ"/>
          </a:p>
        </p:txBody>
      </p:sp>
      <p:sp>
        <p:nvSpPr>
          <p:cNvPr id="3" name="Content Placeholder 2"/>
          <p:cNvSpPr>
            <a:spLocks noGrp="1"/>
          </p:cNvSpPr>
          <p:nvPr>
            <p:ph sz="half" idx="1"/>
          </p:nvPr>
        </p:nvSpPr>
        <p:spPr>
          <a:xfrm>
            <a:off x="669925" y="1384310"/>
            <a:ext cx="3860800" cy="2898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Content Placeholder 3"/>
          <p:cNvSpPr>
            <a:spLocks noGrp="1"/>
          </p:cNvSpPr>
          <p:nvPr>
            <p:ph sz="half" idx="2"/>
          </p:nvPr>
        </p:nvSpPr>
        <p:spPr>
          <a:xfrm>
            <a:off x="4683127" y="1384310"/>
            <a:ext cx="3862388" cy="2898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8112166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p:spPr>
        <p:txBody>
          <a:bodyPr/>
          <a:lstStyle>
            <a:lvl1pPr>
              <a:defRPr/>
            </a:lvl1pPr>
          </a:lstStyle>
          <a:p>
            <a:r>
              <a:rPr lang="en-US"/>
              <a:t>Click to edit Master title style</a:t>
            </a:r>
            <a:endParaRPr lang="cs-CZ"/>
          </a:p>
        </p:txBody>
      </p:sp>
      <p:sp>
        <p:nvSpPr>
          <p:cNvPr id="3" name="Text Placeholder 2"/>
          <p:cNvSpPr>
            <a:spLocks noGrp="1"/>
          </p:cNvSpPr>
          <p:nvPr>
            <p:ph type="body" idx="1"/>
          </p:nvPr>
        </p:nvSpPr>
        <p:spPr>
          <a:xfrm>
            <a:off x="457200" y="1150939"/>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951"/>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Text Placeholder 4"/>
          <p:cNvSpPr>
            <a:spLocks noGrp="1"/>
          </p:cNvSpPr>
          <p:nvPr>
            <p:ph type="body" sz="quarter" idx="3"/>
          </p:nvPr>
        </p:nvSpPr>
        <p:spPr>
          <a:xfrm>
            <a:off x="4645066" y="1150939"/>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66" y="1631951"/>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304848845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s-CZ"/>
          </a:p>
        </p:txBody>
      </p:sp>
    </p:spTree>
    <p:extLst>
      <p:ext uri="{BB962C8B-B14F-4D97-AF65-F5344CB8AC3E}">
        <p14:creationId xmlns:p14="http://schemas.microsoft.com/office/powerpoint/2010/main" val="30558066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215239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04800"/>
            <a:ext cx="3008313" cy="871537"/>
          </a:xfrm>
        </p:spPr>
        <p:txBody>
          <a:bodyPr anchor="b"/>
          <a:lstStyle>
            <a:lvl1pPr algn="l">
              <a:defRPr sz="2000" b="1"/>
            </a:lvl1pPr>
          </a:lstStyle>
          <a:p>
            <a:r>
              <a:rPr lang="en-US"/>
              <a:t>Click to edit Master title style</a:t>
            </a:r>
            <a:endParaRPr lang="cs-CZ"/>
          </a:p>
        </p:txBody>
      </p:sp>
      <p:sp>
        <p:nvSpPr>
          <p:cNvPr id="3" name="Content Placeholder 2"/>
          <p:cNvSpPr>
            <a:spLocks noGrp="1"/>
          </p:cNvSpPr>
          <p:nvPr>
            <p:ph idx="1"/>
          </p:nvPr>
        </p:nvSpPr>
        <p:spPr>
          <a:xfrm>
            <a:off x="3575050" y="204801"/>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Text Placeholder 3"/>
          <p:cNvSpPr>
            <a:spLocks noGrp="1"/>
          </p:cNvSpPr>
          <p:nvPr>
            <p:ph type="body" sz="half" idx="2"/>
          </p:nvPr>
        </p:nvSpPr>
        <p:spPr>
          <a:xfrm>
            <a:off x="457208" y="1076326"/>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6864356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6"/>
            <a:ext cx="8510400" cy="391413"/>
          </a:xfrm>
        </p:spPr>
        <p:txBody>
          <a:bodyPr anchor="ctr" anchorCtr="0"/>
          <a:lstStyle>
            <a:lvl1pPr>
              <a:defRPr sz="20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6"/>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4172993" y="103912"/>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2111" eaLnBrk="1" hangingPunct="1">
              <a:spcBef>
                <a:spcPct val="0"/>
              </a:spcBef>
              <a:defRPr sz="600" b="0">
                <a:solidFill>
                  <a:schemeClr val="accent3"/>
                </a:solidFill>
              </a:defRPr>
            </a:lvl1pPr>
          </a:lstStyle>
          <a:p>
            <a:pPr>
              <a:defRPr/>
            </a:pPr>
            <a:r>
              <a:rPr lang="en-GB">
                <a:solidFill>
                  <a:srgbClr val="82786F"/>
                </a:solidFill>
              </a:rPr>
              <a:t>Presentation title</a:t>
            </a:r>
            <a:endParaRPr lang="en-GB" dirty="0">
              <a:solidFill>
                <a:srgbClr val="82786F"/>
              </a:solidFill>
            </a:endParaRPr>
          </a:p>
        </p:txBody>
      </p:sp>
      <p:sp>
        <p:nvSpPr>
          <p:cNvPr id="11" name="Rectangle 81"/>
          <p:cNvSpPr>
            <a:spLocks noGrp="1" noChangeArrowheads="1"/>
          </p:cNvSpPr>
          <p:nvPr>
            <p:ph type="dt" sz="half" idx="2"/>
          </p:nvPr>
        </p:nvSpPr>
        <p:spPr bwMode="auto">
          <a:xfrm>
            <a:off x="7187154" y="103912"/>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2111" eaLnBrk="1" hangingPunct="1">
              <a:spcBef>
                <a:spcPct val="0"/>
              </a:spcBef>
              <a:defRPr sz="600" b="0">
                <a:solidFill>
                  <a:schemeClr val="accent3"/>
                </a:solidFill>
              </a:defRPr>
            </a:lvl1pPr>
          </a:lstStyle>
          <a:p>
            <a:pPr>
              <a:defRPr/>
            </a:pPr>
            <a:r>
              <a:rPr lang="en-GB">
                <a:solidFill>
                  <a:srgbClr val="82786F"/>
                </a:solidFill>
              </a:rPr>
              <a:t>Date</a:t>
            </a:r>
            <a:endParaRPr lang="en-GB" dirty="0">
              <a:solidFill>
                <a:srgbClr val="82786F"/>
              </a:solidFill>
            </a:endParaRPr>
          </a:p>
        </p:txBody>
      </p:sp>
      <p:sp>
        <p:nvSpPr>
          <p:cNvPr id="13" name="Slide Number Placeholder 23"/>
          <p:cNvSpPr>
            <a:spLocks noGrp="1" noChangeArrowheads="1"/>
          </p:cNvSpPr>
          <p:nvPr>
            <p:ph type="sldNum" sz="quarter" idx="4"/>
          </p:nvPr>
        </p:nvSpPr>
        <p:spPr bwMode="auto">
          <a:xfrm>
            <a:off x="8514823" y="105055"/>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1085"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
        <p:nvSpPr>
          <p:cNvPr id="9" name="Text Placeholder 2"/>
          <p:cNvSpPr>
            <a:spLocks noGrp="1"/>
          </p:cNvSpPr>
          <p:nvPr>
            <p:ph type="body" sz="quarter" idx="11"/>
          </p:nvPr>
        </p:nvSpPr>
        <p:spPr>
          <a:xfrm>
            <a:off x="316801" y="42793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21046190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502"/>
            <a:ext cx="5486400" cy="425450"/>
          </a:xfrm>
        </p:spPr>
        <p:txBody>
          <a:bodyPr anchor="b"/>
          <a:lstStyle>
            <a:lvl1pPr algn="l">
              <a:defRPr sz="2000" b="1"/>
            </a:lvl1pPr>
          </a:lstStyle>
          <a:p>
            <a:r>
              <a:rPr lang="en-US"/>
              <a:t>Click to edit Master title style</a:t>
            </a:r>
            <a:endParaRPr lang="cs-CZ"/>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a:p>
        </p:txBody>
      </p:sp>
      <p:sp>
        <p:nvSpPr>
          <p:cNvPr id="4" name="Text Placeholder 3"/>
          <p:cNvSpPr>
            <a:spLocks noGrp="1"/>
          </p:cNvSpPr>
          <p:nvPr>
            <p:ph type="body" sz="half" idx="2"/>
          </p:nvPr>
        </p:nvSpPr>
        <p:spPr>
          <a:xfrm>
            <a:off x="1792288" y="4025952"/>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5138564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cs-CZ"/>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14347019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7015" y="344501"/>
            <a:ext cx="1968500" cy="3938587"/>
          </a:xfrm>
        </p:spPr>
        <p:txBody>
          <a:bodyPr vert="eaVert"/>
          <a:lstStyle/>
          <a:p>
            <a:r>
              <a:rPr lang="en-US"/>
              <a:t>Click to edit Master title style</a:t>
            </a:r>
            <a:endParaRPr lang="cs-CZ"/>
          </a:p>
        </p:txBody>
      </p:sp>
      <p:sp>
        <p:nvSpPr>
          <p:cNvPr id="3" name="Vertical Text Placeholder 2"/>
          <p:cNvSpPr>
            <a:spLocks noGrp="1"/>
          </p:cNvSpPr>
          <p:nvPr>
            <p:ph type="body" orient="vert" idx="1"/>
          </p:nvPr>
        </p:nvSpPr>
        <p:spPr>
          <a:xfrm>
            <a:off x="669927" y="344501"/>
            <a:ext cx="5754688" cy="39385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29593698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77"/>
            <a:ext cx="3542400" cy="1531543"/>
          </a:xfrm>
        </p:spPr>
        <p:txBody>
          <a:bodyPr anchor="b"/>
          <a:lstStyle>
            <a:lvl1pPr algn="r">
              <a:lnSpc>
                <a:spcPct val="85000"/>
              </a:lnSpc>
              <a:defRPr sz="32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5283922" y="3025464"/>
            <a:ext cx="3543319" cy="684586"/>
          </a:xfrm>
          <a:extLst/>
        </p:spPr>
        <p:txBody>
          <a:bodyPr rIns="0"/>
          <a:lstStyle>
            <a:lvl1pPr marL="0" indent="0" algn="r">
              <a:buFontTx/>
              <a:buNone/>
              <a:defRPr sz="1400"/>
            </a:lvl1pPr>
          </a:lstStyle>
          <a:p>
            <a:pPr lvl="0"/>
            <a:r>
              <a:rPr lang="en-US" noProof="0" smtClean="0"/>
              <a:t>Click to edit Master subtitle style</a:t>
            </a:r>
            <a:endParaRPr lang="en-GB" noProof="0" dirty="0" smtClean="0"/>
          </a:p>
        </p:txBody>
      </p:sp>
      <p:sp>
        <p:nvSpPr>
          <p:cNvPr id="4" name="Rectangle 23"/>
          <p:cNvSpPr>
            <a:spLocks noGrp="1" noChangeArrowheads="1"/>
          </p:cNvSpPr>
          <p:nvPr>
            <p:ph type="sldNum" sz="quarter" idx="10"/>
          </p:nvPr>
        </p:nvSpPr>
        <p:spPr/>
        <p:txBody>
          <a:bodyPr/>
          <a:lstStyle>
            <a:lvl1pPr>
              <a:defRPr/>
            </a:lvl1pPr>
          </a:lstStyle>
          <a:p>
            <a:pPr>
              <a:defRPr/>
            </a:pPr>
            <a:fld id="{526361E1-FBDA-448E-A3C9-CA62A00AC35D}" type="slidenum">
              <a:rPr lang="en-GB"/>
              <a:pPr>
                <a:defRPr/>
              </a:pPr>
              <a:t>‹#›</a:t>
            </a:fld>
            <a:endParaRPr lang="en-GB"/>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6"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084295974"/>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0"/>
          </p:nvPr>
        </p:nvSpPr>
        <p:spPr/>
        <p:txBody>
          <a:bodyPr/>
          <a:lstStyle>
            <a:lvl1pPr>
              <a:defRPr/>
            </a:lvl1pPr>
          </a:lstStyle>
          <a:p>
            <a:pPr>
              <a:defRPr/>
            </a:pPr>
            <a:fld id="{82775C9F-5975-424C-8FBD-DAE04EDFABC7}" type="slidenum">
              <a:rPr lang="en-GB"/>
              <a:pPr>
                <a:defRPr/>
              </a:pPr>
              <a:t>‹#›</a:t>
            </a:fld>
            <a:endParaRPr lang="en-GB"/>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086240656"/>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316800" y="385925"/>
            <a:ext cx="8510400" cy="128640"/>
          </a:xfrm>
          <a:extLst/>
        </p:spPr>
        <p:txBody>
          <a:bodyPr wrap="none" lIns="18000" anchor="ctr">
            <a:noAutofit/>
          </a:bodyPr>
          <a:lstStyle>
            <a:lvl1pPr marL="0" indent="0" algn="l">
              <a:buFontTx/>
              <a:buNone/>
              <a:defRPr sz="1100" baseline="0"/>
            </a:lvl1pPr>
          </a:lstStyle>
          <a:p>
            <a:pPr lvl="0"/>
            <a:r>
              <a:rPr lang="en-US" noProof="0" smtClean="0"/>
              <a:t>Click to edit Master subtitle style</a:t>
            </a:r>
            <a:endParaRPr lang="en-GB" noProof="0" dirty="0" smtClean="0"/>
          </a:p>
        </p:txBody>
      </p:sp>
      <p:sp>
        <p:nvSpPr>
          <p:cNvPr id="10"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5"/>
          </p:nvPr>
        </p:nvSpPr>
        <p:spPr/>
        <p:txBody>
          <a:bodyPr/>
          <a:lstStyle>
            <a:lvl1pPr>
              <a:defRPr/>
            </a:lvl1pPr>
          </a:lstStyle>
          <a:p>
            <a:pPr>
              <a:defRPr/>
            </a:pPr>
            <a:fld id="{7BC06884-5B60-454B-AF36-010CFC2335FD}" type="slidenum">
              <a:rPr lang="en-GB"/>
              <a:pPr>
                <a:defRPr/>
              </a:pPr>
              <a:t>‹#›</a:t>
            </a:fld>
            <a:endParaRPr lang="en-GB"/>
          </a:p>
        </p:txBody>
      </p:sp>
      <p:sp>
        <p:nvSpPr>
          <p:cNvPr id="6" name="Rectangle 7"/>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991903463"/>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316800" y="906885"/>
            <a:ext cx="8510400" cy="199726"/>
          </a:xfrm>
          <a:extLst/>
        </p:spPr>
        <p:txBody>
          <a:bodyPr wrap="none" lIns="18000" anchor="ctr"/>
          <a:lstStyle>
            <a:lvl1pPr marL="0" indent="0" algn="l">
              <a:buFontTx/>
              <a:buNone/>
              <a:defRPr sz="1100" baseline="0"/>
            </a:lvl1pPr>
          </a:lstStyle>
          <a:p>
            <a:pPr lvl="0"/>
            <a:r>
              <a:rPr lang="en-US" noProof="0" smtClean="0"/>
              <a:t>Click to edit Master subtitle style</a:t>
            </a:r>
            <a:endParaRPr lang="en-GB" noProof="0" dirty="0" smtClean="0"/>
          </a:p>
        </p:txBody>
      </p:sp>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5"/>
          </p:nvPr>
        </p:nvSpPr>
        <p:spPr/>
        <p:txBody>
          <a:bodyPr/>
          <a:lstStyle>
            <a:lvl1pPr>
              <a:defRPr/>
            </a:lvl1pPr>
          </a:lstStyle>
          <a:p>
            <a:pPr>
              <a:defRPr/>
            </a:pPr>
            <a:fld id="{99789683-90AA-41B4-A37D-CE2B6E0A4EB5}" type="slidenum">
              <a:rPr lang="en-GB"/>
              <a:pPr>
                <a:defRPr/>
              </a:pPr>
              <a:t>‹#›</a:t>
            </a:fld>
            <a:endParaRPr lang="en-GB"/>
          </a:p>
        </p:txBody>
      </p:sp>
      <p:sp>
        <p:nvSpPr>
          <p:cNvPr id="6" name="Rectangle 7"/>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216370850"/>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33" y="515430"/>
            <a:ext cx="6692499" cy="3754955"/>
          </a:xfrm>
        </p:spPr>
        <p:txBody>
          <a:bodyPr tIns="57600" anchor="t"/>
          <a:lstStyle>
            <a:lvl1pPr>
              <a:lnSpc>
                <a:spcPct val="90000"/>
              </a:lnSpc>
              <a:defRPr sz="6000" spc="-150"/>
            </a:lvl1pPr>
          </a:lstStyle>
          <a:p>
            <a:r>
              <a:rPr lang="en-US" noProof="0" smtClean="0"/>
              <a:t>Click to edit Master title style</a:t>
            </a:r>
            <a:endParaRPr lang="en-GB" noProof="0" dirty="0"/>
          </a:p>
        </p:txBody>
      </p:sp>
      <p:sp>
        <p:nvSpPr>
          <p:cNvPr id="3" name="Rectangle 23"/>
          <p:cNvSpPr>
            <a:spLocks noGrp="1" noChangeArrowheads="1"/>
          </p:cNvSpPr>
          <p:nvPr>
            <p:ph type="sldNum" sz="quarter" idx="10"/>
          </p:nvPr>
        </p:nvSpPr>
        <p:spPr/>
        <p:txBody>
          <a:bodyPr/>
          <a:lstStyle>
            <a:lvl1pPr>
              <a:defRPr/>
            </a:lvl1pPr>
          </a:lstStyle>
          <a:p>
            <a:pPr>
              <a:defRPr/>
            </a:pPr>
            <a:fld id="{EFB316F9-C18D-4725-812B-6103E4F8E0E5}" type="slidenum">
              <a:rPr lang="en-GB"/>
              <a:pPr>
                <a:defRPr/>
              </a:pPr>
              <a:t>‹#›</a:t>
            </a:fld>
            <a:endParaRPr lang="en-GB"/>
          </a:p>
        </p:txBody>
      </p:sp>
      <p:sp>
        <p:nvSpPr>
          <p:cNvPr id="4"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5"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776720153"/>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3"/>
            <a:ext cx="8510400" cy="391412"/>
          </a:xfrm>
        </p:spPr>
        <p:txBody>
          <a:bodyPr/>
          <a:lstStyle>
            <a:lvl1pPr>
              <a:defRPr sz="2400"/>
            </a:lvl1pPr>
          </a:lstStyle>
          <a:p>
            <a:r>
              <a:rPr lang="en-US" noProof="0" dirty="0" smtClean="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1"/>
          </p:nvPr>
        </p:nvSpPr>
        <p:spPr/>
        <p:txBody>
          <a:bodyPr/>
          <a:lstStyle>
            <a:lvl1pPr>
              <a:defRPr/>
            </a:lvl1pPr>
          </a:lstStyle>
          <a:p>
            <a:pPr>
              <a:defRPr/>
            </a:pPr>
            <a:fld id="{CC8A4378-1874-428A-9E72-9255B158CB5E}" type="slidenum">
              <a:rPr lang="en-GB"/>
              <a:pPr>
                <a:defRPr/>
              </a:pPr>
              <a:t>‹#›</a:t>
            </a:fld>
            <a:endParaRPr lang="en-GB"/>
          </a:p>
        </p:txBody>
      </p:sp>
      <p:sp>
        <p:nvSpPr>
          <p:cNvPr id="6" name="Rectangle 7"/>
          <p:cNvSpPr>
            <a:spLocks noGrp="1" noChangeArrowheads="1"/>
          </p:cNvSpPr>
          <p:nvPr>
            <p:ph type="ftr" sz="quarter" idx="12"/>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3"/>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646625947"/>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4" name="Content Placeholder 2"/>
          <p:cNvSpPr>
            <a:spLocks noGrp="1"/>
          </p:cNvSpPr>
          <p:nvPr>
            <p:ph idx="1"/>
          </p:nvPr>
        </p:nvSpPr>
        <p:spPr>
          <a:xfrm>
            <a:off x="316800" y="1312266"/>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5" name="Content Placeholder 2"/>
          <p:cNvSpPr>
            <a:spLocks noGrp="1"/>
          </p:cNvSpPr>
          <p:nvPr>
            <p:ph idx="25"/>
          </p:nvPr>
        </p:nvSpPr>
        <p:spPr>
          <a:xfrm>
            <a:off x="316800" y="2873517"/>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26"/>
          </p:nvPr>
        </p:nvSpPr>
        <p:spPr/>
        <p:txBody>
          <a:bodyPr/>
          <a:lstStyle>
            <a:lvl1pPr>
              <a:defRPr/>
            </a:lvl1pPr>
          </a:lstStyle>
          <a:p>
            <a:pPr>
              <a:defRPr/>
            </a:pPr>
            <a:fld id="{63241552-FA46-4655-9DA3-6E4692519BE0}" type="slidenum">
              <a:rPr lang="en-GB"/>
              <a:pPr>
                <a:defRPr/>
              </a:pPr>
              <a:t>‹#›</a:t>
            </a:fld>
            <a:endParaRPr lang="en-GB"/>
          </a:p>
        </p:txBody>
      </p:sp>
      <p:sp>
        <p:nvSpPr>
          <p:cNvPr id="6" name="Rectangle 7"/>
          <p:cNvSpPr>
            <a:spLocks noGrp="1" noChangeArrowheads="1"/>
          </p:cNvSpPr>
          <p:nvPr>
            <p:ph type="ftr" sz="quarter" idx="27"/>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28"/>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243581403"/>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6"/>
            <a:ext cx="8510400" cy="391413"/>
          </a:xfrm>
        </p:spPr>
        <p:txBody>
          <a:bodyPr anchor="ctr" anchorCtr="0"/>
          <a:lstStyle>
            <a:lvl1pPr>
              <a:defRPr sz="20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6"/>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4172993" y="103912"/>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2111" eaLnBrk="1" hangingPunct="1">
              <a:spcBef>
                <a:spcPct val="0"/>
              </a:spcBef>
              <a:defRPr sz="600" b="0">
                <a:solidFill>
                  <a:schemeClr val="accent3"/>
                </a:solidFill>
              </a:defRPr>
            </a:lvl1pPr>
          </a:lstStyle>
          <a:p>
            <a:pPr fontAlgn="base">
              <a:spcAft>
                <a:spcPct val="0"/>
              </a:spcAft>
              <a:defRPr/>
            </a:pPr>
            <a:r>
              <a:rPr lang="en-GB" dirty="0">
                <a:solidFill>
                  <a:srgbClr val="82786F"/>
                </a:solidFill>
                <a:cs typeface="Arial" pitchFamily="34" charset="0"/>
              </a:rPr>
              <a:t>Presentation title</a:t>
            </a:r>
          </a:p>
        </p:txBody>
      </p:sp>
      <p:sp>
        <p:nvSpPr>
          <p:cNvPr id="11" name="Rectangle 81"/>
          <p:cNvSpPr>
            <a:spLocks noGrp="1" noChangeArrowheads="1"/>
          </p:cNvSpPr>
          <p:nvPr>
            <p:ph type="dt" sz="half" idx="2"/>
          </p:nvPr>
        </p:nvSpPr>
        <p:spPr bwMode="auto">
          <a:xfrm>
            <a:off x="7187154" y="103912"/>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2111" eaLnBrk="1" hangingPunct="1">
              <a:spcBef>
                <a:spcPct val="0"/>
              </a:spcBef>
              <a:defRPr sz="600" b="0">
                <a:solidFill>
                  <a:schemeClr val="accent3"/>
                </a:solidFill>
              </a:defRPr>
            </a:lvl1pPr>
          </a:lstStyle>
          <a:p>
            <a:pPr fontAlgn="base">
              <a:spcAft>
                <a:spcPct val="0"/>
              </a:spcAft>
              <a:defRPr/>
            </a:pPr>
            <a:r>
              <a:rPr lang="en-GB" dirty="0">
                <a:solidFill>
                  <a:srgbClr val="82786F"/>
                </a:solidFill>
                <a:cs typeface="Arial" pitchFamily="34" charset="0"/>
              </a:rPr>
              <a:t>Date</a:t>
            </a:r>
          </a:p>
        </p:txBody>
      </p:sp>
      <p:sp>
        <p:nvSpPr>
          <p:cNvPr id="13" name="Slide Number Placeholder 23"/>
          <p:cNvSpPr>
            <a:spLocks noGrp="1" noChangeArrowheads="1"/>
          </p:cNvSpPr>
          <p:nvPr>
            <p:ph type="sldNum" sz="quarter" idx="4"/>
          </p:nvPr>
        </p:nvSpPr>
        <p:spPr bwMode="auto">
          <a:xfrm>
            <a:off x="8514823" y="105055"/>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1085" eaLnBrk="1" hangingPunct="1">
              <a:defRPr sz="600" b="0" smtClean="0">
                <a:solidFill>
                  <a:schemeClr val="accent3"/>
                </a:solidFill>
              </a:defRPr>
            </a:lvl1pPr>
          </a:lstStyle>
          <a:p>
            <a:pPr fontAlgn="base">
              <a:spcBef>
                <a:spcPct val="0"/>
              </a:spcBef>
              <a:spcAft>
                <a:spcPct val="0"/>
              </a:spcAft>
              <a:defRPr/>
            </a:pPr>
            <a:fld id="{4B01E8EF-57E8-4F85-90EB-163CEE512F88}" type="slidenum">
              <a:rPr lang="en-GB">
                <a:solidFill>
                  <a:srgbClr val="82786F"/>
                </a:solidFill>
                <a:cs typeface="Arial" pitchFamily="34" charset="0"/>
              </a:rPr>
              <a:pPr fontAlgn="base">
                <a:spcBef>
                  <a:spcPct val="0"/>
                </a:spcBef>
                <a:spcAft>
                  <a:spcPct val="0"/>
                </a:spcAft>
                <a:defRPr/>
              </a:pPr>
              <a:t>‹#›</a:t>
            </a:fld>
            <a:endParaRPr lang="en-GB" dirty="0">
              <a:solidFill>
                <a:srgbClr val="82786F"/>
              </a:solidFill>
              <a:cs typeface="Arial" pitchFamily="34" charset="0"/>
            </a:endParaRPr>
          </a:p>
        </p:txBody>
      </p:sp>
      <p:sp>
        <p:nvSpPr>
          <p:cNvPr id="9" name="Text Placeholder 2"/>
          <p:cNvSpPr>
            <a:spLocks noGrp="1"/>
          </p:cNvSpPr>
          <p:nvPr>
            <p:ph type="body" sz="quarter" idx="11"/>
          </p:nvPr>
        </p:nvSpPr>
        <p:spPr>
          <a:xfrm>
            <a:off x="316801" y="42793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4191759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7" name="Content Placeholder 2"/>
          <p:cNvSpPr>
            <a:spLocks noGrp="1"/>
          </p:cNvSpPr>
          <p:nvPr>
            <p:ph idx="1"/>
          </p:nvPr>
        </p:nvSpPr>
        <p:spPr>
          <a:xfrm>
            <a:off x="31680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8" name="Content Placeholder 2"/>
          <p:cNvSpPr>
            <a:spLocks noGrp="1"/>
          </p:cNvSpPr>
          <p:nvPr>
            <p:ph idx="10"/>
          </p:nvPr>
        </p:nvSpPr>
        <p:spPr>
          <a:xfrm>
            <a:off x="3260377"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9" name="Content Placeholder 2"/>
          <p:cNvSpPr>
            <a:spLocks noGrp="1"/>
          </p:cNvSpPr>
          <p:nvPr>
            <p:ph idx="11"/>
          </p:nvPr>
        </p:nvSpPr>
        <p:spPr>
          <a:xfrm>
            <a:off x="620395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6" name="Rectangle 23"/>
          <p:cNvSpPr>
            <a:spLocks noGrp="1" noChangeArrowheads="1"/>
          </p:cNvSpPr>
          <p:nvPr>
            <p:ph type="sldNum" sz="quarter" idx="12"/>
          </p:nvPr>
        </p:nvSpPr>
        <p:spPr/>
        <p:txBody>
          <a:bodyPr/>
          <a:lstStyle>
            <a:lvl1pPr>
              <a:defRPr/>
            </a:lvl1pPr>
          </a:lstStyle>
          <a:p>
            <a:pPr>
              <a:defRPr/>
            </a:pPr>
            <a:fld id="{FC2E03BD-7867-40B5-876E-3F67F7AC2B71}" type="slidenum">
              <a:rPr lang="en-GB"/>
              <a:pPr>
                <a:defRPr/>
              </a:pPr>
              <a:t>‹#›</a:t>
            </a:fld>
            <a:endParaRPr lang="en-GB"/>
          </a:p>
        </p:txBody>
      </p:sp>
      <p:sp>
        <p:nvSpPr>
          <p:cNvPr id="7" name="Rectangle 5"/>
          <p:cNvSpPr>
            <a:spLocks noGrp="1" noChangeArrowheads="1"/>
          </p:cNvSpPr>
          <p:nvPr>
            <p:ph type="ftr" sz="quarter" idx="13"/>
          </p:nvPr>
        </p:nvSpPr>
        <p:spPr/>
        <p:txBody>
          <a:bodyPr/>
          <a:lstStyle>
            <a:lvl1pPr fontAlgn="auto">
              <a:spcBef>
                <a:spcPts val="0"/>
              </a:spcBef>
              <a:spcAft>
                <a:spcPts val="0"/>
              </a:spcAft>
              <a:defRPr>
                <a:ea typeface="+mn-ea"/>
              </a:defRPr>
            </a:lvl1pPr>
          </a:lstStyle>
          <a:p>
            <a:pPr>
              <a:defRPr/>
            </a:pPr>
            <a:r>
              <a:rPr lang="en-GB"/>
              <a:t>Presentation title</a:t>
            </a:r>
          </a:p>
        </p:txBody>
      </p:sp>
      <p:sp>
        <p:nvSpPr>
          <p:cNvPr id="8" name="Rectangle 81"/>
          <p:cNvSpPr>
            <a:spLocks noGrp="1" noChangeArrowheads="1"/>
          </p:cNvSpPr>
          <p:nvPr>
            <p:ph type="dt" sz="half" idx="14"/>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885185144"/>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37" name="Content Placeholder 2"/>
          <p:cNvSpPr>
            <a:spLocks noGrp="1"/>
          </p:cNvSpPr>
          <p:nvPr>
            <p:ph idx="1"/>
          </p:nvPr>
        </p:nvSpPr>
        <p:spPr>
          <a:xfrm>
            <a:off x="316811"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8" name="Content Placeholder 2"/>
          <p:cNvSpPr>
            <a:spLocks noGrp="1"/>
          </p:cNvSpPr>
          <p:nvPr>
            <p:ph idx="10"/>
          </p:nvPr>
        </p:nvSpPr>
        <p:spPr>
          <a:xfrm>
            <a:off x="2521841"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9" name="Content Placeholder 2"/>
          <p:cNvSpPr>
            <a:spLocks noGrp="1"/>
          </p:cNvSpPr>
          <p:nvPr>
            <p:ph idx="11"/>
          </p:nvPr>
        </p:nvSpPr>
        <p:spPr>
          <a:xfrm>
            <a:off x="4726892"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0" name="Content Placeholder 2"/>
          <p:cNvSpPr>
            <a:spLocks noGrp="1"/>
          </p:cNvSpPr>
          <p:nvPr>
            <p:ph idx="12"/>
          </p:nvPr>
        </p:nvSpPr>
        <p:spPr>
          <a:xfrm>
            <a:off x="6939011"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7" name="Rectangle 23"/>
          <p:cNvSpPr>
            <a:spLocks noGrp="1" noChangeArrowheads="1"/>
          </p:cNvSpPr>
          <p:nvPr>
            <p:ph type="sldNum" sz="quarter" idx="13"/>
          </p:nvPr>
        </p:nvSpPr>
        <p:spPr/>
        <p:txBody>
          <a:bodyPr/>
          <a:lstStyle>
            <a:lvl1pPr>
              <a:defRPr/>
            </a:lvl1pPr>
          </a:lstStyle>
          <a:p>
            <a:pPr>
              <a:defRPr/>
            </a:pPr>
            <a:fld id="{993FBCE7-1EE9-4354-BF64-C4633E474CE4}" type="slidenum">
              <a:rPr lang="en-GB"/>
              <a:pPr>
                <a:defRPr/>
              </a:pPr>
              <a:t>‹#›</a:t>
            </a:fld>
            <a:endParaRPr lang="en-GB"/>
          </a:p>
        </p:txBody>
      </p:sp>
      <p:sp>
        <p:nvSpPr>
          <p:cNvPr id="8" name="Rectangle 5"/>
          <p:cNvSpPr>
            <a:spLocks noGrp="1" noChangeArrowheads="1"/>
          </p:cNvSpPr>
          <p:nvPr>
            <p:ph type="ftr" sz="quarter" idx="14"/>
          </p:nvPr>
        </p:nvSpPr>
        <p:spPr/>
        <p:txBody>
          <a:bodyPr/>
          <a:lstStyle>
            <a:lvl1pPr fontAlgn="auto">
              <a:spcBef>
                <a:spcPts val="0"/>
              </a:spcBef>
              <a:spcAft>
                <a:spcPts val="0"/>
              </a:spcAft>
              <a:defRPr>
                <a:ea typeface="+mn-ea"/>
              </a:defRPr>
            </a:lvl1pPr>
          </a:lstStyle>
          <a:p>
            <a:pPr>
              <a:defRPr/>
            </a:pPr>
            <a:r>
              <a:rPr lang="en-GB"/>
              <a:t>Presentation title</a:t>
            </a:r>
          </a:p>
        </p:txBody>
      </p:sp>
      <p:sp>
        <p:nvSpPr>
          <p:cNvPr id="9" name="Rectangle 81"/>
          <p:cNvSpPr>
            <a:spLocks noGrp="1" noChangeArrowheads="1"/>
          </p:cNvSpPr>
          <p:nvPr>
            <p:ph type="dt" sz="half" idx="15"/>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736428631"/>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10" name="Content Placeholder 2"/>
          <p:cNvSpPr>
            <a:spLocks noGrp="1"/>
          </p:cNvSpPr>
          <p:nvPr>
            <p:ph idx="10"/>
          </p:nvPr>
        </p:nvSpPr>
        <p:spPr>
          <a:xfrm>
            <a:off x="4730400" y="1312266"/>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Content Placeholder 2"/>
          <p:cNvSpPr>
            <a:spLocks noGrp="1"/>
          </p:cNvSpPr>
          <p:nvPr>
            <p:ph idx="26"/>
          </p:nvPr>
        </p:nvSpPr>
        <p:spPr>
          <a:xfrm>
            <a:off x="316801" y="1312266"/>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2" name="Content Placeholder 2"/>
          <p:cNvSpPr>
            <a:spLocks noGrp="1"/>
          </p:cNvSpPr>
          <p:nvPr>
            <p:ph idx="27"/>
          </p:nvPr>
        </p:nvSpPr>
        <p:spPr>
          <a:xfrm>
            <a:off x="4729512" y="2873517"/>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5" name="Content Placeholder 2"/>
          <p:cNvSpPr>
            <a:spLocks noGrp="1"/>
          </p:cNvSpPr>
          <p:nvPr>
            <p:ph idx="28"/>
          </p:nvPr>
        </p:nvSpPr>
        <p:spPr>
          <a:xfrm>
            <a:off x="315913" y="2873517"/>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7" name="Rectangle 23"/>
          <p:cNvSpPr>
            <a:spLocks noGrp="1" noChangeArrowheads="1"/>
          </p:cNvSpPr>
          <p:nvPr>
            <p:ph type="sldNum" sz="quarter" idx="29"/>
          </p:nvPr>
        </p:nvSpPr>
        <p:spPr/>
        <p:txBody>
          <a:bodyPr/>
          <a:lstStyle>
            <a:lvl1pPr>
              <a:defRPr/>
            </a:lvl1pPr>
          </a:lstStyle>
          <a:p>
            <a:pPr>
              <a:defRPr/>
            </a:pPr>
            <a:fld id="{D6BDD731-AB68-49E3-AF79-74330FD6048E}" type="slidenum">
              <a:rPr lang="en-GB"/>
              <a:pPr>
                <a:defRPr/>
              </a:pPr>
              <a:t>‹#›</a:t>
            </a:fld>
            <a:endParaRPr lang="en-GB"/>
          </a:p>
        </p:txBody>
      </p:sp>
      <p:sp>
        <p:nvSpPr>
          <p:cNvPr id="8" name="Rectangle 5"/>
          <p:cNvSpPr>
            <a:spLocks noGrp="1" noChangeArrowheads="1"/>
          </p:cNvSpPr>
          <p:nvPr>
            <p:ph type="ftr" sz="quarter" idx="30"/>
          </p:nvPr>
        </p:nvSpPr>
        <p:spPr/>
        <p:txBody>
          <a:bodyPr/>
          <a:lstStyle>
            <a:lvl1pPr fontAlgn="auto">
              <a:spcBef>
                <a:spcPts val="0"/>
              </a:spcBef>
              <a:spcAft>
                <a:spcPts val="0"/>
              </a:spcAft>
              <a:defRPr>
                <a:ea typeface="+mn-ea"/>
              </a:defRPr>
            </a:lvl1pPr>
          </a:lstStyle>
          <a:p>
            <a:pPr>
              <a:defRPr/>
            </a:pPr>
            <a:r>
              <a:rPr lang="en-GB"/>
              <a:t>Presentation title</a:t>
            </a:r>
          </a:p>
        </p:txBody>
      </p:sp>
      <p:sp>
        <p:nvSpPr>
          <p:cNvPr id="9" name="Rectangle 81"/>
          <p:cNvSpPr>
            <a:spLocks noGrp="1" noChangeArrowheads="1"/>
          </p:cNvSpPr>
          <p:nvPr>
            <p:ph type="dt" sz="half" idx="31"/>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781433646"/>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2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33" name="Content Placeholder 2"/>
          <p:cNvSpPr>
            <a:spLocks noGrp="1"/>
          </p:cNvSpPr>
          <p:nvPr>
            <p:ph idx="1"/>
          </p:nvPr>
        </p:nvSpPr>
        <p:spPr>
          <a:xfrm>
            <a:off x="316800" y="1312266"/>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4" name="Content Placeholder 2"/>
          <p:cNvSpPr>
            <a:spLocks noGrp="1"/>
          </p:cNvSpPr>
          <p:nvPr>
            <p:ph idx="10"/>
          </p:nvPr>
        </p:nvSpPr>
        <p:spPr>
          <a:xfrm>
            <a:off x="3260377" y="1312266"/>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5" name="Content Placeholder 2"/>
          <p:cNvSpPr>
            <a:spLocks noGrp="1"/>
          </p:cNvSpPr>
          <p:nvPr>
            <p:ph idx="11"/>
          </p:nvPr>
        </p:nvSpPr>
        <p:spPr>
          <a:xfrm>
            <a:off x="6203950" y="1312266"/>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7" name="Content Placeholder 2"/>
          <p:cNvSpPr>
            <a:spLocks noGrp="1"/>
          </p:cNvSpPr>
          <p:nvPr>
            <p:ph idx="12"/>
          </p:nvPr>
        </p:nvSpPr>
        <p:spPr>
          <a:xfrm>
            <a:off x="316800" y="2873517"/>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8" name="Content Placeholder 2"/>
          <p:cNvSpPr>
            <a:spLocks noGrp="1"/>
          </p:cNvSpPr>
          <p:nvPr>
            <p:ph idx="13"/>
          </p:nvPr>
        </p:nvSpPr>
        <p:spPr>
          <a:xfrm>
            <a:off x="3260377" y="2873517"/>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9" name="Content Placeholder 2"/>
          <p:cNvSpPr>
            <a:spLocks noGrp="1"/>
          </p:cNvSpPr>
          <p:nvPr>
            <p:ph idx="14"/>
          </p:nvPr>
        </p:nvSpPr>
        <p:spPr>
          <a:xfrm>
            <a:off x="6203950" y="2873517"/>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9" name="Rectangle 23"/>
          <p:cNvSpPr>
            <a:spLocks noGrp="1" noChangeArrowheads="1"/>
          </p:cNvSpPr>
          <p:nvPr>
            <p:ph type="sldNum" sz="quarter" idx="15"/>
          </p:nvPr>
        </p:nvSpPr>
        <p:spPr/>
        <p:txBody>
          <a:bodyPr/>
          <a:lstStyle>
            <a:lvl1pPr>
              <a:defRPr/>
            </a:lvl1pPr>
          </a:lstStyle>
          <a:p>
            <a:pPr>
              <a:defRPr/>
            </a:pPr>
            <a:fld id="{91B1DE37-7040-4087-BBDD-CF5C0FE76811}" type="slidenum">
              <a:rPr lang="en-GB"/>
              <a:pPr>
                <a:defRPr/>
              </a:pPr>
              <a:t>‹#›</a:t>
            </a:fld>
            <a:endParaRPr lang="en-GB"/>
          </a:p>
        </p:txBody>
      </p:sp>
      <p:sp>
        <p:nvSpPr>
          <p:cNvPr id="10" name="Rectangle 5"/>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11"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79308537"/>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3" name="Rectangle 5"/>
          <p:cNvSpPr>
            <a:spLocks noGrp="1" noChangeArrowheads="1"/>
          </p:cNvSpPr>
          <p:nvPr>
            <p:ph type="ftr" sz="quarter" idx="15"/>
          </p:nvPr>
        </p:nvSpPr>
        <p:spPr/>
        <p:txBody>
          <a:bodyPr/>
          <a:lstStyle>
            <a:lvl1pPr fontAlgn="auto">
              <a:spcBef>
                <a:spcPts val="0"/>
              </a:spcBef>
              <a:spcAft>
                <a:spcPts val="0"/>
              </a:spcAft>
              <a:defRPr>
                <a:solidFill>
                  <a:srgbClr val="FFFFFF"/>
                </a:solidFill>
                <a:ea typeface="+mn-ea"/>
              </a:defRPr>
            </a:lvl1pPr>
          </a:lstStyle>
          <a:p>
            <a:pPr>
              <a:defRPr/>
            </a:pPr>
            <a:r>
              <a:rPr lang="en-GB"/>
              <a:t>Presentation title</a:t>
            </a:r>
          </a:p>
        </p:txBody>
      </p:sp>
      <p:sp>
        <p:nvSpPr>
          <p:cNvPr id="4" name="Rectangle 81"/>
          <p:cNvSpPr>
            <a:spLocks noGrp="1" noChangeArrowheads="1"/>
          </p:cNvSpPr>
          <p:nvPr>
            <p:ph type="dt" sz="half" idx="16"/>
          </p:nvPr>
        </p:nvSpPr>
        <p:spPr/>
        <p:txBody>
          <a:bodyPr/>
          <a:lstStyle>
            <a:lvl1pPr fontAlgn="auto">
              <a:spcBef>
                <a:spcPts val="0"/>
              </a:spcBef>
              <a:spcAft>
                <a:spcPts val="0"/>
              </a:spcAft>
              <a:defRPr>
                <a:solidFill>
                  <a:srgbClr val="FFFFFF"/>
                </a:solidFill>
                <a:ea typeface="+mn-ea"/>
              </a:defRPr>
            </a:lvl1pPr>
          </a:lstStyle>
          <a:p>
            <a:pPr>
              <a:defRPr/>
            </a:pPr>
            <a:r>
              <a:rPr lang="en-GB"/>
              <a:t>Date</a:t>
            </a:r>
          </a:p>
        </p:txBody>
      </p:sp>
      <p:sp>
        <p:nvSpPr>
          <p:cNvPr id="5" name="Slide Number Placeholder 23"/>
          <p:cNvSpPr>
            <a:spLocks noGrp="1" noChangeArrowheads="1"/>
          </p:cNvSpPr>
          <p:nvPr>
            <p:ph type="sldNum" sz="quarter" idx="17"/>
          </p:nvPr>
        </p:nvSpPr>
        <p:spPr/>
        <p:txBody>
          <a:bodyPr/>
          <a:lstStyle>
            <a:lvl1pPr>
              <a:defRPr>
                <a:solidFill>
                  <a:srgbClr val="FFFFFF"/>
                </a:solidFill>
              </a:defRPr>
            </a:lvl1pPr>
          </a:lstStyle>
          <a:p>
            <a:pPr>
              <a:defRPr/>
            </a:pPr>
            <a:fld id="{BC56B6F4-0BD6-4221-953E-B1495DADF21D}" type="slidenum">
              <a:rPr lang="en-GB"/>
              <a:pPr>
                <a:defRPr/>
              </a:pPr>
              <a:t>‹#›</a:t>
            </a:fld>
            <a:endParaRPr lang="en-GB"/>
          </a:p>
        </p:txBody>
      </p:sp>
    </p:spTree>
    <p:extLst>
      <p:ext uri="{BB962C8B-B14F-4D97-AF65-F5344CB8AC3E}">
        <p14:creationId xmlns:p14="http://schemas.microsoft.com/office/powerpoint/2010/main" val="2775307297"/>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
            <a:ext cx="9144000" cy="2648932"/>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18" name="Content Placeholder 2"/>
          <p:cNvSpPr>
            <a:spLocks noGrp="1"/>
          </p:cNvSpPr>
          <p:nvPr>
            <p:ph idx="25"/>
          </p:nvPr>
        </p:nvSpPr>
        <p:spPr>
          <a:xfrm>
            <a:off x="316800" y="2873517"/>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Rectangle 5"/>
          <p:cNvSpPr>
            <a:spLocks noGrp="1" noChangeArrowheads="1"/>
          </p:cNvSpPr>
          <p:nvPr>
            <p:ph type="ftr" sz="quarter" idx="26"/>
          </p:nvPr>
        </p:nvSpPr>
        <p:spPr/>
        <p:txBody>
          <a:bodyPr/>
          <a:lstStyle>
            <a:lvl1pPr fontAlgn="auto">
              <a:spcBef>
                <a:spcPts val="0"/>
              </a:spcBef>
              <a:spcAft>
                <a:spcPts val="0"/>
              </a:spcAft>
              <a:defRPr>
                <a:solidFill>
                  <a:srgbClr val="FFFFFF"/>
                </a:solidFill>
                <a:ea typeface="+mn-ea"/>
              </a:defRPr>
            </a:lvl1pPr>
          </a:lstStyle>
          <a:p>
            <a:pPr>
              <a:defRPr/>
            </a:pPr>
            <a:r>
              <a:rPr lang="en-GB"/>
              <a:t>Presentation title</a:t>
            </a:r>
          </a:p>
        </p:txBody>
      </p:sp>
      <p:sp>
        <p:nvSpPr>
          <p:cNvPr id="5" name="Rectangle 81"/>
          <p:cNvSpPr>
            <a:spLocks noGrp="1" noChangeArrowheads="1"/>
          </p:cNvSpPr>
          <p:nvPr>
            <p:ph type="dt" sz="half" idx="27"/>
          </p:nvPr>
        </p:nvSpPr>
        <p:spPr/>
        <p:txBody>
          <a:bodyPr/>
          <a:lstStyle>
            <a:lvl1pPr fontAlgn="auto">
              <a:spcBef>
                <a:spcPts val="0"/>
              </a:spcBef>
              <a:spcAft>
                <a:spcPts val="0"/>
              </a:spcAft>
              <a:defRPr>
                <a:solidFill>
                  <a:srgbClr val="FFFFFF"/>
                </a:solidFill>
                <a:ea typeface="+mn-ea"/>
              </a:defRPr>
            </a:lvl1pPr>
          </a:lstStyle>
          <a:p>
            <a:pPr>
              <a:defRPr/>
            </a:pPr>
            <a:r>
              <a:rPr lang="en-GB"/>
              <a:t>Date</a:t>
            </a:r>
          </a:p>
        </p:txBody>
      </p:sp>
      <p:sp>
        <p:nvSpPr>
          <p:cNvPr id="6" name="Slide Number Placeholder 23"/>
          <p:cNvSpPr>
            <a:spLocks noGrp="1" noChangeArrowheads="1"/>
          </p:cNvSpPr>
          <p:nvPr>
            <p:ph type="sldNum" sz="quarter" idx="28"/>
          </p:nvPr>
        </p:nvSpPr>
        <p:spPr/>
        <p:txBody>
          <a:bodyPr/>
          <a:lstStyle>
            <a:lvl1pPr>
              <a:defRPr>
                <a:solidFill>
                  <a:srgbClr val="FFFFFF"/>
                </a:solidFill>
              </a:defRPr>
            </a:lvl1pPr>
          </a:lstStyle>
          <a:p>
            <a:pPr>
              <a:defRPr/>
            </a:pPr>
            <a:fld id="{510114B4-A067-4FFE-9F0A-E70E8014796B}" type="slidenum">
              <a:rPr lang="en-GB"/>
              <a:pPr>
                <a:defRPr/>
              </a:pPr>
              <a:t>‹#›</a:t>
            </a:fld>
            <a:endParaRPr lang="en-GB"/>
          </a:p>
        </p:txBody>
      </p:sp>
    </p:spTree>
    <p:extLst>
      <p:ext uri="{BB962C8B-B14F-4D97-AF65-F5344CB8AC3E}">
        <p14:creationId xmlns:p14="http://schemas.microsoft.com/office/powerpoint/2010/main" val="3128287858"/>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312226"/>
            <a:ext cx="9144000" cy="2955788"/>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5"/>
          </p:nvPr>
        </p:nvSpPr>
        <p:spPr/>
        <p:txBody>
          <a:bodyPr/>
          <a:lstStyle>
            <a:lvl1pPr>
              <a:defRPr/>
            </a:lvl1pPr>
          </a:lstStyle>
          <a:p>
            <a:pPr>
              <a:defRPr/>
            </a:pPr>
            <a:fld id="{60A5E96A-8224-4B8A-96F3-0C24AB201396}" type="slidenum">
              <a:rPr lang="en-GB"/>
              <a:pPr>
                <a:defRPr/>
              </a:pPr>
              <a:t>‹#›</a:t>
            </a:fld>
            <a:endParaRPr lang="en-GB"/>
          </a:p>
        </p:txBody>
      </p:sp>
      <p:sp>
        <p:nvSpPr>
          <p:cNvPr id="5" name="Rectangle 5"/>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6"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418520618"/>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4566390" cy="5143500"/>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15" name="Title 1"/>
          <p:cNvSpPr>
            <a:spLocks noGrp="1"/>
          </p:cNvSpPr>
          <p:nvPr>
            <p:ph type="title"/>
          </p:nvPr>
        </p:nvSpPr>
        <p:spPr>
          <a:xfrm>
            <a:off x="4873480" y="515423"/>
            <a:ext cx="3953755" cy="391412"/>
          </a:xfrm>
        </p:spPr>
        <p:txBody>
          <a:bodyPr/>
          <a:lstStyle>
            <a:lvl1pPr>
              <a:defRPr sz="2400"/>
            </a:lvl1pPr>
          </a:lstStyle>
          <a:p>
            <a:r>
              <a:rPr lang="en-US" noProof="0" smtClean="0"/>
              <a:t>Click to edit Master title style</a:t>
            </a:r>
            <a:endParaRPr lang="en-GB" noProof="0" dirty="0"/>
          </a:p>
        </p:txBody>
      </p:sp>
      <p:sp>
        <p:nvSpPr>
          <p:cNvPr id="14" name="Content Placeholder 2"/>
          <p:cNvSpPr>
            <a:spLocks noGrp="1"/>
          </p:cNvSpPr>
          <p:nvPr>
            <p:ph idx="11"/>
          </p:nvPr>
        </p:nvSpPr>
        <p:spPr>
          <a:xfrm>
            <a:off x="4873480" y="1312223"/>
            <a:ext cx="3953755"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5"/>
          <p:cNvSpPr>
            <a:spLocks noGrp="1" noChangeArrowheads="1"/>
          </p:cNvSpPr>
          <p:nvPr>
            <p:ph type="ftr" sz="quarter" idx="15"/>
          </p:nvPr>
        </p:nvSpPr>
        <p:spPr>
          <a:xfrm>
            <a:off x="4873658" y="103670"/>
            <a:ext cx="2200275" cy="101203"/>
          </a:xfrm>
        </p:spPr>
        <p:txBody>
          <a:bodyPr/>
          <a:lstStyle>
            <a:lvl1pPr fontAlgn="auto">
              <a:spcBef>
                <a:spcPts val="0"/>
              </a:spcBef>
              <a:spcAft>
                <a:spcPts val="0"/>
              </a:spcAft>
              <a:defRPr>
                <a:ea typeface="+mn-ea"/>
              </a:defRPr>
            </a:lvl1pPr>
          </a:lstStyle>
          <a:p>
            <a:pPr>
              <a:defRPr/>
            </a:pPr>
            <a:r>
              <a:rPr lang="en-GB"/>
              <a:t>Presentation title</a:t>
            </a:r>
          </a:p>
        </p:txBody>
      </p:sp>
      <p:sp>
        <p:nvSpPr>
          <p:cNvPr id="6" name="Rectangle 81"/>
          <p:cNvSpPr>
            <a:spLocks noGrp="1" noChangeArrowheads="1"/>
          </p:cNvSpPr>
          <p:nvPr>
            <p:ph type="dt" sz="half" idx="16"/>
          </p:nvPr>
        </p:nvSpPr>
        <p:spPr/>
        <p:txBody>
          <a:bodyPr/>
          <a:lstStyle>
            <a:lvl1pPr fontAlgn="auto">
              <a:spcBef>
                <a:spcPts val="0"/>
              </a:spcBef>
              <a:spcAft>
                <a:spcPts val="0"/>
              </a:spcAft>
              <a:defRPr>
                <a:ea typeface="+mn-ea"/>
              </a:defRPr>
            </a:lvl1pPr>
          </a:lstStyle>
          <a:p>
            <a:pPr>
              <a:defRPr/>
            </a:pPr>
            <a:r>
              <a:rPr lang="en-GB"/>
              <a:t>Date</a:t>
            </a:r>
          </a:p>
        </p:txBody>
      </p:sp>
      <p:sp>
        <p:nvSpPr>
          <p:cNvPr id="7" name="Slide Number Placeholder 23"/>
          <p:cNvSpPr>
            <a:spLocks noGrp="1" noChangeArrowheads="1"/>
          </p:cNvSpPr>
          <p:nvPr>
            <p:ph type="sldNum" sz="quarter" idx="17"/>
          </p:nvPr>
        </p:nvSpPr>
        <p:spPr/>
        <p:txBody>
          <a:bodyPr/>
          <a:lstStyle>
            <a:lvl1pPr>
              <a:defRPr/>
            </a:lvl1pPr>
          </a:lstStyle>
          <a:p>
            <a:pPr>
              <a:defRPr/>
            </a:pPr>
            <a:fld id="{35E48A08-0F0F-46B0-AF40-BC23964B8996}" type="slidenum">
              <a:rPr lang="en-GB"/>
              <a:pPr>
                <a:defRPr/>
              </a:pPr>
              <a:t>‹#›</a:t>
            </a:fld>
            <a:endParaRPr lang="en-GB"/>
          </a:p>
        </p:txBody>
      </p:sp>
    </p:spTree>
    <p:extLst>
      <p:ext uri="{BB962C8B-B14F-4D97-AF65-F5344CB8AC3E}">
        <p14:creationId xmlns:p14="http://schemas.microsoft.com/office/powerpoint/2010/main" val="234548802"/>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316800" y="1312226"/>
            <a:ext cx="8510400" cy="2955788"/>
          </a:xfrm>
          <a:prstGeom prst="roundRect">
            <a:avLst>
              <a:gd name="adj" fmla="val 4683"/>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5"/>
          </p:nvPr>
        </p:nvSpPr>
        <p:spPr/>
        <p:txBody>
          <a:bodyPr/>
          <a:lstStyle>
            <a:lvl1pPr>
              <a:defRPr/>
            </a:lvl1pPr>
          </a:lstStyle>
          <a:p>
            <a:pPr>
              <a:defRPr/>
            </a:pPr>
            <a:fld id="{27EDE8CA-E9D1-48B6-B1DD-8B046011E564}" type="slidenum">
              <a:rPr lang="en-GB"/>
              <a:pPr>
                <a:defRPr/>
              </a:pPr>
              <a:t>‹#›</a:t>
            </a:fld>
            <a:endParaRPr lang="en-GB"/>
          </a:p>
        </p:txBody>
      </p:sp>
      <p:sp>
        <p:nvSpPr>
          <p:cNvPr id="5" name="Rectangle 5"/>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6"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914900035"/>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4731411" y="1312226"/>
            <a:ext cx="4093768" cy="2955788"/>
          </a:xfrm>
          <a:prstGeom prst="roundRect">
            <a:avLst>
              <a:gd name="adj" fmla="val 3924"/>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5"/>
          </p:nvPr>
        </p:nvSpPr>
        <p:spPr/>
        <p:txBody>
          <a:bodyPr/>
          <a:lstStyle>
            <a:lvl1pPr>
              <a:defRPr/>
            </a:lvl1pPr>
          </a:lstStyle>
          <a:p>
            <a:pPr>
              <a:defRPr/>
            </a:pPr>
            <a:fld id="{DD134346-D77C-4CD0-8820-393586FF622D}" type="slidenum">
              <a:rPr lang="en-GB"/>
              <a:pPr>
                <a:defRPr/>
              </a:pPr>
              <a:t>‹#›</a:t>
            </a:fld>
            <a:endParaRPr lang="en-GB"/>
          </a:p>
        </p:txBody>
      </p:sp>
      <p:sp>
        <p:nvSpPr>
          <p:cNvPr id="6" name="Rectangle 7"/>
          <p:cNvSpPr>
            <a:spLocks noGrp="1" noChangeArrowheads="1"/>
          </p:cNvSpPr>
          <p:nvPr>
            <p:ph type="ftr" sz="quarter" idx="1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53321540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6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6"/>
            <a:ext cx="8510400" cy="391413"/>
          </a:xfrm>
        </p:spPr>
        <p:txBody>
          <a:bodyPr anchor="ctr" anchorCtr="0"/>
          <a:lstStyle>
            <a:lvl1pPr>
              <a:defRPr sz="20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6"/>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4172993" y="103912"/>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2111" eaLnBrk="1" hangingPunct="1">
              <a:spcBef>
                <a:spcPct val="0"/>
              </a:spcBef>
              <a:defRPr sz="600" b="0">
                <a:solidFill>
                  <a:schemeClr val="accent3"/>
                </a:solidFill>
              </a:defRPr>
            </a:lvl1pPr>
          </a:lstStyle>
          <a:p>
            <a:pPr fontAlgn="base">
              <a:spcAft>
                <a:spcPct val="0"/>
              </a:spcAft>
              <a:defRPr/>
            </a:pPr>
            <a:r>
              <a:rPr lang="en-GB" dirty="0">
                <a:solidFill>
                  <a:srgbClr val="82786F"/>
                </a:solidFill>
                <a:cs typeface="Arial" pitchFamily="34" charset="0"/>
              </a:rPr>
              <a:t>Presentation title</a:t>
            </a:r>
          </a:p>
        </p:txBody>
      </p:sp>
      <p:sp>
        <p:nvSpPr>
          <p:cNvPr id="11" name="Rectangle 81"/>
          <p:cNvSpPr>
            <a:spLocks noGrp="1" noChangeArrowheads="1"/>
          </p:cNvSpPr>
          <p:nvPr>
            <p:ph type="dt" sz="half" idx="2"/>
          </p:nvPr>
        </p:nvSpPr>
        <p:spPr bwMode="auto">
          <a:xfrm>
            <a:off x="7187154" y="103912"/>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2111" eaLnBrk="1" hangingPunct="1">
              <a:spcBef>
                <a:spcPct val="0"/>
              </a:spcBef>
              <a:defRPr sz="600" b="0">
                <a:solidFill>
                  <a:schemeClr val="accent3"/>
                </a:solidFill>
              </a:defRPr>
            </a:lvl1pPr>
          </a:lstStyle>
          <a:p>
            <a:pPr fontAlgn="base">
              <a:spcAft>
                <a:spcPct val="0"/>
              </a:spcAft>
              <a:defRPr/>
            </a:pPr>
            <a:r>
              <a:rPr lang="en-GB" dirty="0">
                <a:solidFill>
                  <a:srgbClr val="82786F"/>
                </a:solidFill>
                <a:cs typeface="Arial" pitchFamily="34" charset="0"/>
              </a:rPr>
              <a:t>Date</a:t>
            </a:r>
          </a:p>
        </p:txBody>
      </p:sp>
      <p:sp>
        <p:nvSpPr>
          <p:cNvPr id="13" name="Slide Number Placeholder 23"/>
          <p:cNvSpPr>
            <a:spLocks noGrp="1" noChangeArrowheads="1"/>
          </p:cNvSpPr>
          <p:nvPr>
            <p:ph type="sldNum" sz="quarter" idx="4"/>
          </p:nvPr>
        </p:nvSpPr>
        <p:spPr bwMode="auto">
          <a:xfrm>
            <a:off x="8514823" y="105055"/>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1085" eaLnBrk="1" hangingPunct="1">
              <a:defRPr sz="600" b="0" smtClean="0">
                <a:solidFill>
                  <a:schemeClr val="accent3"/>
                </a:solidFill>
              </a:defRPr>
            </a:lvl1pPr>
          </a:lstStyle>
          <a:p>
            <a:pPr fontAlgn="base">
              <a:spcBef>
                <a:spcPct val="0"/>
              </a:spcBef>
              <a:spcAft>
                <a:spcPct val="0"/>
              </a:spcAft>
              <a:defRPr/>
            </a:pPr>
            <a:fld id="{4B01E8EF-57E8-4F85-90EB-163CEE512F88}" type="slidenum">
              <a:rPr lang="en-GB">
                <a:solidFill>
                  <a:srgbClr val="82786F"/>
                </a:solidFill>
                <a:cs typeface="Arial" pitchFamily="34" charset="0"/>
              </a:rPr>
              <a:pPr fontAlgn="base">
                <a:spcBef>
                  <a:spcPct val="0"/>
                </a:spcBef>
                <a:spcAft>
                  <a:spcPct val="0"/>
                </a:spcAft>
                <a:defRPr/>
              </a:pPr>
              <a:t>‹#›</a:t>
            </a:fld>
            <a:endParaRPr lang="en-GB" dirty="0">
              <a:solidFill>
                <a:srgbClr val="82786F"/>
              </a:solidFill>
              <a:cs typeface="Arial" pitchFamily="34" charset="0"/>
            </a:endParaRPr>
          </a:p>
        </p:txBody>
      </p:sp>
      <p:sp>
        <p:nvSpPr>
          <p:cNvPr id="9" name="Text Placeholder 2"/>
          <p:cNvSpPr>
            <a:spLocks noGrp="1"/>
          </p:cNvSpPr>
          <p:nvPr>
            <p:ph type="body" sz="quarter" idx="11"/>
          </p:nvPr>
        </p:nvSpPr>
        <p:spPr>
          <a:xfrm>
            <a:off x="316801" y="42793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4852783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sp>
        <p:nvSpPr>
          <p:cNvPr id="12" name="Content Placeholder 2"/>
          <p:cNvSpPr>
            <a:spLocks noGrp="1"/>
          </p:cNvSpPr>
          <p:nvPr>
            <p:ph idx="18"/>
          </p:nvPr>
        </p:nvSpPr>
        <p:spPr>
          <a:xfrm>
            <a:off x="318830" y="1312223"/>
            <a:ext cx="556463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Picture Placeholder 8"/>
          <p:cNvSpPr>
            <a:spLocks noGrp="1"/>
          </p:cNvSpPr>
          <p:nvPr>
            <p:ph type="pic" sz="quarter" idx="14"/>
          </p:nvPr>
        </p:nvSpPr>
        <p:spPr>
          <a:xfrm>
            <a:off x="6202278" y="1312226"/>
            <a:ext cx="2624927" cy="2955788"/>
          </a:xfrm>
          <a:prstGeom prst="roundRect">
            <a:avLst>
              <a:gd name="adj" fmla="val 4084"/>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5" name="Rectangle 23"/>
          <p:cNvSpPr>
            <a:spLocks noGrp="1" noChangeArrowheads="1"/>
          </p:cNvSpPr>
          <p:nvPr>
            <p:ph type="sldNum" sz="quarter" idx="19"/>
          </p:nvPr>
        </p:nvSpPr>
        <p:spPr/>
        <p:txBody>
          <a:bodyPr/>
          <a:lstStyle>
            <a:lvl1pPr>
              <a:defRPr/>
            </a:lvl1pPr>
          </a:lstStyle>
          <a:p>
            <a:pPr>
              <a:defRPr/>
            </a:pPr>
            <a:fld id="{E3605471-7F96-4B29-8B3F-4B88843F25B3}" type="slidenum">
              <a:rPr lang="en-GB"/>
              <a:pPr>
                <a:defRPr/>
              </a:pPr>
              <a:t>‹#›</a:t>
            </a:fld>
            <a:endParaRPr lang="en-GB"/>
          </a:p>
        </p:txBody>
      </p:sp>
      <p:sp>
        <p:nvSpPr>
          <p:cNvPr id="7" name="Rectangle 5"/>
          <p:cNvSpPr>
            <a:spLocks noGrp="1" noChangeArrowheads="1"/>
          </p:cNvSpPr>
          <p:nvPr>
            <p:ph type="ftr" sz="quarter" idx="20"/>
          </p:nvPr>
        </p:nvSpPr>
        <p:spPr/>
        <p:txBody>
          <a:bodyPr/>
          <a:lstStyle>
            <a:lvl1pPr fontAlgn="auto">
              <a:spcBef>
                <a:spcPts val="0"/>
              </a:spcBef>
              <a:spcAft>
                <a:spcPts val="0"/>
              </a:spcAft>
              <a:defRPr>
                <a:ea typeface="+mn-ea"/>
              </a:defRPr>
            </a:lvl1pPr>
          </a:lstStyle>
          <a:p>
            <a:pPr>
              <a:defRPr/>
            </a:pPr>
            <a:r>
              <a:rPr lang="en-GB"/>
              <a:t>Presentation title</a:t>
            </a:r>
          </a:p>
        </p:txBody>
      </p:sp>
      <p:sp>
        <p:nvSpPr>
          <p:cNvPr id="8" name="Rectangle 81"/>
          <p:cNvSpPr>
            <a:spLocks noGrp="1" noChangeArrowheads="1"/>
          </p:cNvSpPr>
          <p:nvPr>
            <p:ph type="dt" sz="half" idx="21"/>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4025603393"/>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sp>
        <p:nvSpPr>
          <p:cNvPr id="12" name="Picture Placeholder 8"/>
          <p:cNvSpPr>
            <a:spLocks noGrp="1"/>
          </p:cNvSpPr>
          <p:nvPr>
            <p:ph type="pic" sz="quarter" idx="27"/>
          </p:nvPr>
        </p:nvSpPr>
        <p:spPr>
          <a:xfrm>
            <a:off x="6937200"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14" name="Content Placeholder 2"/>
          <p:cNvSpPr>
            <a:spLocks noGrp="1"/>
          </p:cNvSpPr>
          <p:nvPr>
            <p:ph idx="18"/>
          </p:nvPr>
        </p:nvSpPr>
        <p:spPr>
          <a:xfrm>
            <a:off x="318830" y="1312223"/>
            <a:ext cx="6308887"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5" name="Rectangle 23"/>
          <p:cNvSpPr>
            <a:spLocks noGrp="1" noChangeArrowheads="1"/>
          </p:cNvSpPr>
          <p:nvPr>
            <p:ph type="sldNum" sz="quarter" idx="28"/>
          </p:nvPr>
        </p:nvSpPr>
        <p:spPr/>
        <p:txBody>
          <a:bodyPr/>
          <a:lstStyle>
            <a:lvl1pPr>
              <a:defRPr/>
            </a:lvl1pPr>
          </a:lstStyle>
          <a:p>
            <a:pPr>
              <a:defRPr/>
            </a:pPr>
            <a:fld id="{D6ECF135-19D0-4C67-9D8D-68ADA768B481}" type="slidenum">
              <a:rPr lang="en-GB"/>
              <a:pPr>
                <a:defRPr/>
              </a:pPr>
              <a:t>‹#›</a:t>
            </a:fld>
            <a:endParaRPr lang="en-GB"/>
          </a:p>
        </p:txBody>
      </p:sp>
      <p:sp>
        <p:nvSpPr>
          <p:cNvPr id="6" name="Rectangle 7"/>
          <p:cNvSpPr>
            <a:spLocks noGrp="1" noChangeArrowheads="1"/>
          </p:cNvSpPr>
          <p:nvPr>
            <p:ph type="ftr" sz="quarter" idx="29"/>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30"/>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538105720"/>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318833" y="1312223"/>
            <a:ext cx="409965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9"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9" name="Picture Placeholder 8"/>
          <p:cNvSpPr>
            <a:spLocks noGrp="1"/>
          </p:cNvSpPr>
          <p:nvPr>
            <p:ph type="pic" sz="quarter" idx="27"/>
          </p:nvPr>
        </p:nvSpPr>
        <p:spPr>
          <a:xfrm>
            <a:off x="6937200"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30" name="Picture Placeholder 8"/>
          <p:cNvSpPr>
            <a:spLocks noGrp="1"/>
          </p:cNvSpPr>
          <p:nvPr>
            <p:ph type="pic" sz="quarter" idx="28"/>
          </p:nvPr>
        </p:nvSpPr>
        <p:spPr>
          <a:xfrm>
            <a:off x="4726874"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6" name="Rectangle 23"/>
          <p:cNvSpPr>
            <a:spLocks noGrp="1" noChangeArrowheads="1"/>
          </p:cNvSpPr>
          <p:nvPr>
            <p:ph type="sldNum" sz="quarter" idx="29"/>
          </p:nvPr>
        </p:nvSpPr>
        <p:spPr/>
        <p:txBody>
          <a:bodyPr/>
          <a:lstStyle>
            <a:lvl1pPr>
              <a:defRPr/>
            </a:lvl1pPr>
          </a:lstStyle>
          <a:p>
            <a:pPr>
              <a:defRPr/>
            </a:pPr>
            <a:fld id="{A3A22789-A1D8-4DAD-8D1B-200D92BCF73F}" type="slidenum">
              <a:rPr lang="en-GB"/>
              <a:pPr>
                <a:defRPr/>
              </a:pPr>
              <a:t>‹#›</a:t>
            </a:fld>
            <a:endParaRPr lang="en-GB"/>
          </a:p>
        </p:txBody>
      </p:sp>
      <p:sp>
        <p:nvSpPr>
          <p:cNvPr id="7" name="Rectangle 5"/>
          <p:cNvSpPr>
            <a:spLocks noGrp="1" noChangeArrowheads="1"/>
          </p:cNvSpPr>
          <p:nvPr>
            <p:ph type="ftr" sz="quarter" idx="30"/>
          </p:nvPr>
        </p:nvSpPr>
        <p:spPr/>
        <p:txBody>
          <a:bodyPr/>
          <a:lstStyle>
            <a:lvl1pPr fontAlgn="auto">
              <a:spcBef>
                <a:spcPts val="0"/>
              </a:spcBef>
              <a:spcAft>
                <a:spcPts val="0"/>
              </a:spcAft>
              <a:defRPr>
                <a:ea typeface="+mn-ea"/>
              </a:defRPr>
            </a:lvl1pPr>
          </a:lstStyle>
          <a:p>
            <a:pPr>
              <a:defRPr/>
            </a:pPr>
            <a:r>
              <a:rPr lang="en-GB"/>
              <a:t>Presentation title</a:t>
            </a:r>
          </a:p>
        </p:txBody>
      </p:sp>
      <p:sp>
        <p:nvSpPr>
          <p:cNvPr id="8" name="Rectangle 81"/>
          <p:cNvSpPr>
            <a:spLocks noGrp="1" noChangeArrowheads="1"/>
          </p:cNvSpPr>
          <p:nvPr>
            <p:ph type="dt" sz="half" idx="31"/>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4061100083"/>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sp>
        <p:nvSpPr>
          <p:cNvPr id="15"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9" name="Picture Placeholder 8"/>
          <p:cNvSpPr>
            <a:spLocks noGrp="1"/>
          </p:cNvSpPr>
          <p:nvPr>
            <p:ph type="pic" sz="quarter" idx="27"/>
          </p:nvPr>
        </p:nvSpPr>
        <p:spPr>
          <a:xfrm>
            <a:off x="6937200"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30" name="Picture Placeholder 8"/>
          <p:cNvSpPr>
            <a:spLocks noGrp="1"/>
          </p:cNvSpPr>
          <p:nvPr>
            <p:ph type="pic" sz="quarter" idx="28"/>
          </p:nvPr>
        </p:nvSpPr>
        <p:spPr>
          <a:xfrm>
            <a:off x="4726874"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31" name="Picture Placeholder 8"/>
          <p:cNvSpPr>
            <a:spLocks noGrp="1"/>
          </p:cNvSpPr>
          <p:nvPr>
            <p:ph type="pic" sz="quarter" idx="29"/>
          </p:nvPr>
        </p:nvSpPr>
        <p:spPr>
          <a:xfrm>
            <a:off x="2521837"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32" name="Picture Placeholder 8"/>
          <p:cNvSpPr>
            <a:spLocks noGrp="1"/>
          </p:cNvSpPr>
          <p:nvPr>
            <p:ph type="pic" sz="quarter" idx="30"/>
          </p:nvPr>
        </p:nvSpPr>
        <p:spPr>
          <a:xfrm>
            <a:off x="316800"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dirty="0" smtClean="0"/>
              <a:t>Click icon to add picture</a:t>
            </a:r>
            <a:endParaRPr lang="en-GB" noProof="0" dirty="0"/>
          </a:p>
        </p:txBody>
      </p:sp>
      <p:sp>
        <p:nvSpPr>
          <p:cNvPr id="7" name="Rectangle 23"/>
          <p:cNvSpPr>
            <a:spLocks noGrp="1" noChangeArrowheads="1"/>
          </p:cNvSpPr>
          <p:nvPr>
            <p:ph type="sldNum" sz="quarter" idx="31"/>
          </p:nvPr>
        </p:nvSpPr>
        <p:spPr/>
        <p:txBody>
          <a:bodyPr/>
          <a:lstStyle>
            <a:lvl1pPr>
              <a:defRPr/>
            </a:lvl1pPr>
          </a:lstStyle>
          <a:p>
            <a:pPr>
              <a:defRPr/>
            </a:pPr>
            <a:fld id="{39E08CDD-9698-4596-A305-500AAB95C71A}" type="slidenum">
              <a:rPr lang="en-GB"/>
              <a:pPr>
                <a:defRPr/>
              </a:pPr>
              <a:t>‹#›</a:t>
            </a:fld>
            <a:endParaRPr lang="en-GB"/>
          </a:p>
        </p:txBody>
      </p:sp>
      <p:sp>
        <p:nvSpPr>
          <p:cNvPr id="8" name="Rectangle 5"/>
          <p:cNvSpPr>
            <a:spLocks noGrp="1" noChangeArrowheads="1"/>
          </p:cNvSpPr>
          <p:nvPr>
            <p:ph type="ftr" sz="quarter" idx="32"/>
          </p:nvPr>
        </p:nvSpPr>
        <p:spPr/>
        <p:txBody>
          <a:bodyPr/>
          <a:lstStyle>
            <a:lvl1pPr fontAlgn="auto">
              <a:spcBef>
                <a:spcPts val="0"/>
              </a:spcBef>
              <a:spcAft>
                <a:spcPts val="0"/>
              </a:spcAft>
              <a:defRPr>
                <a:ea typeface="+mn-ea"/>
              </a:defRPr>
            </a:lvl1pPr>
          </a:lstStyle>
          <a:p>
            <a:pPr>
              <a:defRPr/>
            </a:pPr>
            <a:r>
              <a:rPr lang="en-GB"/>
              <a:t>Presentation title</a:t>
            </a:r>
          </a:p>
        </p:txBody>
      </p:sp>
      <p:sp>
        <p:nvSpPr>
          <p:cNvPr id="9" name="Rectangle 81"/>
          <p:cNvSpPr>
            <a:spLocks noGrp="1" noChangeArrowheads="1"/>
          </p:cNvSpPr>
          <p:nvPr>
            <p:ph type="dt" sz="half" idx="33"/>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761050524"/>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sp>
        <p:nvSpPr>
          <p:cNvPr id="14" name="Content Placeholder 2"/>
          <p:cNvSpPr>
            <a:spLocks noGrp="1"/>
          </p:cNvSpPr>
          <p:nvPr>
            <p:ph idx="23"/>
          </p:nvPr>
        </p:nvSpPr>
        <p:spPr>
          <a:xfrm>
            <a:off x="318828" y="1312223"/>
            <a:ext cx="2923653"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3" name="Media Placeholder 8"/>
          <p:cNvSpPr>
            <a:spLocks noGrp="1"/>
          </p:cNvSpPr>
          <p:nvPr>
            <p:ph type="media" sz="quarter" idx="18"/>
          </p:nvPr>
        </p:nvSpPr>
        <p:spPr>
          <a:xfrm>
            <a:off x="3578125" y="1309928"/>
            <a:ext cx="5258820" cy="2958085"/>
          </a:xfrm>
          <a:solidFill>
            <a:schemeClr val="accent6"/>
          </a:solidFill>
          <a:effectLst/>
        </p:spPr>
        <p:txBody>
          <a:bodyPr rtlCol="0" anchor="ctr">
            <a:normAutofit/>
          </a:bodyPr>
          <a:lstStyle>
            <a:lvl1pPr marL="0" indent="0" algn="ctr">
              <a:buNone/>
              <a:defRPr sz="700">
                <a:solidFill>
                  <a:schemeClr val="bg1"/>
                </a:solidFill>
              </a:defRPr>
            </a:lvl1pPr>
          </a:lstStyle>
          <a:p>
            <a:pPr lvl="0"/>
            <a:r>
              <a:rPr lang="en-US" noProof="0" dirty="0" smtClean="0"/>
              <a:t>Click icon to add media</a:t>
            </a:r>
            <a:endParaRPr lang="en-GB" noProof="0" dirty="0"/>
          </a:p>
        </p:txBody>
      </p:sp>
      <p:sp>
        <p:nvSpPr>
          <p:cNvPr id="16"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5" name="Rectangle 23"/>
          <p:cNvSpPr>
            <a:spLocks noGrp="1" noChangeArrowheads="1"/>
          </p:cNvSpPr>
          <p:nvPr>
            <p:ph type="sldNum" sz="quarter" idx="24"/>
          </p:nvPr>
        </p:nvSpPr>
        <p:spPr/>
        <p:txBody>
          <a:bodyPr/>
          <a:lstStyle>
            <a:lvl1pPr>
              <a:defRPr/>
            </a:lvl1pPr>
          </a:lstStyle>
          <a:p>
            <a:pPr>
              <a:defRPr/>
            </a:pPr>
            <a:fld id="{C75BB1C1-BF30-4CD1-8917-F3A5101CA591}" type="slidenum">
              <a:rPr lang="en-GB"/>
              <a:pPr>
                <a:defRPr/>
              </a:pPr>
              <a:t>‹#›</a:t>
            </a:fld>
            <a:endParaRPr lang="en-GB"/>
          </a:p>
        </p:txBody>
      </p:sp>
      <p:sp>
        <p:nvSpPr>
          <p:cNvPr id="6" name="Rectangle 7"/>
          <p:cNvSpPr>
            <a:spLocks noGrp="1" noChangeArrowheads="1"/>
          </p:cNvSpPr>
          <p:nvPr>
            <p:ph type="ftr" sz="quarter" idx="25"/>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26"/>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593728576"/>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sp>
        <p:nvSpPr>
          <p:cNvPr id="10" name="Media Placeholder 8"/>
          <p:cNvSpPr>
            <a:spLocks noGrp="1"/>
          </p:cNvSpPr>
          <p:nvPr>
            <p:ph type="media" sz="quarter" idx="15"/>
          </p:nvPr>
        </p:nvSpPr>
        <p:spPr>
          <a:xfrm>
            <a:off x="4891539" y="1309928"/>
            <a:ext cx="3945406" cy="2958085"/>
          </a:xfrm>
          <a:solidFill>
            <a:schemeClr val="accent6"/>
          </a:solidFill>
          <a:effectLst/>
        </p:spPr>
        <p:txBody>
          <a:bodyPr rtlCol="0" anchor="ctr">
            <a:normAutofit/>
          </a:bodyPr>
          <a:lstStyle>
            <a:lvl1pPr marL="0" indent="0" algn="ctr">
              <a:buNone/>
              <a:defRPr sz="700" baseline="0">
                <a:solidFill>
                  <a:schemeClr val="bg1"/>
                </a:solidFill>
              </a:defRPr>
            </a:lvl1pPr>
          </a:lstStyle>
          <a:p>
            <a:pPr lvl="0"/>
            <a:r>
              <a:rPr lang="en-US" noProof="0" dirty="0" smtClean="0"/>
              <a:t>Click icon to add media</a:t>
            </a:r>
            <a:endParaRPr lang="en-GB" noProof="0" dirty="0"/>
          </a:p>
        </p:txBody>
      </p:sp>
      <p:sp>
        <p:nvSpPr>
          <p:cNvPr id="17" name="Content Placeholder 2"/>
          <p:cNvSpPr>
            <a:spLocks noGrp="1"/>
          </p:cNvSpPr>
          <p:nvPr>
            <p:ph idx="24"/>
          </p:nvPr>
        </p:nvSpPr>
        <p:spPr>
          <a:xfrm>
            <a:off x="318821" y="1312223"/>
            <a:ext cx="4251592"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6"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5" name="Rectangle 23"/>
          <p:cNvSpPr>
            <a:spLocks noGrp="1" noChangeArrowheads="1"/>
          </p:cNvSpPr>
          <p:nvPr>
            <p:ph type="sldNum" sz="quarter" idx="25"/>
          </p:nvPr>
        </p:nvSpPr>
        <p:spPr/>
        <p:txBody>
          <a:bodyPr/>
          <a:lstStyle>
            <a:lvl1pPr>
              <a:defRPr/>
            </a:lvl1pPr>
          </a:lstStyle>
          <a:p>
            <a:pPr>
              <a:defRPr/>
            </a:pPr>
            <a:fld id="{9A13436D-46BD-4FB0-8E10-FBD010E87D08}" type="slidenum">
              <a:rPr lang="en-GB"/>
              <a:pPr>
                <a:defRPr/>
              </a:pPr>
              <a:t>‹#›</a:t>
            </a:fld>
            <a:endParaRPr lang="en-GB"/>
          </a:p>
        </p:txBody>
      </p:sp>
      <p:sp>
        <p:nvSpPr>
          <p:cNvPr id="6" name="Rectangle 7"/>
          <p:cNvSpPr>
            <a:spLocks noGrp="1" noChangeArrowheads="1"/>
          </p:cNvSpPr>
          <p:nvPr>
            <p:ph type="ftr" sz="quarter" idx="26"/>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27"/>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526528039"/>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p:nvPr>
        </p:nvSpPr>
        <p:spPr>
          <a:xfrm>
            <a:off x="0" y="9"/>
            <a:ext cx="9144000" cy="5143499"/>
          </a:xfrm>
          <a:solidFill>
            <a:schemeClr val="accent6"/>
          </a:solidFill>
          <a:effectLst/>
        </p:spPr>
        <p:txBody>
          <a:bodyPr rtlCol="0" anchor="ctr">
            <a:normAutofit/>
          </a:bodyPr>
          <a:lstStyle>
            <a:lvl1pPr marL="0" indent="0" algn="ctr">
              <a:buNone/>
              <a:defRPr sz="700">
                <a:solidFill>
                  <a:schemeClr val="bg1"/>
                </a:solidFill>
              </a:defRPr>
            </a:lvl1pPr>
          </a:lstStyle>
          <a:p>
            <a:pPr lvl="0"/>
            <a:r>
              <a:rPr lang="en-US" noProof="0" dirty="0" smtClean="0"/>
              <a:t>Click icon to add media</a:t>
            </a:r>
            <a:endParaRPr lang="en-GB" noProof="0" dirty="0"/>
          </a:p>
        </p:txBody>
      </p:sp>
      <p:sp>
        <p:nvSpPr>
          <p:cNvPr id="3" name="Rectangle 5"/>
          <p:cNvSpPr>
            <a:spLocks noGrp="1" noChangeArrowheads="1"/>
          </p:cNvSpPr>
          <p:nvPr>
            <p:ph type="ftr" sz="quarter" idx="19"/>
          </p:nvPr>
        </p:nvSpPr>
        <p:spPr/>
        <p:txBody>
          <a:bodyPr/>
          <a:lstStyle>
            <a:lvl1pPr fontAlgn="auto">
              <a:spcBef>
                <a:spcPts val="0"/>
              </a:spcBef>
              <a:spcAft>
                <a:spcPts val="0"/>
              </a:spcAft>
              <a:defRPr>
                <a:solidFill>
                  <a:srgbClr val="FFFFFF"/>
                </a:solidFill>
                <a:ea typeface="+mn-ea"/>
              </a:defRPr>
            </a:lvl1pPr>
          </a:lstStyle>
          <a:p>
            <a:pPr>
              <a:defRPr/>
            </a:pPr>
            <a:r>
              <a:rPr lang="en-GB"/>
              <a:t>Presentation title</a:t>
            </a:r>
          </a:p>
        </p:txBody>
      </p:sp>
      <p:sp>
        <p:nvSpPr>
          <p:cNvPr id="4" name="Rectangle 81"/>
          <p:cNvSpPr>
            <a:spLocks noGrp="1" noChangeArrowheads="1"/>
          </p:cNvSpPr>
          <p:nvPr>
            <p:ph type="dt" sz="half" idx="20"/>
          </p:nvPr>
        </p:nvSpPr>
        <p:spPr/>
        <p:txBody>
          <a:bodyPr/>
          <a:lstStyle>
            <a:lvl1pPr fontAlgn="auto">
              <a:spcBef>
                <a:spcPts val="0"/>
              </a:spcBef>
              <a:spcAft>
                <a:spcPts val="0"/>
              </a:spcAft>
              <a:defRPr>
                <a:solidFill>
                  <a:srgbClr val="FFFFFF"/>
                </a:solidFill>
                <a:ea typeface="+mn-ea"/>
              </a:defRPr>
            </a:lvl1pPr>
          </a:lstStyle>
          <a:p>
            <a:pPr>
              <a:defRPr/>
            </a:pPr>
            <a:r>
              <a:rPr lang="en-GB"/>
              <a:t>Date</a:t>
            </a:r>
          </a:p>
        </p:txBody>
      </p:sp>
      <p:sp>
        <p:nvSpPr>
          <p:cNvPr id="5" name="Slide Number Placeholder 23"/>
          <p:cNvSpPr>
            <a:spLocks noGrp="1" noChangeArrowheads="1"/>
          </p:cNvSpPr>
          <p:nvPr>
            <p:ph type="sldNum" sz="quarter" idx="21"/>
          </p:nvPr>
        </p:nvSpPr>
        <p:spPr/>
        <p:txBody>
          <a:bodyPr/>
          <a:lstStyle>
            <a:lvl1pPr>
              <a:defRPr>
                <a:solidFill>
                  <a:srgbClr val="FFFFFF"/>
                </a:solidFill>
              </a:defRPr>
            </a:lvl1pPr>
          </a:lstStyle>
          <a:p>
            <a:pPr>
              <a:defRPr/>
            </a:pPr>
            <a:fld id="{E760F70F-504E-4D3A-94D2-9382679ABA79}" type="slidenum">
              <a:rPr lang="en-GB"/>
              <a:pPr>
                <a:defRPr/>
              </a:pPr>
              <a:t>‹#›</a:t>
            </a:fld>
            <a:endParaRPr lang="en-GB"/>
          </a:p>
        </p:txBody>
      </p:sp>
    </p:spTree>
    <p:extLst>
      <p:ext uri="{BB962C8B-B14F-4D97-AF65-F5344CB8AC3E}">
        <p14:creationId xmlns:p14="http://schemas.microsoft.com/office/powerpoint/2010/main" val="1448416752"/>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sp>
        <p:nvSpPr>
          <p:cNvPr id="2" name="Rectangle 6"/>
          <p:cNvSpPr/>
          <p:nvPr userDrawn="1"/>
        </p:nvSpPr>
        <p:spPr bwMode="auto">
          <a:xfrm>
            <a:off x="317502" y="309570"/>
            <a:ext cx="8509000" cy="3958829"/>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a:extLst/>
        </p:spPr>
        <p:txBody>
          <a:bodyPr wrap="none" lIns="72000" tIns="72000" rIns="72000" bIns="72000" anchor="ctr"/>
          <a:lstStyle/>
          <a:p>
            <a:pPr algn="ctr" defTabSz="1219200" fontAlgn="base">
              <a:spcBef>
                <a:spcPct val="50000"/>
              </a:spcBef>
              <a:spcAft>
                <a:spcPct val="0"/>
              </a:spcAft>
              <a:defRPr/>
            </a:pPr>
            <a:endParaRPr lang="en-GB" sz="2400" b="1" dirty="0">
              <a:solidFill>
                <a:srgbClr val="001965"/>
              </a:solidFill>
              <a:ea typeface="ＭＳ Ｐゴシック" pitchFamily="34" charset="-128"/>
              <a:cs typeface="Arial" pitchFamily="34" charset="0"/>
            </a:endParaRPr>
          </a:p>
        </p:txBody>
      </p:sp>
      <p:sp>
        <p:nvSpPr>
          <p:cNvPr id="3" name="Title 6"/>
          <p:cNvSpPr txBox="1">
            <a:spLocks/>
          </p:cNvSpPr>
          <p:nvPr userDrawn="1"/>
        </p:nvSpPr>
        <p:spPr bwMode="auto">
          <a:xfrm>
            <a:off x="319091" y="577454"/>
            <a:ext cx="8518525" cy="390525"/>
          </a:xfrm>
          <a:prstGeom prst="rect">
            <a:avLst/>
          </a:prstGeom>
          <a:noFill/>
          <a:ln>
            <a:noFill/>
          </a:ln>
          <a:effectLst/>
          <a:extLst/>
        </p:spPr>
        <p:txBody>
          <a:bodyPr lIns="0" tIns="0" rIns="0" bIns="0"/>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pPr>
              <a:defRPr/>
            </a:pPr>
            <a:r>
              <a:rPr lang="en-GB" dirty="0" smtClean="0"/>
              <a:t>Title</a:t>
            </a:r>
            <a:endParaRPr lang="en-GB" dirty="0"/>
          </a:p>
        </p:txBody>
      </p:sp>
      <p:sp>
        <p:nvSpPr>
          <p:cNvPr id="4" name="TextBox 8"/>
          <p:cNvSpPr txBox="1">
            <a:spLocks noChangeArrowheads="1"/>
          </p:cNvSpPr>
          <p:nvPr userDrawn="1"/>
        </p:nvSpPr>
        <p:spPr bwMode="auto">
          <a:xfrm>
            <a:off x="2749551" y="2524167"/>
            <a:ext cx="3632200" cy="276999"/>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defTabSz="914400" fontAlgn="base">
              <a:spcBef>
                <a:spcPct val="0"/>
              </a:spcBef>
              <a:spcAft>
                <a:spcPct val="0"/>
              </a:spcAft>
              <a:defRPr/>
            </a:pPr>
            <a:r>
              <a:rPr lang="en-GB" sz="1200" dirty="0" smtClean="0">
                <a:solidFill>
                  <a:srgbClr val="E64A0E"/>
                </a:solidFill>
                <a:ea typeface="ＭＳ Ｐゴシック" pitchFamily="34" charset="-128"/>
                <a:cs typeface="Arial" pitchFamily="34" charset="0"/>
              </a:rPr>
              <a:t>Keep all content in this area</a:t>
            </a:r>
          </a:p>
        </p:txBody>
      </p:sp>
      <p:sp>
        <p:nvSpPr>
          <p:cNvPr id="5" name="TextBox 9"/>
          <p:cNvSpPr txBox="1">
            <a:spLocks noChangeArrowheads="1"/>
          </p:cNvSpPr>
          <p:nvPr userDrawn="1"/>
        </p:nvSpPr>
        <p:spPr bwMode="auto">
          <a:xfrm>
            <a:off x="319091" y="1313260"/>
            <a:ext cx="8518525" cy="369332"/>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914400" fontAlgn="base">
              <a:spcBef>
                <a:spcPct val="0"/>
              </a:spcBef>
              <a:spcAft>
                <a:spcPct val="0"/>
              </a:spcAft>
              <a:defRPr/>
            </a:pPr>
            <a:endParaRPr lang="en-GB" sz="1800" dirty="0" smtClean="0">
              <a:solidFill>
                <a:srgbClr val="001965"/>
              </a:solidFill>
              <a:ea typeface="ＭＳ Ｐゴシック" pitchFamily="34" charset="-128"/>
              <a:cs typeface="Arial" pitchFamily="34" charset="0"/>
            </a:endParaRPr>
          </a:p>
        </p:txBody>
      </p:sp>
      <p:sp>
        <p:nvSpPr>
          <p:cNvPr id="6" name="Rectangle 10"/>
          <p:cNvSpPr/>
          <p:nvPr userDrawn="1"/>
        </p:nvSpPr>
        <p:spPr bwMode="auto">
          <a:xfrm>
            <a:off x="317502" y="1313271"/>
            <a:ext cx="8509000" cy="2955131"/>
          </a:xfrm>
          <a:prstGeom prst="rect">
            <a:avLst/>
          </a:prstGeom>
          <a:noFill/>
          <a:ln w="3175" cap="flat" cmpd="sng" algn="ctr">
            <a:solidFill>
              <a:schemeClr val="accent5"/>
            </a:solidFill>
            <a:prstDash val="solid"/>
            <a:round/>
            <a:headEnd type="none" w="med" len="med"/>
            <a:tailEnd type="none" w="med" len="med"/>
          </a:ln>
          <a:effectLst/>
          <a:extLst/>
        </p:spPr>
        <p:txBody>
          <a:bodyPr wrap="none" lIns="0" tIns="0" rIns="0" bIns="0"/>
          <a:lstStyle/>
          <a:p>
            <a:pPr marL="269875" indent="-269875" defTabSz="1219200" fontAlgn="base">
              <a:spcBef>
                <a:spcPct val="50000"/>
              </a:spcBef>
              <a:spcAft>
                <a:spcPct val="0"/>
              </a:spcAft>
              <a:buClr>
                <a:srgbClr val="009FDA"/>
              </a:buClr>
              <a:buFont typeface="Arial" pitchFamily="34" charset="0"/>
              <a:buChar char="•"/>
              <a:defRPr/>
            </a:pPr>
            <a:r>
              <a:rPr lang="en-GB" sz="1800" dirty="0">
                <a:solidFill>
                  <a:srgbClr val="001965"/>
                </a:solidFill>
                <a:ea typeface="ＭＳ Ｐゴシック" pitchFamily="34" charset="-128"/>
                <a:cs typeface="Arial" pitchFamily="34" charset="0"/>
              </a:rPr>
              <a:t>Content area</a:t>
            </a:r>
          </a:p>
        </p:txBody>
      </p:sp>
      <p:sp>
        <p:nvSpPr>
          <p:cNvPr id="7" name="TextBox 11"/>
          <p:cNvSpPr txBox="1">
            <a:spLocks noChangeArrowheads="1"/>
          </p:cNvSpPr>
          <p:nvPr userDrawn="1"/>
        </p:nvSpPr>
        <p:spPr bwMode="auto">
          <a:xfrm>
            <a:off x="317500" y="965684"/>
            <a:ext cx="4572000" cy="276999"/>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914400" fontAlgn="base">
              <a:spcBef>
                <a:spcPct val="0"/>
              </a:spcBef>
              <a:spcAft>
                <a:spcPct val="0"/>
              </a:spcAft>
              <a:defRPr/>
            </a:pPr>
            <a:r>
              <a:rPr lang="en-GB" sz="1200" dirty="0" smtClean="0">
                <a:solidFill>
                  <a:srgbClr val="E64A0E"/>
                </a:solidFill>
                <a:ea typeface="ＭＳ Ｐゴシック" pitchFamily="34" charset="-128"/>
                <a:cs typeface="Arial" pitchFamily="34" charset="0"/>
              </a:rPr>
              <a:t>Keep all titles, trompets and subtitles in this area</a:t>
            </a:r>
          </a:p>
        </p:txBody>
      </p:sp>
      <p:sp>
        <p:nvSpPr>
          <p:cNvPr id="8" name="TextBox 15"/>
          <p:cNvSpPr txBox="1">
            <a:spLocks noChangeArrowheads="1"/>
          </p:cNvSpPr>
          <p:nvPr userDrawn="1"/>
        </p:nvSpPr>
        <p:spPr bwMode="auto">
          <a:xfrm>
            <a:off x="4919664" y="329841"/>
            <a:ext cx="3910012" cy="276999"/>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defTabSz="914400" fontAlgn="base">
              <a:spcBef>
                <a:spcPct val="0"/>
              </a:spcBef>
              <a:spcAft>
                <a:spcPct val="0"/>
              </a:spcAft>
              <a:defRPr/>
            </a:pPr>
            <a:r>
              <a:rPr lang="en-GB" sz="1200" dirty="0" smtClean="0">
                <a:solidFill>
                  <a:srgbClr val="E64A0E"/>
                </a:solidFill>
                <a:ea typeface="ＭＳ Ｐゴシック" pitchFamily="34" charset="-128"/>
                <a:cs typeface="Arial" pitchFamily="34" charset="0"/>
              </a:rPr>
              <a:t>Never move Footer, Date and No placeholders</a:t>
            </a:r>
          </a:p>
        </p:txBody>
      </p:sp>
      <p:sp>
        <p:nvSpPr>
          <p:cNvPr id="9" name="Rectangle 5"/>
          <p:cNvSpPr>
            <a:spLocks noGrp="1" noChangeArrowheads="1"/>
          </p:cNvSpPr>
          <p:nvPr>
            <p:ph type="ftr" sz="quarter" idx="10"/>
          </p:nvPr>
        </p:nvSpPr>
        <p:spPr/>
        <p:txBody>
          <a:bodyPr/>
          <a:lstStyle>
            <a:lvl1pPr fontAlgn="auto">
              <a:spcBef>
                <a:spcPts val="0"/>
              </a:spcBef>
              <a:spcAft>
                <a:spcPts val="0"/>
              </a:spcAft>
              <a:defRPr>
                <a:ea typeface="+mn-ea"/>
              </a:defRPr>
            </a:lvl1pPr>
          </a:lstStyle>
          <a:p>
            <a:pPr>
              <a:defRPr/>
            </a:pPr>
            <a:r>
              <a:rPr lang="en-GB"/>
              <a:t>Presentation title</a:t>
            </a:r>
          </a:p>
        </p:txBody>
      </p:sp>
      <p:sp>
        <p:nvSpPr>
          <p:cNvPr id="10" name="Rectangle 81"/>
          <p:cNvSpPr>
            <a:spLocks noGrp="1" noChangeArrowheads="1"/>
          </p:cNvSpPr>
          <p:nvPr>
            <p:ph type="dt" sz="half" idx="11"/>
          </p:nvPr>
        </p:nvSpPr>
        <p:spPr/>
        <p:txBody>
          <a:bodyPr/>
          <a:lstStyle>
            <a:lvl1pPr fontAlgn="auto">
              <a:spcBef>
                <a:spcPts val="0"/>
              </a:spcBef>
              <a:spcAft>
                <a:spcPts val="0"/>
              </a:spcAft>
              <a:defRPr>
                <a:ea typeface="+mn-ea"/>
              </a:defRPr>
            </a:lvl1pPr>
          </a:lstStyle>
          <a:p>
            <a:pPr>
              <a:defRPr/>
            </a:pPr>
            <a:r>
              <a:rPr lang="en-GB"/>
              <a:t>Date</a:t>
            </a:r>
          </a:p>
        </p:txBody>
      </p:sp>
      <p:sp>
        <p:nvSpPr>
          <p:cNvPr id="11" name="Slide Number Placeholder 23"/>
          <p:cNvSpPr>
            <a:spLocks noGrp="1" noChangeArrowheads="1"/>
          </p:cNvSpPr>
          <p:nvPr>
            <p:ph type="sldNum" sz="quarter" idx="12"/>
          </p:nvPr>
        </p:nvSpPr>
        <p:spPr/>
        <p:txBody>
          <a:bodyPr/>
          <a:lstStyle>
            <a:lvl1pPr>
              <a:defRPr/>
            </a:lvl1pPr>
          </a:lstStyle>
          <a:p>
            <a:pPr>
              <a:defRPr/>
            </a:pPr>
            <a:fld id="{7E0E89EB-6DC5-4C6F-A308-9AE26AE4D91B}" type="slidenum">
              <a:rPr lang="en-GB"/>
              <a:pPr>
                <a:defRPr/>
              </a:pPr>
              <a:t>‹#›</a:t>
            </a:fld>
            <a:endParaRPr lang="en-GB"/>
          </a:p>
        </p:txBody>
      </p:sp>
    </p:spTree>
    <p:extLst>
      <p:ext uri="{BB962C8B-B14F-4D97-AF65-F5344CB8AC3E}">
        <p14:creationId xmlns:p14="http://schemas.microsoft.com/office/powerpoint/2010/main" val="4214777704"/>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Slide 11">
    <p:spTree>
      <p:nvGrpSpPr>
        <p:cNvPr id="1" name=""/>
        <p:cNvGrpSpPr/>
        <p:nvPr/>
      </p:nvGrpSpPr>
      <p:grpSpPr>
        <a:xfrm>
          <a:off x="0" y="0"/>
          <a:ext cx="0" cy="0"/>
          <a:chOff x="0" y="0"/>
          <a:chExt cx="0" cy="0"/>
        </a:xfrm>
      </p:grpSpPr>
      <p:pic>
        <p:nvPicPr>
          <p:cNvPr id="5" name="Picture 8" descr="LEADER_circles"/>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t="32852" r="22656"/>
          <a:stretch>
            <a:fillRect/>
          </a:stretch>
        </p:blipFill>
        <p:spPr bwMode="auto">
          <a:xfrm>
            <a:off x="5724570" y="0"/>
            <a:ext cx="3419475" cy="283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S:\Customers\Novo Nordisk\Jobs\13371_Victoza - event_visual identity\Account\FINAL PDF\new pictures\LEADER.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13214" y="646515"/>
            <a:ext cx="3759200" cy="446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0"/>
          <p:cNvSpPr>
            <a:spLocks noGrp="1"/>
          </p:cNvSpPr>
          <p:nvPr>
            <p:ph type="body" sz="quarter" idx="10"/>
          </p:nvPr>
        </p:nvSpPr>
        <p:spPr>
          <a:xfrm>
            <a:off x="6517029" y="627066"/>
            <a:ext cx="2015784" cy="759572"/>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400">
                <a:solidFill>
                  <a:schemeClr val="accent1"/>
                </a:solidFill>
              </a:defRPr>
            </a:lvl1pPr>
            <a:lvl2pPr marL="468313" indent="0">
              <a:buNone/>
              <a:defRPr/>
            </a:lvl2pPr>
            <a:lvl3pPr marL="952500" indent="0">
              <a:buNone/>
              <a:defRPr/>
            </a:lvl3pPr>
            <a:lvl4pPr marL="1414462" indent="0">
              <a:buNone/>
              <a:defRPr/>
            </a:lvl4pPr>
            <a:lvl5pPr marL="1873250" indent="0">
              <a:buNone/>
              <a:defRPr/>
            </a:lvl5pPr>
          </a:lstStyle>
          <a:p>
            <a:pPr lvl="0"/>
            <a:r>
              <a:rPr lang="en-US" noProof="0" smtClean="0"/>
              <a:t>Click to edit Master text styles</a:t>
            </a:r>
          </a:p>
        </p:txBody>
      </p:sp>
      <p:sp>
        <p:nvSpPr>
          <p:cNvPr id="12" name="Title 1"/>
          <p:cNvSpPr>
            <a:spLocks noGrp="1"/>
          </p:cNvSpPr>
          <p:nvPr>
            <p:ph type="ctrTitle"/>
          </p:nvPr>
        </p:nvSpPr>
        <p:spPr>
          <a:xfrm>
            <a:off x="611188" y="2571750"/>
            <a:ext cx="3582194" cy="1080120"/>
          </a:xfrm>
        </p:spPr>
        <p:txBody>
          <a:bodyPr anchor="t">
            <a:noAutofit/>
          </a:bodyPr>
          <a:lstStyle>
            <a:lvl1pPr>
              <a:defRPr>
                <a:solidFill>
                  <a:schemeClr val="accent1"/>
                </a:solidFill>
              </a:defRPr>
            </a:lvl1pPr>
          </a:lstStyle>
          <a:p>
            <a:r>
              <a:rPr lang="en-US" noProof="0" smtClean="0"/>
              <a:t>Click to edit Master title style</a:t>
            </a:r>
            <a:endParaRPr lang="en-GB" noProof="0"/>
          </a:p>
        </p:txBody>
      </p:sp>
      <p:sp>
        <p:nvSpPr>
          <p:cNvPr id="13" name="Subtitle 2"/>
          <p:cNvSpPr>
            <a:spLocks noGrp="1"/>
          </p:cNvSpPr>
          <p:nvPr>
            <p:ph type="subTitle" idx="1"/>
          </p:nvPr>
        </p:nvSpPr>
        <p:spPr>
          <a:xfrm>
            <a:off x="611188" y="3723930"/>
            <a:ext cx="3582194" cy="288112"/>
          </a:xfrm>
        </p:spPr>
        <p:txBody>
          <a:bodyPr>
            <a:noAutofit/>
          </a:bodyPr>
          <a:lstStyle>
            <a:lvl1pPr marL="0" indent="0" algn="l">
              <a:buNone/>
              <a:defRPr sz="1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Tree>
    <p:extLst>
      <p:ext uri="{BB962C8B-B14F-4D97-AF65-F5344CB8AC3E}">
        <p14:creationId xmlns:p14="http://schemas.microsoft.com/office/powerpoint/2010/main" val="373408925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4026" y="288414"/>
            <a:ext cx="8232774" cy="731520"/>
          </a:xfrm>
        </p:spPr>
        <p:txBody>
          <a:bodyPr>
            <a:normAutofit/>
          </a:bodyPr>
          <a:lstStyle>
            <a:lvl1pPr algn="ctr">
              <a:defRPr lang="en-US" sz="2800" kern="1200" noProof="0" dirty="0" smtClean="0">
                <a:solidFill>
                  <a:schemeClr val="tx1"/>
                </a:solidFill>
                <a:latin typeface="+mj-lt"/>
                <a:ea typeface="ＭＳ Ｐゴシック" charset="0"/>
                <a:cs typeface="ＭＳ Ｐゴシック" charset="0"/>
              </a:defRPr>
            </a:lvl1pPr>
          </a:lstStyle>
          <a:p>
            <a:pPr lvl="0"/>
            <a:r>
              <a:rPr lang="en-US" noProof="0" dirty="0" smtClean="0"/>
              <a:t>Click to edit Master title</a:t>
            </a:r>
            <a:endParaRPr lang="en-GB" noProof="0" dirty="0"/>
          </a:p>
        </p:txBody>
      </p:sp>
      <p:sp>
        <p:nvSpPr>
          <p:cNvPr id="3" name="Slide Number Placeholder 1"/>
          <p:cNvSpPr>
            <a:spLocks noGrp="1"/>
          </p:cNvSpPr>
          <p:nvPr>
            <p:ph type="sldNum" sz="quarter" idx="10"/>
          </p:nvPr>
        </p:nvSpPr>
        <p:spPr>
          <a:xfrm>
            <a:off x="7010400" y="4868466"/>
            <a:ext cx="2133600" cy="275034"/>
          </a:xfrm>
        </p:spPr>
        <p:txBody>
          <a:bodyPr lIns="91440" tIns="45720" rIns="91440" bIns="45720" anchor="b"/>
          <a:lstStyle>
            <a:lvl1pPr>
              <a:defRPr sz="1200">
                <a:solidFill>
                  <a:srgbClr val="898B9F"/>
                </a:solidFill>
              </a:defRPr>
            </a:lvl1pPr>
          </a:lstStyle>
          <a:p>
            <a:pPr>
              <a:defRPr/>
            </a:pPr>
            <a:fld id="{3D65AB57-F0B1-4189-B33C-F3320E4DB6B1}" type="slidenum">
              <a:rPr lang="en-US"/>
              <a:pPr>
                <a:defRPr/>
              </a:pPr>
              <a:t>‹#›</a:t>
            </a:fld>
            <a:endParaRPr lang="en-US"/>
          </a:p>
        </p:txBody>
      </p:sp>
    </p:spTree>
    <p:extLst>
      <p:ext uri="{BB962C8B-B14F-4D97-AF65-F5344CB8AC3E}">
        <p14:creationId xmlns:p14="http://schemas.microsoft.com/office/powerpoint/2010/main" val="2287661948"/>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0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a:xfrm>
            <a:off x="8514822" y="105055"/>
            <a:ext cx="312378" cy="101600"/>
          </a:xfrm>
          <a:prstGeom prst="rect">
            <a:avLst/>
          </a:prstGeom>
          <a:ln/>
        </p:spPr>
        <p:txBody>
          <a:bodyPr lIns="68541" tIns="34289" rIns="68541" bIns="34289"/>
          <a:lstStyle>
            <a:lvl1pPr>
              <a:defRPr/>
            </a:lvl1pPr>
          </a:lstStyle>
          <a:p>
            <a:pPr defTabSz="685358" fontAlgn="base">
              <a:spcBef>
                <a:spcPct val="0"/>
              </a:spcBef>
              <a:spcAft>
                <a:spcPct val="0"/>
              </a:spcAft>
              <a:defRPr/>
            </a:pPr>
            <a:fld id="{CBE9FAB3-31B1-409E-92E4-4C0885D0CD84}" type="slidenum">
              <a:rPr lang="en-GB" sz="1400" smtClean="0">
                <a:solidFill>
                  <a:srgbClr val="82786F"/>
                </a:solidFill>
                <a:cs typeface="Arial" pitchFamily="34" charset="0"/>
              </a:rPr>
              <a:pPr defTabSz="685358" fontAlgn="base">
                <a:spcBef>
                  <a:spcPct val="0"/>
                </a:spcBef>
                <a:spcAft>
                  <a:spcPct val="0"/>
                </a:spcAft>
                <a:defRPr/>
              </a:pPr>
              <a:t>‹#›</a:t>
            </a:fld>
            <a:endParaRPr lang="en-GB" sz="1400" dirty="0">
              <a:solidFill>
                <a:srgbClr val="82786F"/>
              </a:solidFill>
              <a:cs typeface="Arial" pitchFamily="34" charset="0"/>
            </a:endParaRPr>
          </a:p>
        </p:txBody>
      </p:sp>
      <p:sp>
        <p:nvSpPr>
          <p:cNvPr id="5" name="Rectangle 5"/>
          <p:cNvSpPr>
            <a:spLocks noGrp="1" noChangeArrowheads="1"/>
          </p:cNvSpPr>
          <p:nvPr>
            <p:ph type="ftr" sz="quarter" idx="11"/>
          </p:nvPr>
        </p:nvSpPr>
        <p:spPr>
          <a:xfrm>
            <a:off x="4172988" y="103912"/>
            <a:ext cx="2900363" cy="101600"/>
          </a:xfrm>
          <a:prstGeom prst="rect">
            <a:avLst/>
          </a:prstGeom>
          <a:ln/>
        </p:spPr>
        <p:txBody>
          <a:bodyPr lIns="68541" tIns="34289" rIns="68541" bIns="34289"/>
          <a:lstStyle>
            <a:lvl1pPr>
              <a:defRPr/>
            </a:lvl1pPr>
          </a:lstStyle>
          <a:p>
            <a:pPr defTabSz="685358" fontAlgn="base">
              <a:spcBef>
                <a:spcPct val="0"/>
              </a:spcBef>
              <a:spcAft>
                <a:spcPct val="0"/>
              </a:spcAft>
              <a:defRPr/>
            </a:pPr>
            <a:r>
              <a:rPr lang="en-CA" sz="1400">
                <a:solidFill>
                  <a:srgbClr val="82786F"/>
                </a:solidFill>
                <a:cs typeface="Arial" pitchFamily="34" charset="0"/>
              </a:rPr>
              <a:t>Faster-acting insulin aspart is in development and not approved</a:t>
            </a:r>
            <a:endParaRPr lang="en-GB" sz="1400" dirty="0">
              <a:solidFill>
                <a:srgbClr val="82786F"/>
              </a:solidFill>
              <a:cs typeface="Arial" pitchFamily="34" charset="0"/>
            </a:endParaRPr>
          </a:p>
        </p:txBody>
      </p:sp>
      <p:sp>
        <p:nvSpPr>
          <p:cNvPr id="7" name="Rectangle 81"/>
          <p:cNvSpPr>
            <a:spLocks noGrp="1" noChangeArrowheads="1"/>
          </p:cNvSpPr>
          <p:nvPr>
            <p:ph type="dt" sz="half" idx="12"/>
          </p:nvPr>
        </p:nvSpPr>
        <p:spPr>
          <a:xfrm>
            <a:off x="7187154" y="103912"/>
            <a:ext cx="1201738" cy="101600"/>
          </a:xfrm>
          <a:prstGeom prst="rect">
            <a:avLst/>
          </a:prstGeom>
          <a:ln/>
        </p:spPr>
        <p:txBody>
          <a:bodyPr lIns="68541" tIns="34289" rIns="68541" bIns="34289"/>
          <a:lstStyle>
            <a:lvl1pPr>
              <a:defRPr/>
            </a:lvl1pPr>
          </a:lstStyle>
          <a:p>
            <a:pPr defTabSz="685358" fontAlgn="base">
              <a:spcBef>
                <a:spcPct val="0"/>
              </a:spcBef>
              <a:spcAft>
                <a:spcPct val="0"/>
              </a:spcAft>
              <a:defRPr/>
            </a:pPr>
            <a:r>
              <a:rPr lang="en-US" sz="1400">
                <a:solidFill>
                  <a:srgbClr val="82786F"/>
                </a:solidFill>
                <a:cs typeface="Arial" pitchFamily="34" charset="0"/>
              </a:rPr>
              <a:t>Date</a:t>
            </a:r>
            <a:endParaRPr lang="en-GB" sz="1400" dirty="0">
              <a:solidFill>
                <a:srgbClr val="82786F"/>
              </a:solidFill>
              <a:cs typeface="Arial" pitchFamily="34" charset="0"/>
            </a:endParaRPr>
          </a:p>
        </p:txBody>
      </p:sp>
      <p:sp>
        <p:nvSpPr>
          <p:cNvPr id="8" name="Text Placeholder 2"/>
          <p:cNvSpPr>
            <a:spLocks noGrp="1"/>
          </p:cNvSpPr>
          <p:nvPr>
            <p:ph type="body" sz="quarter" idx="13"/>
          </p:nvPr>
        </p:nvSpPr>
        <p:spPr>
          <a:xfrm>
            <a:off x="316801" y="42793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3472353164"/>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
          <p:cNvSpPr>
            <a:spLocks noGrp="1" noChangeArrowheads="1"/>
          </p:cNvSpPr>
          <p:nvPr>
            <p:ph type="ftr" sz="quarter" idx="10"/>
          </p:nvPr>
        </p:nvSpPr>
        <p:spPr>
          <a:xfrm>
            <a:off x="469900" y="-95250"/>
            <a:ext cx="5843588" cy="353616"/>
          </a:xfrm>
        </p:spPr>
        <p:txBody>
          <a:bodyPr/>
          <a:lstStyle>
            <a:lvl1pPr fontAlgn="auto">
              <a:spcBef>
                <a:spcPts val="0"/>
              </a:spcBef>
              <a:spcAft>
                <a:spcPts val="0"/>
              </a:spcAft>
              <a:defRPr>
                <a:solidFill>
                  <a:srgbClr val="001965"/>
                </a:solidFill>
                <a:latin typeface="Arial" charset="0"/>
                <a:ea typeface="+mn-ea"/>
                <a:cs typeface="Arial" charset="0"/>
              </a:defRPr>
            </a:lvl1pPr>
          </a:lstStyle>
          <a:p>
            <a:pPr>
              <a:defRPr/>
            </a:pPr>
            <a:endParaRPr lang="en-GB"/>
          </a:p>
        </p:txBody>
      </p:sp>
      <p:sp>
        <p:nvSpPr>
          <p:cNvPr id="4" name="Rectangle 19"/>
          <p:cNvSpPr>
            <a:spLocks noGrp="1" noChangeArrowheads="1"/>
          </p:cNvSpPr>
          <p:nvPr>
            <p:ph type="sldNum" sz="quarter" idx="11"/>
          </p:nvPr>
        </p:nvSpPr>
        <p:spPr>
          <a:xfrm>
            <a:off x="7761289" y="-95250"/>
            <a:ext cx="901700" cy="353616"/>
          </a:xfrm>
        </p:spPr>
        <p:txBody>
          <a:bodyPr/>
          <a:lstStyle>
            <a:lvl1pPr>
              <a:defRPr>
                <a:solidFill>
                  <a:srgbClr val="001965"/>
                </a:solidFill>
                <a:latin typeface="Arial" pitchFamily="34" charset="0"/>
              </a:defRPr>
            </a:lvl1pPr>
          </a:lstStyle>
          <a:p>
            <a:pPr>
              <a:defRPr/>
            </a:pPr>
            <a:r>
              <a:rPr lang="en-GB"/>
              <a:t>Slide No </a:t>
            </a:r>
            <a:fld id="{F62BA59F-A042-49E9-B11E-FDDC762A0AB3}" type="slidenum">
              <a:rPr lang="en-GB"/>
              <a:pPr>
                <a:defRPr/>
              </a:pPr>
              <a:t>‹#›</a:t>
            </a:fld>
            <a:endParaRPr lang="en-GB"/>
          </a:p>
        </p:txBody>
      </p:sp>
    </p:spTree>
    <p:extLst>
      <p:ext uri="{BB962C8B-B14F-4D97-AF65-F5344CB8AC3E}">
        <p14:creationId xmlns:p14="http://schemas.microsoft.com/office/powerpoint/2010/main" val="10913343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Level 1">
    <p:spTree>
      <p:nvGrpSpPr>
        <p:cNvPr id="1" name=""/>
        <p:cNvGrpSpPr/>
        <p:nvPr/>
      </p:nvGrpSpPr>
      <p:grpSpPr>
        <a:xfrm>
          <a:off x="0" y="0"/>
          <a:ext cx="0" cy="0"/>
          <a:chOff x="0" y="0"/>
          <a:chExt cx="0" cy="0"/>
        </a:xfrm>
      </p:grpSpPr>
      <p:graphicFrame>
        <p:nvGraphicFramePr>
          <p:cNvPr id="4" name="Content Placeholder 3"/>
          <p:cNvGraphicFramePr>
            <a:graphicFrameLocks noChangeAspect="1"/>
          </p:cNvGraphicFramePr>
          <p:nvPr userDrawn="1"/>
        </p:nvGraphicFramePr>
        <p:xfrm>
          <a:off x="8454775" y="98229"/>
          <a:ext cx="464211" cy="2678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 Placeholder 11"/>
          <p:cNvSpPr>
            <a:spLocks noGrp="1"/>
          </p:cNvSpPr>
          <p:nvPr>
            <p:ph type="body" sz="quarter" idx="13"/>
          </p:nvPr>
        </p:nvSpPr>
        <p:spPr>
          <a:xfrm>
            <a:off x="468324" y="4935944"/>
            <a:ext cx="8218487" cy="123111"/>
          </a:xfrm>
        </p:spPr>
        <p:txBody>
          <a:bodyPr anchor="b">
            <a:spAutoFit/>
          </a:bodyPr>
          <a:lstStyle>
            <a:lvl1pPr marL="0" indent="0">
              <a:buNone/>
              <a:defRPr sz="800"/>
            </a:lvl1pPr>
          </a:lstStyle>
          <a:p>
            <a:pPr lvl="0"/>
            <a:r>
              <a:rPr lang="en-US" smtClean="0"/>
              <a:t>Click to edit Master text styles</a:t>
            </a:r>
          </a:p>
        </p:txBody>
      </p:sp>
      <p:sp>
        <p:nvSpPr>
          <p:cNvPr id="8" name="Title 1"/>
          <p:cNvSpPr>
            <a:spLocks noGrp="1"/>
          </p:cNvSpPr>
          <p:nvPr>
            <p:ph type="title"/>
          </p:nvPr>
        </p:nvSpPr>
        <p:spPr>
          <a:xfrm>
            <a:off x="468011" y="363939"/>
            <a:ext cx="7961625" cy="601266"/>
          </a:xfrm>
        </p:spPr>
        <p:txBody>
          <a:bodyPr/>
          <a:lstStyle/>
          <a:p>
            <a:r>
              <a:rPr lang="en-US" dirty="0" smtClean="0"/>
              <a:t>Click to edit Master title style</a:t>
            </a:r>
            <a:endParaRPr lang="en-GB" dirty="0"/>
          </a:p>
        </p:txBody>
      </p:sp>
      <p:sp>
        <p:nvSpPr>
          <p:cNvPr id="5" name="Footer Placeholder 2"/>
          <p:cNvSpPr>
            <a:spLocks noGrp="1"/>
          </p:cNvSpPr>
          <p:nvPr>
            <p:ph type="ftr" sz="quarter" idx="14"/>
          </p:nvPr>
        </p:nvSpPr>
        <p:spPr>
          <a:xfrm>
            <a:off x="468329" y="96441"/>
            <a:ext cx="5595937" cy="171450"/>
          </a:xfrm>
        </p:spPr>
        <p:txBody>
          <a:bodyPr/>
          <a:lstStyle>
            <a:lvl1pPr fontAlgn="auto">
              <a:spcBef>
                <a:spcPts val="0"/>
              </a:spcBef>
              <a:spcAft>
                <a:spcPts val="0"/>
              </a:spcAft>
              <a:defRPr>
                <a:ea typeface="ヒラギノ角ゴ Pro W3"/>
                <a:cs typeface="ヒラギノ角ゴ Pro W3"/>
              </a:defRPr>
            </a:lvl1pPr>
          </a:lstStyle>
          <a:p>
            <a:pPr>
              <a:defRPr/>
            </a:pPr>
            <a:r>
              <a:rPr lang="pt-BR"/>
              <a:t>Diabetes Competition Monitor</a:t>
            </a:r>
            <a:endParaRPr lang="en-GB" dirty="0"/>
          </a:p>
        </p:txBody>
      </p:sp>
      <p:sp>
        <p:nvSpPr>
          <p:cNvPr id="6" name="Slide Number Placeholder 3"/>
          <p:cNvSpPr>
            <a:spLocks noGrp="1"/>
          </p:cNvSpPr>
          <p:nvPr>
            <p:ph type="sldNum" sz="quarter" idx="15"/>
          </p:nvPr>
        </p:nvSpPr>
        <p:spPr>
          <a:xfrm>
            <a:off x="7519990" y="96447"/>
            <a:ext cx="901700" cy="173831"/>
          </a:xfrm>
        </p:spPr>
        <p:txBody>
          <a:bodyPr/>
          <a:lstStyle>
            <a:lvl1pPr>
              <a:defRPr>
                <a:ea typeface="ヒラギノ角ゴ Pro W3"/>
                <a:cs typeface="ヒラギノ角ゴ Pro W3"/>
              </a:defRPr>
            </a:lvl1pPr>
          </a:lstStyle>
          <a:p>
            <a:pPr>
              <a:defRPr/>
            </a:pPr>
            <a:fld id="{1F4B2393-D7D6-40F9-BDBB-F5997BAC1259}" type="slidenum">
              <a:rPr lang="en-GB"/>
              <a:pPr>
                <a:defRPr/>
              </a:pPr>
              <a:t>‹#›</a:t>
            </a:fld>
            <a:endParaRPr lang="en-GB"/>
          </a:p>
        </p:txBody>
      </p:sp>
      <p:sp>
        <p:nvSpPr>
          <p:cNvPr id="7" name="Date Placeholder 4"/>
          <p:cNvSpPr>
            <a:spLocks noGrp="1"/>
          </p:cNvSpPr>
          <p:nvPr>
            <p:ph type="dt" sz="half" idx="16"/>
          </p:nvPr>
        </p:nvSpPr>
        <p:spPr>
          <a:xfrm>
            <a:off x="6064252" y="96441"/>
            <a:ext cx="1454150" cy="171450"/>
          </a:xfrm>
        </p:spPr>
        <p:txBody>
          <a:bodyPr/>
          <a:lstStyle>
            <a:lvl1pPr fontAlgn="auto">
              <a:spcBef>
                <a:spcPts val="0"/>
              </a:spcBef>
              <a:spcAft>
                <a:spcPts val="0"/>
              </a:spcAft>
              <a:defRPr>
                <a:ea typeface="ヒラギノ角ゴ Pro W3"/>
                <a:cs typeface="ヒラギノ角ゴ Pro W3"/>
              </a:defRPr>
            </a:lvl1pPr>
          </a:lstStyle>
          <a:p>
            <a:pPr>
              <a:defRPr/>
            </a:pPr>
            <a:r>
              <a:rPr lang="en-US"/>
              <a:t>Q4 2012</a:t>
            </a:r>
            <a:endParaRPr lang="en-GB"/>
          </a:p>
        </p:txBody>
      </p:sp>
    </p:spTree>
    <p:extLst>
      <p:ext uri="{BB962C8B-B14F-4D97-AF65-F5344CB8AC3E}">
        <p14:creationId xmlns:p14="http://schemas.microsoft.com/office/powerpoint/2010/main" val="280237925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2C655760-C8B2-46D2-AF98-1FFF683BDCA4}" type="slidenum">
              <a:rPr lang="en-GB"/>
              <a:pPr>
                <a:defRPr/>
              </a:pPr>
              <a:t>‹#›</a:t>
            </a:fld>
            <a:endParaRPr lang="en-GB"/>
          </a:p>
        </p:txBody>
      </p:sp>
      <p:sp>
        <p:nvSpPr>
          <p:cNvPr id="3" name="Footer Placeholder 2"/>
          <p:cNvSpPr>
            <a:spLocks noGrp="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4" name="Date Placeholder 3"/>
          <p:cNvSpPr>
            <a:spLocks noGrp="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14795196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15949" y="1200159"/>
            <a:ext cx="4008437" cy="321587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76789" y="1200159"/>
            <a:ext cx="4010025" cy="321587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Text Placeholder 5"/>
          <p:cNvSpPr>
            <a:spLocks noGrp="1"/>
          </p:cNvSpPr>
          <p:nvPr>
            <p:ph type="body" sz="quarter" idx="10"/>
          </p:nvPr>
        </p:nvSpPr>
        <p:spPr>
          <a:xfrm>
            <a:off x="542448" y="4845338"/>
            <a:ext cx="8128487" cy="153888"/>
          </a:xfrm>
        </p:spPr>
        <p:txBody>
          <a:bodyPr rIns="0" anchor="b">
            <a:spAutoFit/>
          </a:bodyPr>
          <a:lstStyle>
            <a:lvl1pPr marL="0" indent="0">
              <a:buFontTx/>
              <a:buNone/>
              <a:defRPr sz="1000">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extLst>
      <p:ext uri="{BB962C8B-B14F-4D97-AF65-F5344CB8AC3E}">
        <p14:creationId xmlns:p14="http://schemas.microsoft.com/office/powerpoint/2010/main" val="33889189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smtClean="0"/>
              <a:t>Click to edit Master title style</a:t>
            </a:r>
            <a:endParaRPr lang="en-US" dirty="0"/>
          </a:p>
        </p:txBody>
      </p:sp>
      <p:sp>
        <p:nvSpPr>
          <p:cNvPr id="15" name="Content Placeholder 2"/>
          <p:cNvSpPr>
            <a:spLocks noGrp="1"/>
          </p:cNvSpPr>
          <p:nvPr>
            <p:ph idx="10"/>
          </p:nvPr>
        </p:nvSpPr>
        <p:spPr>
          <a:xfrm>
            <a:off x="612648" y="4935916"/>
            <a:ext cx="7763256" cy="153888"/>
          </a:xfrm>
        </p:spPr>
        <p:txBody>
          <a:bodyPr anchor="b">
            <a:noAutofit/>
          </a:bodyPr>
          <a:lstStyle>
            <a:lvl1pPr marL="0" indent="0">
              <a:spcBef>
                <a:spcPts val="0"/>
              </a:spcBef>
              <a:spcAft>
                <a:spcPts val="0"/>
              </a:spcAft>
              <a:buNone/>
              <a:defRPr sz="1000"/>
            </a:lvl1pPr>
            <a:lvl2pPr marL="468313" indent="0">
              <a:buNone/>
              <a:defRPr sz="900"/>
            </a:lvl2pPr>
            <a:lvl3pPr marL="952500" indent="0">
              <a:buNone/>
              <a:defRPr sz="900"/>
            </a:lvl3pPr>
            <a:lvl4pPr marL="1414462" indent="0">
              <a:buNone/>
              <a:defRPr sz="900"/>
            </a:lvl4pPr>
            <a:lvl5pPr marL="1873250" indent="0">
              <a:buNone/>
              <a:defRPr sz="900"/>
            </a:lvl5pPr>
          </a:lstStyle>
          <a:p>
            <a:pPr lvl="0"/>
            <a:r>
              <a:rPr lang="en-US" noProof="0" dirty="0" smtClean="0"/>
              <a:t>Click to edit Master text styles</a:t>
            </a:r>
          </a:p>
        </p:txBody>
      </p:sp>
      <p:sp>
        <p:nvSpPr>
          <p:cNvPr id="4" name="Text Placeholder 3"/>
          <p:cNvSpPr>
            <a:spLocks noGrp="1"/>
          </p:cNvSpPr>
          <p:nvPr>
            <p:ph type="body" sz="quarter" idx="14"/>
          </p:nvPr>
        </p:nvSpPr>
        <p:spPr>
          <a:xfrm>
            <a:off x="614373" y="4619712"/>
            <a:ext cx="7924799" cy="133349"/>
          </a:xfrm>
        </p:spPr>
        <p:txBody>
          <a:bodyPr/>
          <a:lstStyle>
            <a:lvl1pPr marL="0" indent="0">
              <a:buNone/>
              <a:defRPr sz="900"/>
            </a:lvl1pPr>
          </a:lstStyle>
          <a:p>
            <a:pPr lvl="0"/>
            <a:endParaRPr lang="en-GB" dirty="0"/>
          </a:p>
        </p:txBody>
      </p:sp>
    </p:spTree>
    <p:extLst>
      <p:ext uri="{BB962C8B-B14F-4D97-AF65-F5344CB8AC3E}">
        <p14:creationId xmlns:p14="http://schemas.microsoft.com/office/powerpoint/2010/main" val="21390660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6FFEE096-3253-4A87-BE4E-DBC0CA66398C}" type="slidenum">
              <a:rPr lang="en-GB"/>
              <a:pPr>
                <a:defRPr/>
              </a:pPr>
              <a:t>‹#›</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12"/>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4185586624"/>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8604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noChangeArrowheads="1"/>
          </p:cNvSpPr>
          <p:nvPr>
            <p:ph type="ftr" sz="quarter" idx="10"/>
          </p:nvPr>
        </p:nvSpPr>
        <p:spPr>
          <a:xfrm>
            <a:off x="4173540" y="103240"/>
            <a:ext cx="2900363" cy="101600"/>
          </a:xfrm>
          <a:prstGeom prst="rect">
            <a:avLst/>
          </a:prstGeom>
        </p:spPr>
        <p:txBody>
          <a:bodyPr/>
          <a:lstStyle>
            <a:lvl1pPr>
              <a:defRPr/>
            </a:lvl1pPr>
          </a:lstStyle>
          <a:p>
            <a:pPr>
              <a:defRPr/>
            </a:pPr>
            <a:r>
              <a:rPr lang="en-GB" dirty="0">
                <a:solidFill>
                  <a:srgbClr val="001965"/>
                </a:solidFill>
              </a:rPr>
              <a:t>Clinical trial design and results template</a:t>
            </a:r>
          </a:p>
        </p:txBody>
      </p:sp>
      <p:sp>
        <p:nvSpPr>
          <p:cNvPr id="6" name="Slide Number Placeholder 5"/>
          <p:cNvSpPr>
            <a:spLocks noGrp="1" noChangeArrowheads="1"/>
          </p:cNvSpPr>
          <p:nvPr>
            <p:ph type="sldNum" sz="quarter" idx="11"/>
          </p:nvPr>
        </p:nvSpPr>
        <p:spPr>
          <a:xfrm>
            <a:off x="8320089" y="104827"/>
            <a:ext cx="506412" cy="101600"/>
          </a:xfrm>
          <a:prstGeom prst="rect">
            <a:avLst/>
          </a:prstGeom>
        </p:spPr>
        <p:txBody>
          <a:bodyPr/>
          <a:lstStyle>
            <a:lvl1pPr>
              <a:defRPr/>
            </a:lvl1pPr>
          </a:lstStyle>
          <a:p>
            <a:pPr>
              <a:defRPr/>
            </a:pPr>
            <a:r>
              <a:rPr lang="en-GB" altLang="en-US" dirty="0">
                <a:solidFill>
                  <a:srgbClr val="001965"/>
                </a:solidFill>
              </a:rPr>
              <a:t>Slide no </a:t>
            </a:r>
            <a:fld id="{E895D752-AFED-4F24-8742-3FA493A83868}" type="slidenum">
              <a:rPr lang="en-GB" altLang="en-US">
                <a:solidFill>
                  <a:srgbClr val="001965"/>
                </a:solidFill>
              </a:rPr>
              <a:pPr>
                <a:defRPr/>
              </a:pPr>
              <a:t>‹#›</a:t>
            </a:fld>
            <a:endParaRPr lang="en-GB" altLang="en-US" dirty="0">
              <a:solidFill>
                <a:srgbClr val="001965"/>
              </a:solidFill>
            </a:endParaRPr>
          </a:p>
        </p:txBody>
      </p:sp>
      <p:sp>
        <p:nvSpPr>
          <p:cNvPr id="7" name="Date Placeholder 6"/>
          <p:cNvSpPr>
            <a:spLocks noGrp="1" noChangeArrowheads="1"/>
          </p:cNvSpPr>
          <p:nvPr>
            <p:ph type="dt" sz="half" idx="12"/>
          </p:nvPr>
        </p:nvSpPr>
        <p:spPr>
          <a:xfrm>
            <a:off x="7240632" y="103240"/>
            <a:ext cx="998537" cy="101600"/>
          </a:xfrm>
          <a:prstGeom prst="rect">
            <a:avLst/>
          </a:prstGeom>
        </p:spPr>
        <p:txBody>
          <a:bodyPr/>
          <a:lstStyle>
            <a:lvl1pPr>
              <a:defRPr/>
            </a:lvl1pPr>
          </a:lstStyle>
          <a:p>
            <a:pPr>
              <a:defRPr/>
            </a:pPr>
            <a:r>
              <a:rPr lang="en-US" dirty="0">
                <a:solidFill>
                  <a:srgbClr val="001965"/>
                </a:solidFill>
              </a:rPr>
              <a:t>Date</a:t>
            </a:r>
            <a:endParaRPr lang="en-GB" dirty="0">
              <a:solidFill>
                <a:srgbClr val="001965"/>
              </a:solidFill>
            </a:endParaRPr>
          </a:p>
        </p:txBody>
      </p:sp>
    </p:spTree>
    <p:extLst>
      <p:ext uri="{BB962C8B-B14F-4D97-AF65-F5344CB8AC3E}">
        <p14:creationId xmlns:p14="http://schemas.microsoft.com/office/powerpoint/2010/main" val="271036544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006503"/>
            <a:ext cx="8510400" cy="3261515"/>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1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0" y="4213924"/>
            <a:ext cx="8509700" cy="770826"/>
          </a:xfrm>
        </p:spPr>
        <p:txBody>
          <a:bodyPr anchor="b"/>
          <a:lstStyle>
            <a:lvl1pPr marL="0" marR="0" indent="0" algn="l" defTabSz="91440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Please enter footnotes and references here.</a:t>
            </a:r>
          </a:p>
          <a:p>
            <a:r>
              <a:rPr lang="da-DK" dirty="0"/>
              <a:t>[Set to NN Granite grey; Verdana (body) 8pt]</a:t>
            </a:r>
          </a:p>
        </p:txBody>
      </p:sp>
    </p:spTree>
    <p:extLst>
      <p:ext uri="{BB962C8B-B14F-4D97-AF65-F5344CB8AC3E}">
        <p14:creationId xmlns:p14="http://schemas.microsoft.com/office/powerpoint/2010/main" val="1488590201"/>
      </p:ext>
    </p:extLst>
  </p:cSld>
  <p:clrMapOvr>
    <a:masterClrMapping/>
  </p:clrMapOvr>
  <p:transition/>
  <p:extLst mod="1">
    <p:ext uri="{DCECCB84-F9BA-43D5-87BE-67443E8EF086}">
      <p15:sldGuideLst xmlns:p15="http://schemas.microsoft.com/office/powerpoint/2012/main" xmlns="">
        <p15:guide id="1" orient="horz" pos="3140">
          <p15:clr>
            <a:srgbClr val="FBAE40"/>
          </p15:clr>
        </p15:guide>
        <p15:guide id="2" pos="28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463" y="520707"/>
            <a:ext cx="9124950" cy="301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userDrawn="1"/>
        </p:nvSpPr>
        <p:spPr>
          <a:xfrm>
            <a:off x="7453315" y="4241888"/>
            <a:ext cx="1435100" cy="715581"/>
          </a:xfrm>
          <a:prstGeom prst="rect">
            <a:avLst/>
          </a:prstGeom>
          <a:solidFill>
            <a:schemeClr val="bg1"/>
          </a:solidFill>
          <a:ln>
            <a:noFill/>
          </a:ln>
        </p:spPr>
        <p:txBody>
          <a:bodyPr lIns="68580" tIns="34290" rIns="68580" bIns="34290">
            <a:spAutoFit/>
          </a:bodyPr>
          <a:lstStyle/>
          <a:p>
            <a:pPr defTabSz="342797">
              <a:defRPr/>
            </a:pPr>
            <a:endParaRPr lang="en-GB" sz="1400" dirty="0">
              <a:solidFill>
                <a:srgbClr val="002060"/>
              </a:solidFill>
              <a:latin typeface="Arial" charset="0"/>
              <a:ea typeface="ＭＳ Ｐゴシック" pitchFamily="-106" charset="-128"/>
              <a:cs typeface="Arial" charset="0"/>
            </a:endParaRPr>
          </a:p>
          <a:p>
            <a:pPr defTabSz="342797">
              <a:defRPr/>
            </a:pPr>
            <a:endParaRPr lang="en-GB" sz="1400" dirty="0">
              <a:solidFill>
                <a:srgbClr val="002060"/>
              </a:solidFill>
              <a:latin typeface="Arial" charset="0"/>
              <a:ea typeface="ＭＳ Ｐゴシック" pitchFamily="-106" charset="-128"/>
              <a:cs typeface="Arial" charset="0"/>
            </a:endParaRPr>
          </a:p>
          <a:p>
            <a:pPr defTabSz="342797">
              <a:defRPr/>
            </a:pPr>
            <a:endParaRPr lang="en-GB" sz="1400" dirty="0">
              <a:solidFill>
                <a:srgbClr val="002060"/>
              </a:solidFill>
              <a:latin typeface="Arial" charset="0"/>
              <a:ea typeface="ＭＳ Ｐゴシック" pitchFamily="-106" charset="-128"/>
              <a:cs typeface="Arial" charset="0"/>
            </a:endParaRPr>
          </a:p>
        </p:txBody>
      </p:sp>
      <p:sp>
        <p:nvSpPr>
          <p:cNvPr id="6" name="Rectangle 7"/>
          <p:cNvSpPr/>
          <p:nvPr userDrawn="1"/>
        </p:nvSpPr>
        <p:spPr>
          <a:xfrm>
            <a:off x="319088" y="141288"/>
            <a:ext cx="8147050" cy="54451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anchor="ctr"/>
          <a:lstStyle/>
          <a:p>
            <a:pPr algn="ctr">
              <a:defRPr/>
            </a:pPr>
            <a:endParaRPr lang="en-GB" sz="1400">
              <a:solidFill>
                <a:prstClr val="white"/>
              </a:solidFill>
            </a:endParaRPr>
          </a:p>
        </p:txBody>
      </p:sp>
      <p:sp>
        <p:nvSpPr>
          <p:cNvPr id="3" name="Subtitle 2"/>
          <p:cNvSpPr>
            <a:spLocks noGrp="1"/>
          </p:cNvSpPr>
          <p:nvPr>
            <p:ph type="subTitle" idx="1"/>
          </p:nvPr>
        </p:nvSpPr>
        <p:spPr>
          <a:xfrm>
            <a:off x="1286540" y="2373011"/>
            <a:ext cx="7325832" cy="702077"/>
          </a:xfrm>
        </p:spPr>
        <p:txBody>
          <a:bodyPr anchor="ctr">
            <a:noAutofit/>
          </a:bodyPr>
          <a:lstStyle>
            <a:lvl1pPr marL="0" indent="0" algn="l">
              <a:buNone/>
              <a:defRPr sz="1800" b="1">
                <a:solidFill>
                  <a:schemeClr val="bg1"/>
                </a:solidFill>
                <a:latin typeface="Verdana"/>
                <a:cs typeface="Verdana"/>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en-US" smtClean="0"/>
              <a:t>Click to edit Master subtitle style</a:t>
            </a:r>
            <a:endParaRPr lang="en-US" dirty="0"/>
          </a:p>
        </p:txBody>
      </p:sp>
      <p:sp>
        <p:nvSpPr>
          <p:cNvPr id="9" name="Text Placeholder 8"/>
          <p:cNvSpPr>
            <a:spLocks noGrp="1"/>
          </p:cNvSpPr>
          <p:nvPr>
            <p:ph type="body" idx="10"/>
          </p:nvPr>
        </p:nvSpPr>
        <p:spPr>
          <a:xfrm>
            <a:off x="618064" y="1307811"/>
            <a:ext cx="7230984" cy="723886"/>
          </a:xfrm>
        </p:spPr>
        <p:txBody>
          <a:bodyPr anchor="ctr"/>
          <a:lstStyle>
            <a:lvl1pPr marL="0" indent="0">
              <a:buNone/>
              <a:defRPr sz="2100" b="1">
                <a:solidFill>
                  <a:srgbClr val="003366"/>
                </a:solidFill>
                <a:latin typeface="Verdana"/>
                <a:cs typeface="Verdana"/>
              </a:defRPr>
            </a:lvl1pPr>
            <a:lvl2pPr>
              <a:buFont typeface="Arial"/>
              <a:buChar char="•"/>
              <a:defRPr sz="1100">
                <a:solidFill>
                  <a:srgbClr val="003366"/>
                </a:solidFill>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US" smtClean="0"/>
              <a:t>Click to edit Master text styles</a:t>
            </a:r>
          </a:p>
        </p:txBody>
      </p:sp>
    </p:spTree>
    <p:extLst>
      <p:ext uri="{BB962C8B-B14F-4D97-AF65-F5344CB8AC3E}">
        <p14:creationId xmlns:p14="http://schemas.microsoft.com/office/powerpoint/2010/main" val="379573320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910"/>
            <a:ext cx="3542400" cy="1531543"/>
          </a:xfrm>
        </p:spPr>
        <p:txBody>
          <a:bodyPr anchor="b"/>
          <a:lstStyle>
            <a:lvl1pPr algn="r">
              <a:lnSpc>
                <a:spcPct val="85000"/>
              </a:lnSpc>
              <a:defRPr sz="32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5283922" y="3025464"/>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smtClean="0"/>
              <a:t>Click to edit Master subtitle style</a:t>
            </a:r>
            <a:endParaRPr lang="en-GB" noProof="0" dirty="0" smtClean="0"/>
          </a:p>
        </p:txBody>
      </p:sp>
    </p:spTree>
    <p:extLst>
      <p:ext uri="{BB962C8B-B14F-4D97-AF65-F5344CB8AC3E}">
        <p14:creationId xmlns:p14="http://schemas.microsoft.com/office/powerpoint/2010/main" val="13679539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1321182118"/>
      </p:ext>
    </p:extLst>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35"/>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dirty="0" smtClean="0"/>
              <a:t>Click to edit Master title style</a:t>
            </a:r>
            <a:endParaRPr lang="en-GB" noProof="0" dirty="0"/>
          </a:p>
        </p:txBody>
      </p:sp>
      <p:sp>
        <p:nvSpPr>
          <p:cNvPr id="8" name="Text Placeholder 11"/>
          <p:cNvSpPr>
            <a:spLocks noGrp="1"/>
          </p:cNvSpPr>
          <p:nvPr>
            <p:ph type="body" sz="quarter" idx="13" hasCustomPrompt="1"/>
          </p:nvPr>
        </p:nvSpPr>
        <p:spPr>
          <a:xfrm>
            <a:off x="316809" y="4479437"/>
            <a:ext cx="8510399" cy="664065"/>
          </a:xfrm>
        </p:spPr>
        <p:txBody>
          <a:bodyPr lIns="0" rIns="90000" bIns="90000" anchor="b" anchorCtr="0"/>
          <a:lstStyle>
            <a:lvl1pPr marL="0" indent="0" algn="l" rtl="0" fontAlgn="base">
              <a:spcBef>
                <a:spcPct val="0"/>
              </a:spcBef>
              <a:spcAft>
                <a:spcPct val="0"/>
              </a:spcAft>
              <a:buNone/>
              <a:defRPr lang="en-US" sz="800" kern="1200" baseline="0" dirty="0" smtClean="0">
                <a:solidFill>
                  <a:srgbClr val="82786F"/>
                </a:solidFill>
                <a:latin typeface="Verdana" pitchFamily="34" charset="0"/>
                <a:ea typeface="+mn-ea"/>
                <a:cs typeface="Arial" charset="0"/>
              </a:defRPr>
            </a:lvl1pPr>
            <a:lvl2pPr marL="265112"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2pPr>
            <a:lvl3pPr marL="536575"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3pPr>
            <a:lvl4pPr marL="808038"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4pPr>
            <a:lvl5pPr marL="1073150" indent="0" algn="l" rtl="0" fontAlgn="base">
              <a:spcBef>
                <a:spcPct val="0"/>
              </a:spcBef>
              <a:spcAft>
                <a:spcPct val="0"/>
              </a:spcAft>
              <a:buNone/>
              <a:defRPr lang="en-GB" sz="800" kern="1200" dirty="0">
                <a:solidFill>
                  <a:srgbClr val="82786F"/>
                </a:solidFill>
                <a:latin typeface="Verdana" pitchFamily="34" charset="0"/>
                <a:ea typeface="+mn-ea"/>
                <a:cs typeface="Arial" charset="0"/>
              </a:defRPr>
            </a:lvl5pPr>
          </a:lstStyle>
          <a:p>
            <a:r>
              <a:rPr lang="en-GB" sz="800" dirty="0" smtClean="0">
                <a:solidFill>
                  <a:srgbClr val="82786F"/>
                </a:solidFill>
              </a:rPr>
              <a:t>Click to add footnotes</a:t>
            </a:r>
            <a:endParaRPr lang="en-GB" sz="800" dirty="0">
              <a:solidFill>
                <a:srgbClr val="82786F"/>
              </a:solidFill>
            </a:endParaRPr>
          </a:p>
        </p:txBody>
      </p:sp>
    </p:spTree>
    <p:extLst>
      <p:ext uri="{BB962C8B-B14F-4D97-AF65-F5344CB8AC3E}">
        <p14:creationId xmlns:p14="http://schemas.microsoft.com/office/powerpoint/2010/main" val="1851414397"/>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3"/>
            <a:ext cx="8510400" cy="391412"/>
          </a:xfrm>
        </p:spPr>
        <p:txBody>
          <a:bodyPr/>
          <a:lstStyle>
            <a:lvl1pPr>
              <a:defRPr sz="2400"/>
            </a:lvl1pPr>
          </a:lstStyle>
          <a:p>
            <a:r>
              <a:rPr lang="en-US" noProof="0" dirty="0" smtClean="0"/>
              <a:t>Click to edit Master title style</a:t>
            </a:r>
            <a:endParaRPr lang="en-GB" noProof="0" dirty="0"/>
          </a:p>
        </p:txBody>
      </p:sp>
      <p:sp>
        <p:nvSpPr>
          <p:cNvPr id="36" name="Content Placeholder 2"/>
          <p:cNvSpPr>
            <a:spLocks noGrp="1"/>
          </p:cNvSpPr>
          <p:nvPr>
            <p:ph idx="1"/>
          </p:nvPr>
        </p:nvSpPr>
        <p:spPr>
          <a:xfrm>
            <a:off x="316801" y="1312235"/>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11"/>
          <p:cNvSpPr>
            <a:spLocks noGrp="1"/>
          </p:cNvSpPr>
          <p:nvPr>
            <p:ph type="body" sz="quarter" idx="13" hasCustomPrompt="1"/>
          </p:nvPr>
        </p:nvSpPr>
        <p:spPr>
          <a:xfrm>
            <a:off x="316809" y="4479437"/>
            <a:ext cx="8510399" cy="664065"/>
          </a:xfrm>
        </p:spPr>
        <p:txBody>
          <a:bodyPr lIns="0" rIns="90000" bIns="90000" anchor="b" anchorCtr="0"/>
          <a:lstStyle>
            <a:lvl1pPr marL="0" indent="0" algn="l" rtl="0" fontAlgn="base">
              <a:spcBef>
                <a:spcPct val="0"/>
              </a:spcBef>
              <a:spcAft>
                <a:spcPct val="0"/>
              </a:spcAft>
              <a:buNone/>
              <a:defRPr lang="en-US" sz="800" kern="1200" baseline="0" dirty="0" smtClean="0">
                <a:solidFill>
                  <a:srgbClr val="82786F"/>
                </a:solidFill>
                <a:latin typeface="Verdana" pitchFamily="34" charset="0"/>
                <a:ea typeface="+mn-ea"/>
                <a:cs typeface="Arial" charset="0"/>
              </a:defRPr>
            </a:lvl1pPr>
            <a:lvl2pPr marL="265112"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2pPr>
            <a:lvl3pPr marL="536575"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3pPr>
            <a:lvl4pPr marL="808038"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4pPr>
            <a:lvl5pPr marL="1073150" indent="0" algn="l" rtl="0" fontAlgn="base">
              <a:spcBef>
                <a:spcPct val="0"/>
              </a:spcBef>
              <a:spcAft>
                <a:spcPct val="0"/>
              </a:spcAft>
              <a:buNone/>
              <a:defRPr lang="en-GB" sz="800" kern="1200" dirty="0">
                <a:solidFill>
                  <a:srgbClr val="82786F"/>
                </a:solidFill>
                <a:latin typeface="Verdana" pitchFamily="34" charset="0"/>
                <a:ea typeface="+mn-ea"/>
                <a:cs typeface="Arial" charset="0"/>
              </a:defRPr>
            </a:lvl5pPr>
          </a:lstStyle>
          <a:p>
            <a:r>
              <a:rPr lang="en-GB" sz="800" dirty="0" smtClean="0">
                <a:solidFill>
                  <a:srgbClr val="82786F"/>
                </a:solidFill>
              </a:rPr>
              <a:t>Click to add footnotes</a:t>
            </a:r>
            <a:endParaRPr lang="en-GB" sz="800" dirty="0">
              <a:solidFill>
                <a:srgbClr val="82786F"/>
              </a:solidFill>
            </a:endParaRPr>
          </a:p>
        </p:txBody>
      </p:sp>
    </p:spTree>
    <p:extLst>
      <p:ext uri="{BB962C8B-B14F-4D97-AF65-F5344CB8AC3E}">
        <p14:creationId xmlns:p14="http://schemas.microsoft.com/office/powerpoint/2010/main" val="4010671084"/>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3"/>
            <a:ext cx="8510400" cy="391412"/>
          </a:xfrm>
        </p:spPr>
        <p:txBody>
          <a:bodyPr/>
          <a:lstStyle>
            <a:lvl1pPr>
              <a:defRPr sz="2400"/>
            </a:lvl1pPr>
          </a:lstStyle>
          <a:p>
            <a:r>
              <a:rPr lang="en-US" noProof="0" dirty="0" smtClean="0"/>
              <a:t>Click to edit Master title style</a:t>
            </a:r>
            <a:endParaRPr lang="en-GB" noProof="0" dirty="0"/>
          </a:p>
        </p:txBody>
      </p:sp>
      <p:sp>
        <p:nvSpPr>
          <p:cNvPr id="24" name="Content Placeholder 2"/>
          <p:cNvSpPr>
            <a:spLocks noGrp="1"/>
          </p:cNvSpPr>
          <p:nvPr>
            <p:ph idx="1"/>
          </p:nvPr>
        </p:nvSpPr>
        <p:spPr>
          <a:xfrm>
            <a:off x="316800" y="1312272"/>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5" name="Content Placeholder 2"/>
          <p:cNvSpPr>
            <a:spLocks noGrp="1"/>
          </p:cNvSpPr>
          <p:nvPr>
            <p:ph idx="25"/>
          </p:nvPr>
        </p:nvSpPr>
        <p:spPr>
          <a:xfrm>
            <a:off x="316800" y="2873517"/>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11"/>
          <p:cNvSpPr>
            <a:spLocks noGrp="1"/>
          </p:cNvSpPr>
          <p:nvPr>
            <p:ph type="body" sz="quarter" idx="13" hasCustomPrompt="1"/>
          </p:nvPr>
        </p:nvSpPr>
        <p:spPr>
          <a:xfrm>
            <a:off x="316809" y="4479437"/>
            <a:ext cx="8510399" cy="664065"/>
          </a:xfrm>
        </p:spPr>
        <p:txBody>
          <a:bodyPr lIns="0" rIns="90000" bIns="90000" anchor="b" anchorCtr="0"/>
          <a:lstStyle>
            <a:lvl1pPr marL="0" indent="0" algn="l" rtl="0" fontAlgn="base">
              <a:spcBef>
                <a:spcPct val="0"/>
              </a:spcBef>
              <a:spcAft>
                <a:spcPct val="0"/>
              </a:spcAft>
              <a:buNone/>
              <a:defRPr lang="en-US" sz="800" kern="1200" baseline="0" dirty="0" smtClean="0">
                <a:solidFill>
                  <a:srgbClr val="82786F"/>
                </a:solidFill>
                <a:latin typeface="Verdana" pitchFamily="34" charset="0"/>
                <a:ea typeface="+mn-ea"/>
                <a:cs typeface="Arial" charset="0"/>
              </a:defRPr>
            </a:lvl1pPr>
            <a:lvl2pPr marL="265112"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2pPr>
            <a:lvl3pPr marL="536575"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3pPr>
            <a:lvl4pPr marL="808038"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4pPr>
            <a:lvl5pPr marL="1073150" indent="0" algn="l" rtl="0" fontAlgn="base">
              <a:spcBef>
                <a:spcPct val="0"/>
              </a:spcBef>
              <a:spcAft>
                <a:spcPct val="0"/>
              </a:spcAft>
              <a:buNone/>
              <a:defRPr lang="en-GB" sz="800" kern="1200" dirty="0">
                <a:solidFill>
                  <a:srgbClr val="82786F"/>
                </a:solidFill>
                <a:latin typeface="Verdana" pitchFamily="34" charset="0"/>
                <a:ea typeface="+mn-ea"/>
                <a:cs typeface="Arial" charset="0"/>
              </a:defRPr>
            </a:lvl5pPr>
          </a:lstStyle>
          <a:p>
            <a:r>
              <a:rPr lang="en-GB" sz="800" dirty="0" smtClean="0">
                <a:solidFill>
                  <a:srgbClr val="82786F"/>
                </a:solidFill>
              </a:rPr>
              <a:t>Click to add footnotes</a:t>
            </a:r>
            <a:endParaRPr lang="en-GB" sz="800" dirty="0">
              <a:solidFill>
                <a:srgbClr val="82786F"/>
              </a:solidFill>
            </a:endParaRPr>
          </a:p>
        </p:txBody>
      </p:sp>
    </p:spTree>
    <p:extLst>
      <p:ext uri="{BB962C8B-B14F-4D97-AF65-F5344CB8AC3E}">
        <p14:creationId xmlns:p14="http://schemas.microsoft.com/office/powerpoint/2010/main" val="937652137"/>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515423"/>
            <a:ext cx="8510400" cy="391412"/>
          </a:xfrm>
        </p:spPr>
        <p:txBody>
          <a:bodyPr/>
          <a:lstStyle>
            <a:lvl1pPr>
              <a:defRPr sz="2400"/>
            </a:lvl1pPr>
          </a:lstStyle>
          <a:p>
            <a:r>
              <a:rPr lang="en-US" noProof="0" dirty="0" smtClean="0"/>
              <a:t>Click to edit Master title style</a:t>
            </a:r>
            <a:endParaRPr lang="en-GB" noProof="0" dirty="0"/>
          </a:p>
        </p:txBody>
      </p:sp>
      <p:sp>
        <p:nvSpPr>
          <p:cNvPr id="27" name="Content Placeholder 2"/>
          <p:cNvSpPr>
            <a:spLocks noGrp="1"/>
          </p:cNvSpPr>
          <p:nvPr>
            <p:ph idx="1"/>
          </p:nvPr>
        </p:nvSpPr>
        <p:spPr>
          <a:xfrm>
            <a:off x="316800" y="1312235"/>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0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8" name="Content Placeholder 2"/>
          <p:cNvSpPr>
            <a:spLocks noGrp="1"/>
          </p:cNvSpPr>
          <p:nvPr>
            <p:ph idx="10"/>
          </p:nvPr>
        </p:nvSpPr>
        <p:spPr>
          <a:xfrm>
            <a:off x="3260377" y="1312235"/>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0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9" name="Content Placeholder 2"/>
          <p:cNvSpPr>
            <a:spLocks noGrp="1"/>
          </p:cNvSpPr>
          <p:nvPr>
            <p:ph idx="11"/>
          </p:nvPr>
        </p:nvSpPr>
        <p:spPr>
          <a:xfrm>
            <a:off x="6203950" y="1312235"/>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0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9" name="Text Placeholder 11"/>
          <p:cNvSpPr>
            <a:spLocks noGrp="1"/>
          </p:cNvSpPr>
          <p:nvPr>
            <p:ph type="body" sz="quarter" idx="13" hasCustomPrompt="1"/>
          </p:nvPr>
        </p:nvSpPr>
        <p:spPr>
          <a:xfrm>
            <a:off x="316809" y="4479437"/>
            <a:ext cx="8510399" cy="664065"/>
          </a:xfrm>
        </p:spPr>
        <p:txBody>
          <a:bodyPr lIns="0" rIns="90000" bIns="90000" anchor="b" anchorCtr="0"/>
          <a:lstStyle>
            <a:lvl1pPr marL="0" indent="0" algn="l" rtl="0" fontAlgn="base">
              <a:spcBef>
                <a:spcPct val="0"/>
              </a:spcBef>
              <a:spcAft>
                <a:spcPct val="0"/>
              </a:spcAft>
              <a:buNone/>
              <a:defRPr lang="en-US" sz="800" kern="1200" baseline="0" dirty="0" smtClean="0">
                <a:solidFill>
                  <a:srgbClr val="82786F"/>
                </a:solidFill>
                <a:latin typeface="Verdana" pitchFamily="34" charset="0"/>
                <a:ea typeface="+mn-ea"/>
                <a:cs typeface="Arial" charset="0"/>
              </a:defRPr>
            </a:lvl1pPr>
            <a:lvl2pPr marL="265112"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2pPr>
            <a:lvl3pPr marL="536575"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3pPr>
            <a:lvl4pPr marL="808038"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4pPr>
            <a:lvl5pPr marL="1073150" indent="0" algn="l" rtl="0" fontAlgn="base">
              <a:spcBef>
                <a:spcPct val="0"/>
              </a:spcBef>
              <a:spcAft>
                <a:spcPct val="0"/>
              </a:spcAft>
              <a:buNone/>
              <a:defRPr lang="en-GB" sz="800" kern="1200" dirty="0">
                <a:solidFill>
                  <a:srgbClr val="82786F"/>
                </a:solidFill>
                <a:latin typeface="Verdana" pitchFamily="34" charset="0"/>
                <a:ea typeface="+mn-ea"/>
                <a:cs typeface="Arial" charset="0"/>
              </a:defRPr>
            </a:lvl5pPr>
          </a:lstStyle>
          <a:p>
            <a:r>
              <a:rPr lang="en-GB" sz="800" dirty="0" smtClean="0">
                <a:solidFill>
                  <a:srgbClr val="82786F"/>
                </a:solidFill>
              </a:rPr>
              <a:t>Click to add footnotes</a:t>
            </a:r>
            <a:endParaRPr lang="en-GB" sz="800" dirty="0">
              <a:solidFill>
                <a:srgbClr val="82786F"/>
              </a:solidFill>
            </a:endParaRPr>
          </a:p>
        </p:txBody>
      </p:sp>
    </p:spTree>
    <p:extLst>
      <p:ext uri="{BB962C8B-B14F-4D97-AF65-F5344CB8AC3E}">
        <p14:creationId xmlns:p14="http://schemas.microsoft.com/office/powerpoint/2010/main" val="1621689234"/>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Norm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Tree>
    <p:extLst>
      <p:ext uri="{BB962C8B-B14F-4D97-AF65-F5344CB8AC3E}">
        <p14:creationId xmlns:p14="http://schemas.microsoft.com/office/powerpoint/2010/main" val="4118659204"/>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3"/>
            <a:ext cx="8510400" cy="391412"/>
          </a:xfrm>
        </p:spPr>
        <p:txBody>
          <a:bodyPr anchor="ctr" anchorCtr="0"/>
          <a:lstStyle>
            <a:lvl1pPr>
              <a:defRPr sz="2400"/>
            </a:lvl1pPr>
          </a:lstStyle>
          <a:p>
            <a:r>
              <a:rPr lang="en-US" noProof="0" smtClean="0"/>
              <a:t>Click to edit Master title style</a:t>
            </a:r>
            <a:endParaRPr lang="en-GB" noProof="0" dirty="0"/>
          </a:p>
        </p:txBody>
      </p:sp>
      <p:sp>
        <p:nvSpPr>
          <p:cNvPr id="8" name="Rectangle 5"/>
          <p:cNvSpPr>
            <a:spLocks noGrp="1" noChangeArrowheads="1"/>
          </p:cNvSpPr>
          <p:nvPr>
            <p:ph type="ftr" sz="quarter" idx="3"/>
          </p:nvPr>
        </p:nvSpPr>
        <p:spPr bwMode="auto">
          <a:xfrm>
            <a:off x="4172976" y="103960"/>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899" eaLnBrk="1" hangingPunct="1">
              <a:spcBef>
                <a:spcPct val="0"/>
              </a:spcBef>
              <a:defRPr sz="600" b="0">
                <a:solidFill>
                  <a:schemeClr val="accent3"/>
                </a:solidFill>
              </a:defRPr>
            </a:lvl1pPr>
          </a:lstStyle>
          <a:p>
            <a:pPr>
              <a:defRPr/>
            </a:pPr>
            <a:r>
              <a:rPr lang="en-GB" dirty="0" smtClean="0">
                <a:solidFill>
                  <a:srgbClr val="82786F"/>
                </a:solidFill>
                <a:ea typeface="ＭＳ Ｐゴシック" charset="0"/>
              </a:rPr>
              <a:t>Presentation title</a:t>
            </a:r>
            <a:endParaRPr lang="en-GB" dirty="0">
              <a:solidFill>
                <a:srgbClr val="82786F"/>
              </a:solidFill>
              <a:ea typeface="ＭＳ Ｐゴシック" charset="0"/>
            </a:endParaRPr>
          </a:p>
        </p:txBody>
      </p:sp>
      <p:sp>
        <p:nvSpPr>
          <p:cNvPr id="9" name="Rectangle 81"/>
          <p:cNvSpPr>
            <a:spLocks noGrp="1" noChangeArrowheads="1"/>
          </p:cNvSpPr>
          <p:nvPr>
            <p:ph type="dt" sz="half" idx="2"/>
          </p:nvPr>
        </p:nvSpPr>
        <p:spPr bwMode="auto">
          <a:xfrm>
            <a:off x="7187154" y="103960"/>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899" eaLnBrk="1" hangingPunct="1">
              <a:spcBef>
                <a:spcPct val="0"/>
              </a:spcBef>
              <a:defRPr sz="600" b="0">
                <a:solidFill>
                  <a:schemeClr val="accent3"/>
                </a:solidFill>
              </a:defRPr>
            </a:lvl1pPr>
          </a:lstStyle>
          <a:p>
            <a:pPr>
              <a:defRPr/>
            </a:pPr>
            <a:r>
              <a:rPr lang="en-GB" dirty="0" smtClean="0">
                <a:solidFill>
                  <a:srgbClr val="82786F"/>
                </a:solidFill>
                <a:ea typeface="ＭＳ Ｐゴシック" charset="0"/>
              </a:rPr>
              <a:t>Date</a:t>
            </a:r>
            <a:endParaRPr lang="en-GB" dirty="0">
              <a:solidFill>
                <a:srgbClr val="82786F"/>
              </a:solidFill>
              <a:ea typeface="ＭＳ Ｐゴシック" charset="0"/>
            </a:endParaRPr>
          </a:p>
        </p:txBody>
      </p:sp>
      <p:sp>
        <p:nvSpPr>
          <p:cNvPr id="14" name="Slide Number Placeholder 23"/>
          <p:cNvSpPr>
            <a:spLocks noGrp="1" noChangeArrowheads="1"/>
          </p:cNvSpPr>
          <p:nvPr>
            <p:ph type="sldNum" sz="quarter" idx="4"/>
          </p:nvPr>
        </p:nvSpPr>
        <p:spPr bwMode="auto">
          <a:xfrm>
            <a:off x="8514822" y="105103"/>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66" eaLnBrk="1" hangingPunct="1">
              <a:defRPr sz="600" b="0" smtClean="0">
                <a:solidFill>
                  <a:schemeClr val="accent3"/>
                </a:solidFill>
              </a:defRPr>
            </a:lvl1pPr>
          </a:lstStyle>
          <a:p>
            <a:pPr>
              <a:defRPr/>
            </a:pPr>
            <a:fld id="{4B01E8EF-57E8-4F85-90EB-163CEE512F88}" type="slidenum">
              <a:rPr lang="en-GB">
                <a:solidFill>
                  <a:srgbClr val="82786F"/>
                </a:solidFill>
                <a:ea typeface="ＭＳ Ｐゴシック" charset="0"/>
              </a:rPr>
              <a:pPr>
                <a:defRPr/>
              </a:pPr>
              <a:t>‹#›</a:t>
            </a:fld>
            <a:endParaRPr lang="en-GB" dirty="0">
              <a:solidFill>
                <a:srgbClr val="82786F"/>
              </a:solidFill>
              <a:ea typeface="ＭＳ Ｐゴシック" charset="0"/>
            </a:endParaRPr>
          </a:p>
        </p:txBody>
      </p:sp>
      <p:sp>
        <p:nvSpPr>
          <p:cNvPr id="10" name="Content Placeholder 2"/>
          <p:cNvSpPr>
            <a:spLocks noGrp="1"/>
          </p:cNvSpPr>
          <p:nvPr>
            <p:ph idx="10"/>
          </p:nvPr>
        </p:nvSpPr>
        <p:spPr>
          <a:xfrm>
            <a:off x="4730400" y="1312262"/>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Content Placeholder 2"/>
          <p:cNvSpPr>
            <a:spLocks noGrp="1"/>
          </p:cNvSpPr>
          <p:nvPr>
            <p:ph idx="26"/>
          </p:nvPr>
        </p:nvSpPr>
        <p:spPr>
          <a:xfrm>
            <a:off x="316801" y="1312262"/>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2" name="Content Placeholder 2"/>
          <p:cNvSpPr>
            <a:spLocks noGrp="1"/>
          </p:cNvSpPr>
          <p:nvPr>
            <p:ph idx="27"/>
          </p:nvPr>
        </p:nvSpPr>
        <p:spPr>
          <a:xfrm>
            <a:off x="4729512" y="2873517"/>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5" name="Content Placeholder 2"/>
          <p:cNvSpPr>
            <a:spLocks noGrp="1"/>
          </p:cNvSpPr>
          <p:nvPr>
            <p:ph idx="28"/>
          </p:nvPr>
        </p:nvSpPr>
        <p:spPr>
          <a:xfrm>
            <a:off x="315913" y="2873517"/>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2434470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8809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noChangeArrowheads="1"/>
          </p:cNvSpPr>
          <p:nvPr>
            <p:ph type="ftr" sz="quarter" idx="10"/>
          </p:nvPr>
        </p:nvSpPr>
        <p:spPr>
          <a:xfrm>
            <a:off x="4173573" y="103240"/>
            <a:ext cx="2900363" cy="101600"/>
          </a:xfrm>
          <a:prstGeom prst="rect">
            <a:avLst/>
          </a:prstGeom>
        </p:spPr>
        <p:txBody>
          <a:bodyPr/>
          <a:lstStyle>
            <a:lvl1pPr>
              <a:defRPr/>
            </a:lvl1pPr>
          </a:lstStyle>
          <a:p>
            <a:pPr defTabSz="914400">
              <a:defRPr/>
            </a:pPr>
            <a:r>
              <a:rPr lang="en-GB" sz="1800" dirty="0">
                <a:solidFill>
                  <a:srgbClr val="001965"/>
                </a:solidFill>
                <a:ea typeface="ＭＳ Ｐゴシック" charset="0"/>
              </a:rPr>
              <a:t>Clinical trial design and results template</a:t>
            </a:r>
          </a:p>
        </p:txBody>
      </p:sp>
      <p:sp>
        <p:nvSpPr>
          <p:cNvPr id="6" name="Slide Number Placeholder 5"/>
          <p:cNvSpPr>
            <a:spLocks noGrp="1" noChangeArrowheads="1"/>
          </p:cNvSpPr>
          <p:nvPr>
            <p:ph type="sldNum" sz="quarter" idx="11"/>
          </p:nvPr>
        </p:nvSpPr>
        <p:spPr>
          <a:xfrm>
            <a:off x="8320089" y="104827"/>
            <a:ext cx="506412" cy="101600"/>
          </a:xfrm>
          <a:prstGeom prst="rect">
            <a:avLst/>
          </a:prstGeom>
        </p:spPr>
        <p:txBody>
          <a:bodyPr/>
          <a:lstStyle>
            <a:lvl1pPr>
              <a:defRPr/>
            </a:lvl1pPr>
          </a:lstStyle>
          <a:p>
            <a:pPr defTabSz="914400">
              <a:defRPr/>
            </a:pPr>
            <a:r>
              <a:rPr lang="en-GB" altLang="en-US" sz="1800" dirty="0">
                <a:solidFill>
                  <a:srgbClr val="001965"/>
                </a:solidFill>
                <a:ea typeface="ＭＳ Ｐゴシック" charset="0"/>
              </a:rPr>
              <a:t>Slide no </a:t>
            </a:r>
            <a:fld id="{E895D752-AFED-4F24-8742-3FA493A83868}" type="slidenum">
              <a:rPr lang="en-GB" altLang="en-US" sz="1800">
                <a:solidFill>
                  <a:srgbClr val="001965"/>
                </a:solidFill>
                <a:ea typeface="ＭＳ Ｐゴシック" charset="0"/>
              </a:rPr>
              <a:pPr defTabSz="914400">
                <a:defRPr/>
              </a:pPr>
              <a:t>‹#›</a:t>
            </a:fld>
            <a:endParaRPr lang="en-GB" altLang="en-US" sz="1800" dirty="0">
              <a:solidFill>
                <a:srgbClr val="001965"/>
              </a:solidFill>
              <a:ea typeface="ＭＳ Ｐゴシック" charset="0"/>
            </a:endParaRPr>
          </a:p>
        </p:txBody>
      </p:sp>
      <p:sp>
        <p:nvSpPr>
          <p:cNvPr id="7" name="Date Placeholder 6"/>
          <p:cNvSpPr>
            <a:spLocks noGrp="1" noChangeArrowheads="1"/>
          </p:cNvSpPr>
          <p:nvPr>
            <p:ph type="dt" sz="half" idx="12"/>
          </p:nvPr>
        </p:nvSpPr>
        <p:spPr>
          <a:xfrm>
            <a:off x="7240632" y="103240"/>
            <a:ext cx="998537" cy="101600"/>
          </a:xfrm>
          <a:prstGeom prst="rect">
            <a:avLst/>
          </a:prstGeom>
        </p:spPr>
        <p:txBody>
          <a:bodyPr/>
          <a:lstStyle>
            <a:lvl1pPr>
              <a:defRPr/>
            </a:lvl1pPr>
          </a:lstStyle>
          <a:p>
            <a:pPr defTabSz="914400">
              <a:defRPr/>
            </a:pPr>
            <a:r>
              <a:rPr lang="en-US" sz="1800" dirty="0">
                <a:solidFill>
                  <a:srgbClr val="001965"/>
                </a:solidFill>
                <a:ea typeface="ＭＳ Ｐゴシック" charset="0"/>
              </a:rPr>
              <a:t>Date</a:t>
            </a:r>
            <a:endParaRPr lang="en-GB" sz="1800" dirty="0">
              <a:solidFill>
                <a:srgbClr val="001965"/>
              </a:solidFill>
              <a:ea typeface="ＭＳ Ｐゴシック" charset="0"/>
            </a:endParaRPr>
          </a:p>
        </p:txBody>
      </p:sp>
    </p:spTree>
    <p:extLst>
      <p:ext uri="{BB962C8B-B14F-4D97-AF65-F5344CB8AC3E}">
        <p14:creationId xmlns:p14="http://schemas.microsoft.com/office/powerpoint/2010/main" val="371273425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42903399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4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17316891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25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3457664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68300" y="4772236"/>
            <a:ext cx="8457500" cy="292100"/>
          </a:xfrm>
        </p:spPr>
        <p:txBody>
          <a:bodyPr anchor="b" anchorCtr="0">
            <a:noAutofit/>
          </a:bodyPr>
          <a:lstStyle>
            <a:lvl1pPr marL="0" indent="0">
              <a:spcBef>
                <a:spcPts val="0"/>
              </a:spcBef>
              <a:buNone/>
              <a:defRPr sz="800">
                <a:solidFill>
                  <a:srgbClr val="82786F"/>
                </a:solidFill>
              </a:defRPr>
            </a:lvl1pPr>
            <a:lvl2pPr marL="264950" indent="0">
              <a:buNone/>
              <a:defRPr sz="800">
                <a:solidFill>
                  <a:srgbClr val="82786F"/>
                </a:solidFill>
              </a:defRPr>
            </a:lvl2pPr>
            <a:lvl3pPr marL="536210" indent="0">
              <a:buNone/>
              <a:defRPr sz="800">
                <a:solidFill>
                  <a:srgbClr val="82786F"/>
                </a:solidFill>
              </a:defRPr>
            </a:lvl3pPr>
            <a:lvl4pPr marL="807498" indent="0">
              <a:buNone/>
              <a:defRPr sz="800">
                <a:solidFill>
                  <a:srgbClr val="82786F"/>
                </a:solidFill>
              </a:defRPr>
            </a:lvl4pPr>
            <a:lvl5pPr marL="1072421" indent="0">
              <a:buNone/>
              <a:defRPr sz="800">
                <a:solidFill>
                  <a:srgbClr val="82786F"/>
                </a:solidFill>
              </a:defRPr>
            </a:lvl5pPr>
          </a:lstStyle>
          <a:p>
            <a:pPr lvl="0"/>
            <a:r>
              <a:rPr lang="en-US" dirty="0"/>
              <a:t>Click to insert text</a:t>
            </a:r>
          </a:p>
        </p:txBody>
      </p:sp>
    </p:spTree>
    <p:extLst>
      <p:ext uri="{BB962C8B-B14F-4D97-AF65-F5344CB8AC3E}">
        <p14:creationId xmlns:p14="http://schemas.microsoft.com/office/powerpoint/2010/main" val="14736680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6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36624386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7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24402841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28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10904633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9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6279437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30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22631793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26791241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32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9057645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33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3094765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006503"/>
            <a:ext cx="8510400" cy="3261515"/>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1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0" y="4213924"/>
            <a:ext cx="8509700" cy="770826"/>
          </a:xfrm>
        </p:spPr>
        <p:txBody>
          <a:bodyPr anchor="b"/>
          <a:lstStyle>
            <a:lvl1pPr marL="0" marR="0" indent="0" algn="l" defTabSz="91440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Please enter footnotes and references here.</a:t>
            </a:r>
          </a:p>
          <a:p>
            <a:r>
              <a:rPr lang="da-DK" dirty="0"/>
              <a:t>[Set to NN Granite grey; Verdana (body) 8pt]</a:t>
            </a:r>
          </a:p>
        </p:txBody>
      </p:sp>
    </p:spTree>
    <p:extLst>
      <p:ext uri="{BB962C8B-B14F-4D97-AF65-F5344CB8AC3E}">
        <p14:creationId xmlns:p14="http://schemas.microsoft.com/office/powerpoint/2010/main" val="2385566093"/>
      </p:ext>
    </p:extLst>
  </p:cSld>
  <p:clrMapOvr>
    <a:masterClrMapping/>
  </p:clrMapOvr>
  <p:transition/>
  <p:extLst mod="1">
    <p:ext uri="{DCECCB84-F9BA-43D5-87BE-67443E8EF086}">
      <p15:sldGuideLst xmlns:p15="http://schemas.microsoft.com/office/powerpoint/2012/main" xmlns="">
        <p15:guide id="1" orient="horz" pos="3140">
          <p15:clr>
            <a:srgbClr val="FBAE40"/>
          </p15:clr>
        </p15:guide>
        <p15:guide id="2" pos="288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77"/>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922" y="3025464"/>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366990984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noAutofit/>
          </a:bodyPr>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768196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097286"/>
            <a:ext cx="8510400" cy="3170732"/>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1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0" y="4213924"/>
            <a:ext cx="8509700" cy="770826"/>
          </a:xfrm>
        </p:spPr>
        <p:txBody>
          <a:bodyPr anchor="b"/>
          <a:lstStyle>
            <a:lvl1pPr marL="0" marR="0" indent="0" algn="l" defTabSz="91440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676774408"/>
      </p:ext>
    </p:extLst>
  </p:cSld>
  <p:clrMapOvr>
    <a:masterClrMapping/>
  </p:clrMapOvr>
  <p:transition/>
  <p:extLst mod="1">
    <p:ext uri="{DCECCB84-F9BA-43D5-87BE-67443E8EF086}">
      <p15:sldGuideLst xmlns:p15="http://schemas.microsoft.com/office/powerpoint/2012/main" xmlns="">
        <p15:guide id="1" orient="horz" pos="3140">
          <p15:clr>
            <a:srgbClr val="FBAE40"/>
          </p15:clr>
        </p15:guide>
        <p15:guide id="2" pos="288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4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1842968786"/>
      </p:ext>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77"/>
            <a:ext cx="3542400" cy="1531543"/>
          </a:xfrm>
        </p:spPr>
        <p:txBody>
          <a:bodyPr anchor="b"/>
          <a:lstStyle>
            <a:lvl1pPr algn="r">
              <a:lnSpc>
                <a:spcPct val="85000"/>
              </a:lnSpc>
              <a:defRPr sz="32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5283922" y="3025464"/>
            <a:ext cx="3543319" cy="684586"/>
          </a:xfrm>
          <a:extLst/>
        </p:spPr>
        <p:txBody>
          <a:bodyPr rIns="0"/>
          <a:lstStyle>
            <a:lvl1pPr marL="0" indent="0" algn="r">
              <a:buFontTx/>
              <a:buNone/>
              <a:defRPr sz="1400"/>
            </a:lvl1pPr>
          </a:lstStyle>
          <a:p>
            <a:pPr lvl="0"/>
            <a:r>
              <a:rPr lang="en-US" noProof="0" smtClean="0"/>
              <a:t>Click to edit Master subtitle style</a:t>
            </a:r>
            <a:endParaRPr lang="en-GB" noProof="0" dirty="0" smtClean="0"/>
          </a:p>
        </p:txBody>
      </p:sp>
      <p:sp>
        <p:nvSpPr>
          <p:cNvPr id="4" name="Rectangle 23"/>
          <p:cNvSpPr>
            <a:spLocks noGrp="1" noChangeArrowheads="1"/>
          </p:cNvSpPr>
          <p:nvPr>
            <p:ph type="sldNum" sz="quarter" idx="10"/>
          </p:nvPr>
        </p:nvSpPr>
        <p:spPr>
          <a:ln/>
        </p:spPr>
        <p:txBody>
          <a:bodyPr/>
          <a:lstStyle>
            <a:lvl1pPr>
              <a:defRPr/>
            </a:lvl1pPr>
          </a:lstStyle>
          <a:p>
            <a:pPr>
              <a:defRPr/>
            </a:pPr>
            <a:fld id="{F27D837F-7347-4D0F-8C48-E435CFAF841C}" type="slidenum">
              <a:rPr lang="en-GB"/>
              <a:pPr>
                <a:defRPr/>
              </a:pPr>
              <a:t>‹#›</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Presentation title</a:t>
            </a:r>
          </a:p>
        </p:txBody>
      </p:sp>
      <p:sp>
        <p:nvSpPr>
          <p:cNvPr id="6" name="Rectangle 81"/>
          <p:cNvSpPr>
            <a:spLocks noGrp="1" noChangeArrowheads="1"/>
          </p:cNvSpPr>
          <p:nvPr>
            <p:ph type="dt" sz="half" idx="12"/>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3271203892"/>
      </p:ext>
    </p:extLst>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33F88168-32D9-492F-A309-CE58EECA041F}" type="slidenum">
              <a:rPr lang="en-GB"/>
              <a:pPr>
                <a:defRPr/>
              </a:pPr>
              <a:t>‹#›</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12"/>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1032466934"/>
      </p:ext>
    </p:extLst>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316800" y="385925"/>
            <a:ext cx="8510400" cy="128640"/>
          </a:xfrm>
          <a:extLst/>
        </p:spPr>
        <p:txBody>
          <a:bodyPr wrap="none" lIns="18000" anchor="ctr">
            <a:noAutofit/>
          </a:bodyPr>
          <a:lstStyle>
            <a:lvl1pPr marL="0" indent="0" algn="l">
              <a:buFontTx/>
              <a:buNone/>
              <a:defRPr sz="1100" baseline="0"/>
            </a:lvl1pPr>
          </a:lstStyle>
          <a:p>
            <a:pPr lvl="0"/>
            <a:r>
              <a:rPr lang="en-US" noProof="0" smtClean="0"/>
              <a:t>Click to edit Master subtitle style</a:t>
            </a:r>
            <a:endParaRPr lang="en-GB" noProof="0" dirty="0" smtClean="0"/>
          </a:p>
        </p:txBody>
      </p:sp>
      <p:sp>
        <p:nvSpPr>
          <p:cNvPr id="10"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5"/>
          </p:nvPr>
        </p:nvSpPr>
        <p:spPr>
          <a:ln/>
        </p:spPr>
        <p:txBody>
          <a:bodyPr/>
          <a:lstStyle>
            <a:lvl1pPr>
              <a:defRPr/>
            </a:lvl1pPr>
          </a:lstStyle>
          <a:p>
            <a:pPr>
              <a:defRPr/>
            </a:pPr>
            <a:fld id="{CAEBCCFC-AD7B-4EB6-83B6-86DD69525AEE}" type="slidenum">
              <a:rPr lang="en-GB"/>
              <a:pPr>
                <a:defRPr/>
              </a:pPr>
              <a:t>‹#›</a:t>
            </a:fld>
            <a:endParaRPr lang="en-GB"/>
          </a:p>
        </p:txBody>
      </p:sp>
      <p:sp>
        <p:nvSpPr>
          <p:cNvPr id="6" name="Rectangle 5"/>
          <p:cNvSpPr>
            <a:spLocks noGrp="1" noChangeArrowheads="1"/>
          </p:cNvSpPr>
          <p:nvPr>
            <p:ph type="ftr" sz="quarter" idx="16"/>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17"/>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156295228"/>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316800" y="906885"/>
            <a:ext cx="8510400" cy="199726"/>
          </a:xfrm>
          <a:extLst/>
        </p:spPr>
        <p:txBody>
          <a:bodyPr wrap="none" lIns="18000" anchor="ctr"/>
          <a:lstStyle>
            <a:lvl1pPr marL="0" indent="0" algn="l">
              <a:buFontTx/>
              <a:buNone/>
              <a:defRPr sz="1100" baseline="0"/>
            </a:lvl1pPr>
          </a:lstStyle>
          <a:p>
            <a:pPr lvl="0"/>
            <a:r>
              <a:rPr lang="en-US" noProof="0" smtClean="0"/>
              <a:t>Click to edit Master subtitle style</a:t>
            </a:r>
            <a:endParaRPr lang="en-GB" noProof="0" dirty="0" smtClean="0"/>
          </a:p>
        </p:txBody>
      </p:sp>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5"/>
          </p:nvPr>
        </p:nvSpPr>
        <p:spPr>
          <a:ln/>
        </p:spPr>
        <p:txBody>
          <a:bodyPr/>
          <a:lstStyle>
            <a:lvl1pPr>
              <a:defRPr/>
            </a:lvl1pPr>
          </a:lstStyle>
          <a:p>
            <a:pPr>
              <a:defRPr/>
            </a:pPr>
            <a:fld id="{FA7C8F89-7B77-4036-9A58-5C1A96BDDAE4}" type="slidenum">
              <a:rPr lang="en-GB"/>
              <a:pPr>
                <a:defRPr/>
              </a:pPr>
              <a:t>‹#›</a:t>
            </a:fld>
            <a:endParaRPr lang="en-GB"/>
          </a:p>
        </p:txBody>
      </p:sp>
      <p:sp>
        <p:nvSpPr>
          <p:cNvPr id="6" name="Rectangle 5"/>
          <p:cNvSpPr>
            <a:spLocks noGrp="1" noChangeArrowheads="1"/>
          </p:cNvSpPr>
          <p:nvPr>
            <p:ph type="ftr" sz="quarter" idx="16"/>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17"/>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3632887616"/>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38" y="515433"/>
            <a:ext cx="6692499" cy="3754955"/>
          </a:xfrm>
        </p:spPr>
        <p:txBody>
          <a:bodyPr tIns="57600" anchor="t"/>
          <a:lstStyle>
            <a:lvl1pPr>
              <a:lnSpc>
                <a:spcPct val="90000"/>
              </a:lnSpc>
              <a:defRPr sz="6000" spc="-150"/>
            </a:lvl1pPr>
          </a:lstStyle>
          <a:p>
            <a:r>
              <a:rPr lang="en-US" noProof="0" smtClean="0"/>
              <a:t>Click to edit Master title style</a:t>
            </a:r>
            <a:endParaRPr lang="en-GB" noProof="0" dirty="0"/>
          </a:p>
        </p:txBody>
      </p:sp>
      <p:sp>
        <p:nvSpPr>
          <p:cNvPr id="3" name="Rectangle 23"/>
          <p:cNvSpPr>
            <a:spLocks noGrp="1" noChangeArrowheads="1"/>
          </p:cNvSpPr>
          <p:nvPr>
            <p:ph type="sldNum" sz="quarter" idx="10"/>
          </p:nvPr>
        </p:nvSpPr>
        <p:spPr>
          <a:ln/>
        </p:spPr>
        <p:txBody>
          <a:bodyPr/>
          <a:lstStyle>
            <a:lvl1pPr>
              <a:defRPr/>
            </a:lvl1pPr>
          </a:lstStyle>
          <a:p>
            <a:pPr>
              <a:defRPr/>
            </a:pPr>
            <a:fld id="{6438464A-E30D-4469-9DA0-4B1E8B7BBCE1}" type="slidenum">
              <a:rPr lang="en-GB"/>
              <a:pPr>
                <a:defRPr/>
              </a:pPr>
              <a:t>‹#›</a:t>
            </a:fld>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t>Presentation title</a:t>
            </a:r>
          </a:p>
        </p:txBody>
      </p:sp>
      <p:sp>
        <p:nvSpPr>
          <p:cNvPr id="5" name="Rectangle 81"/>
          <p:cNvSpPr>
            <a:spLocks noGrp="1" noChangeArrowheads="1"/>
          </p:cNvSpPr>
          <p:nvPr>
            <p:ph type="dt" sz="half" idx="12"/>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2535097782"/>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1"/>
          </p:nvPr>
        </p:nvSpPr>
        <p:spPr>
          <a:ln/>
        </p:spPr>
        <p:txBody>
          <a:bodyPr/>
          <a:lstStyle>
            <a:lvl1pPr>
              <a:defRPr/>
            </a:lvl1pPr>
          </a:lstStyle>
          <a:p>
            <a:pPr>
              <a:defRPr/>
            </a:pPr>
            <a:fld id="{D86C146B-50EC-47FA-B4B9-31F34052852F}" type="slidenum">
              <a:rPr lang="en-GB"/>
              <a:pPr>
                <a:defRPr/>
              </a:pPr>
              <a:t>‹#›</a:t>
            </a:fld>
            <a:endParaRPr lang="en-GB"/>
          </a:p>
        </p:txBody>
      </p:sp>
      <p:sp>
        <p:nvSpPr>
          <p:cNvPr id="6" name="Rectangle 5"/>
          <p:cNvSpPr>
            <a:spLocks noGrp="1" noChangeArrowheads="1"/>
          </p:cNvSpPr>
          <p:nvPr>
            <p:ph type="ftr" sz="quarter" idx="12"/>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13"/>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1717973045"/>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4" name="Content Placeholder 2"/>
          <p:cNvSpPr>
            <a:spLocks noGrp="1"/>
          </p:cNvSpPr>
          <p:nvPr>
            <p:ph idx="1"/>
          </p:nvPr>
        </p:nvSpPr>
        <p:spPr>
          <a:xfrm>
            <a:off x="316800" y="1312256"/>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5" name="Content Placeholder 2"/>
          <p:cNvSpPr>
            <a:spLocks noGrp="1"/>
          </p:cNvSpPr>
          <p:nvPr>
            <p:ph idx="25"/>
          </p:nvPr>
        </p:nvSpPr>
        <p:spPr>
          <a:xfrm>
            <a:off x="316800" y="2873517"/>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26"/>
          </p:nvPr>
        </p:nvSpPr>
        <p:spPr>
          <a:ln/>
        </p:spPr>
        <p:txBody>
          <a:bodyPr/>
          <a:lstStyle>
            <a:lvl1pPr>
              <a:defRPr/>
            </a:lvl1pPr>
          </a:lstStyle>
          <a:p>
            <a:pPr>
              <a:defRPr/>
            </a:pPr>
            <a:fld id="{C72D72A5-3F65-477B-B0D7-8034041DF32D}" type="slidenum">
              <a:rPr lang="en-GB"/>
              <a:pPr>
                <a:defRPr/>
              </a:pPr>
              <a:t>‹#›</a:t>
            </a:fld>
            <a:endParaRPr lang="en-GB"/>
          </a:p>
        </p:txBody>
      </p:sp>
      <p:sp>
        <p:nvSpPr>
          <p:cNvPr id="6" name="Rectangle 5"/>
          <p:cNvSpPr>
            <a:spLocks noGrp="1" noChangeArrowheads="1"/>
          </p:cNvSpPr>
          <p:nvPr>
            <p:ph type="ftr" sz="quarter" idx="27"/>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28"/>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358539489"/>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7" name="Content Placeholder 2"/>
          <p:cNvSpPr>
            <a:spLocks noGrp="1"/>
          </p:cNvSpPr>
          <p:nvPr>
            <p:ph idx="1"/>
          </p:nvPr>
        </p:nvSpPr>
        <p:spPr>
          <a:xfrm>
            <a:off x="31680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8" name="Content Placeholder 2"/>
          <p:cNvSpPr>
            <a:spLocks noGrp="1"/>
          </p:cNvSpPr>
          <p:nvPr>
            <p:ph idx="10"/>
          </p:nvPr>
        </p:nvSpPr>
        <p:spPr>
          <a:xfrm>
            <a:off x="3260377"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9" name="Content Placeholder 2"/>
          <p:cNvSpPr>
            <a:spLocks noGrp="1"/>
          </p:cNvSpPr>
          <p:nvPr>
            <p:ph idx="11"/>
          </p:nvPr>
        </p:nvSpPr>
        <p:spPr>
          <a:xfrm>
            <a:off x="620395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6" name="Rectangle 23"/>
          <p:cNvSpPr>
            <a:spLocks noGrp="1" noChangeArrowheads="1"/>
          </p:cNvSpPr>
          <p:nvPr>
            <p:ph type="sldNum" sz="quarter" idx="12"/>
          </p:nvPr>
        </p:nvSpPr>
        <p:spPr>
          <a:ln/>
        </p:spPr>
        <p:txBody>
          <a:bodyPr/>
          <a:lstStyle>
            <a:lvl1pPr>
              <a:defRPr/>
            </a:lvl1pPr>
          </a:lstStyle>
          <a:p>
            <a:pPr>
              <a:defRPr/>
            </a:pPr>
            <a:fld id="{8CBCA0D1-9195-49B5-9263-6C5A7C1B8E65}" type="slidenum">
              <a:rPr lang="en-GB"/>
              <a:pPr>
                <a:defRPr/>
              </a:pPr>
              <a:t>‹#›</a:t>
            </a:fld>
            <a:endParaRPr lang="en-GB"/>
          </a:p>
        </p:txBody>
      </p:sp>
      <p:sp>
        <p:nvSpPr>
          <p:cNvPr id="7" name="Rectangle 5"/>
          <p:cNvSpPr>
            <a:spLocks noGrp="1" noChangeArrowheads="1"/>
          </p:cNvSpPr>
          <p:nvPr>
            <p:ph type="ftr" sz="quarter" idx="13"/>
          </p:nvPr>
        </p:nvSpPr>
        <p:spPr>
          <a:ln/>
        </p:spPr>
        <p:txBody>
          <a:bodyPr/>
          <a:lstStyle>
            <a:lvl1pPr>
              <a:defRPr/>
            </a:lvl1pPr>
          </a:lstStyle>
          <a:p>
            <a:pPr>
              <a:defRPr/>
            </a:pPr>
            <a:r>
              <a:rPr lang="en-GB"/>
              <a:t>Presentation title</a:t>
            </a:r>
          </a:p>
        </p:txBody>
      </p:sp>
      <p:sp>
        <p:nvSpPr>
          <p:cNvPr id="8" name="Rectangle 81"/>
          <p:cNvSpPr>
            <a:spLocks noGrp="1" noChangeArrowheads="1"/>
          </p:cNvSpPr>
          <p:nvPr>
            <p:ph type="dt" sz="half" idx="14"/>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401348200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noAutofit/>
          </a:bodyPr>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3128048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37" name="Content Placeholder 2"/>
          <p:cNvSpPr>
            <a:spLocks noGrp="1"/>
          </p:cNvSpPr>
          <p:nvPr>
            <p:ph idx="1"/>
          </p:nvPr>
        </p:nvSpPr>
        <p:spPr>
          <a:xfrm>
            <a:off x="316811"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8" name="Content Placeholder 2"/>
          <p:cNvSpPr>
            <a:spLocks noGrp="1"/>
          </p:cNvSpPr>
          <p:nvPr>
            <p:ph idx="10"/>
          </p:nvPr>
        </p:nvSpPr>
        <p:spPr>
          <a:xfrm>
            <a:off x="2521841"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9" name="Content Placeholder 2"/>
          <p:cNvSpPr>
            <a:spLocks noGrp="1"/>
          </p:cNvSpPr>
          <p:nvPr>
            <p:ph idx="11"/>
          </p:nvPr>
        </p:nvSpPr>
        <p:spPr>
          <a:xfrm>
            <a:off x="4726892"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0" name="Content Placeholder 2"/>
          <p:cNvSpPr>
            <a:spLocks noGrp="1"/>
          </p:cNvSpPr>
          <p:nvPr>
            <p:ph idx="12"/>
          </p:nvPr>
        </p:nvSpPr>
        <p:spPr>
          <a:xfrm>
            <a:off x="6939011"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7" name="Rectangle 23"/>
          <p:cNvSpPr>
            <a:spLocks noGrp="1" noChangeArrowheads="1"/>
          </p:cNvSpPr>
          <p:nvPr>
            <p:ph type="sldNum" sz="quarter" idx="13"/>
          </p:nvPr>
        </p:nvSpPr>
        <p:spPr>
          <a:ln/>
        </p:spPr>
        <p:txBody>
          <a:bodyPr/>
          <a:lstStyle>
            <a:lvl1pPr>
              <a:defRPr/>
            </a:lvl1pPr>
          </a:lstStyle>
          <a:p>
            <a:pPr>
              <a:defRPr/>
            </a:pPr>
            <a:fld id="{A428566F-CDB2-4C30-AE63-79D1368A9A65}" type="slidenum">
              <a:rPr lang="en-GB"/>
              <a:pPr>
                <a:defRPr/>
              </a:pPr>
              <a:t>‹#›</a:t>
            </a:fld>
            <a:endParaRPr lang="en-GB"/>
          </a:p>
        </p:txBody>
      </p:sp>
      <p:sp>
        <p:nvSpPr>
          <p:cNvPr id="8" name="Rectangle 5"/>
          <p:cNvSpPr>
            <a:spLocks noGrp="1" noChangeArrowheads="1"/>
          </p:cNvSpPr>
          <p:nvPr>
            <p:ph type="ftr" sz="quarter" idx="14"/>
          </p:nvPr>
        </p:nvSpPr>
        <p:spPr>
          <a:ln/>
        </p:spPr>
        <p:txBody>
          <a:bodyPr/>
          <a:lstStyle>
            <a:lvl1pPr>
              <a:defRPr/>
            </a:lvl1pPr>
          </a:lstStyle>
          <a:p>
            <a:pPr>
              <a:defRPr/>
            </a:pPr>
            <a:r>
              <a:rPr lang="en-GB"/>
              <a:t>Presentation title</a:t>
            </a:r>
          </a:p>
        </p:txBody>
      </p:sp>
      <p:sp>
        <p:nvSpPr>
          <p:cNvPr id="9" name="Rectangle 81"/>
          <p:cNvSpPr>
            <a:spLocks noGrp="1" noChangeArrowheads="1"/>
          </p:cNvSpPr>
          <p:nvPr>
            <p:ph type="dt" sz="half" idx="15"/>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1907905569"/>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10" name="Content Placeholder 2"/>
          <p:cNvSpPr>
            <a:spLocks noGrp="1"/>
          </p:cNvSpPr>
          <p:nvPr>
            <p:ph idx="10"/>
          </p:nvPr>
        </p:nvSpPr>
        <p:spPr>
          <a:xfrm>
            <a:off x="4730400" y="1312256"/>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Content Placeholder 2"/>
          <p:cNvSpPr>
            <a:spLocks noGrp="1"/>
          </p:cNvSpPr>
          <p:nvPr>
            <p:ph idx="26"/>
          </p:nvPr>
        </p:nvSpPr>
        <p:spPr>
          <a:xfrm>
            <a:off x="316801" y="1312256"/>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2" name="Content Placeholder 2"/>
          <p:cNvSpPr>
            <a:spLocks noGrp="1"/>
          </p:cNvSpPr>
          <p:nvPr>
            <p:ph idx="27"/>
          </p:nvPr>
        </p:nvSpPr>
        <p:spPr>
          <a:xfrm>
            <a:off x="4729512" y="2873517"/>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5" name="Content Placeholder 2"/>
          <p:cNvSpPr>
            <a:spLocks noGrp="1"/>
          </p:cNvSpPr>
          <p:nvPr>
            <p:ph idx="28"/>
          </p:nvPr>
        </p:nvSpPr>
        <p:spPr>
          <a:xfrm>
            <a:off x="315913" y="2873517"/>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7" name="Rectangle 23"/>
          <p:cNvSpPr>
            <a:spLocks noGrp="1" noChangeArrowheads="1"/>
          </p:cNvSpPr>
          <p:nvPr>
            <p:ph type="sldNum" sz="quarter" idx="29"/>
          </p:nvPr>
        </p:nvSpPr>
        <p:spPr>
          <a:ln/>
        </p:spPr>
        <p:txBody>
          <a:bodyPr/>
          <a:lstStyle>
            <a:lvl1pPr>
              <a:defRPr/>
            </a:lvl1pPr>
          </a:lstStyle>
          <a:p>
            <a:pPr>
              <a:defRPr/>
            </a:pPr>
            <a:fld id="{0E4EFD85-EC25-438E-BA38-F970BEF70132}" type="slidenum">
              <a:rPr lang="en-GB"/>
              <a:pPr>
                <a:defRPr/>
              </a:pPr>
              <a:t>‹#›</a:t>
            </a:fld>
            <a:endParaRPr lang="en-GB"/>
          </a:p>
        </p:txBody>
      </p:sp>
      <p:sp>
        <p:nvSpPr>
          <p:cNvPr id="8" name="Rectangle 5"/>
          <p:cNvSpPr>
            <a:spLocks noGrp="1" noChangeArrowheads="1"/>
          </p:cNvSpPr>
          <p:nvPr>
            <p:ph type="ftr" sz="quarter" idx="30"/>
          </p:nvPr>
        </p:nvSpPr>
        <p:spPr>
          <a:ln/>
        </p:spPr>
        <p:txBody>
          <a:bodyPr/>
          <a:lstStyle>
            <a:lvl1pPr>
              <a:defRPr/>
            </a:lvl1pPr>
          </a:lstStyle>
          <a:p>
            <a:pPr>
              <a:defRPr/>
            </a:pPr>
            <a:r>
              <a:rPr lang="en-GB"/>
              <a:t>Presentation title</a:t>
            </a:r>
          </a:p>
        </p:txBody>
      </p:sp>
      <p:sp>
        <p:nvSpPr>
          <p:cNvPr id="9" name="Rectangle 81"/>
          <p:cNvSpPr>
            <a:spLocks noGrp="1" noChangeArrowheads="1"/>
          </p:cNvSpPr>
          <p:nvPr>
            <p:ph type="dt" sz="half" idx="31"/>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882390060"/>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2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33" name="Content Placeholder 2"/>
          <p:cNvSpPr>
            <a:spLocks noGrp="1"/>
          </p:cNvSpPr>
          <p:nvPr>
            <p:ph idx="1"/>
          </p:nvPr>
        </p:nvSpPr>
        <p:spPr>
          <a:xfrm>
            <a:off x="316800" y="1312256"/>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4" name="Content Placeholder 2"/>
          <p:cNvSpPr>
            <a:spLocks noGrp="1"/>
          </p:cNvSpPr>
          <p:nvPr>
            <p:ph idx="10"/>
          </p:nvPr>
        </p:nvSpPr>
        <p:spPr>
          <a:xfrm>
            <a:off x="3260377" y="1312256"/>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5" name="Content Placeholder 2"/>
          <p:cNvSpPr>
            <a:spLocks noGrp="1"/>
          </p:cNvSpPr>
          <p:nvPr>
            <p:ph idx="11"/>
          </p:nvPr>
        </p:nvSpPr>
        <p:spPr>
          <a:xfrm>
            <a:off x="6203950" y="1312256"/>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7" name="Content Placeholder 2"/>
          <p:cNvSpPr>
            <a:spLocks noGrp="1"/>
          </p:cNvSpPr>
          <p:nvPr>
            <p:ph idx="12"/>
          </p:nvPr>
        </p:nvSpPr>
        <p:spPr>
          <a:xfrm>
            <a:off x="316800" y="2873517"/>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8" name="Content Placeholder 2"/>
          <p:cNvSpPr>
            <a:spLocks noGrp="1"/>
          </p:cNvSpPr>
          <p:nvPr>
            <p:ph idx="13"/>
          </p:nvPr>
        </p:nvSpPr>
        <p:spPr>
          <a:xfrm>
            <a:off x="3260377" y="2873517"/>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9" name="Content Placeholder 2"/>
          <p:cNvSpPr>
            <a:spLocks noGrp="1"/>
          </p:cNvSpPr>
          <p:nvPr>
            <p:ph idx="14"/>
          </p:nvPr>
        </p:nvSpPr>
        <p:spPr>
          <a:xfrm>
            <a:off x="6203950" y="2873517"/>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9" name="Rectangle 23"/>
          <p:cNvSpPr>
            <a:spLocks noGrp="1" noChangeArrowheads="1"/>
          </p:cNvSpPr>
          <p:nvPr>
            <p:ph type="sldNum" sz="quarter" idx="15"/>
          </p:nvPr>
        </p:nvSpPr>
        <p:spPr>
          <a:ln/>
        </p:spPr>
        <p:txBody>
          <a:bodyPr/>
          <a:lstStyle>
            <a:lvl1pPr>
              <a:defRPr/>
            </a:lvl1pPr>
          </a:lstStyle>
          <a:p>
            <a:pPr>
              <a:defRPr/>
            </a:pPr>
            <a:fld id="{325A8F1C-4521-4C4C-8B00-E17BBEAD2E9D}" type="slidenum">
              <a:rPr lang="en-GB"/>
              <a:pPr>
                <a:defRPr/>
              </a:pPr>
              <a:t>‹#›</a:t>
            </a:fld>
            <a:endParaRPr lang="en-GB"/>
          </a:p>
        </p:txBody>
      </p:sp>
      <p:sp>
        <p:nvSpPr>
          <p:cNvPr id="10" name="Rectangle 5"/>
          <p:cNvSpPr>
            <a:spLocks noGrp="1" noChangeArrowheads="1"/>
          </p:cNvSpPr>
          <p:nvPr>
            <p:ph type="ftr" sz="quarter" idx="16"/>
          </p:nvPr>
        </p:nvSpPr>
        <p:spPr>
          <a:ln/>
        </p:spPr>
        <p:txBody>
          <a:bodyPr/>
          <a:lstStyle>
            <a:lvl1pPr>
              <a:defRPr/>
            </a:lvl1pPr>
          </a:lstStyle>
          <a:p>
            <a:pPr>
              <a:defRPr/>
            </a:pPr>
            <a:r>
              <a:rPr lang="en-GB"/>
              <a:t>Presentation title</a:t>
            </a:r>
          </a:p>
        </p:txBody>
      </p:sp>
      <p:sp>
        <p:nvSpPr>
          <p:cNvPr id="11" name="Rectangle 81"/>
          <p:cNvSpPr>
            <a:spLocks noGrp="1" noChangeArrowheads="1"/>
          </p:cNvSpPr>
          <p:nvPr>
            <p:ph type="dt" sz="half" idx="17"/>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3714560720"/>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3" name="Rectangle 5"/>
          <p:cNvSpPr>
            <a:spLocks noGrp="1" noChangeArrowheads="1"/>
          </p:cNvSpPr>
          <p:nvPr>
            <p:ph type="ftr" sz="quarter" idx="15"/>
          </p:nvPr>
        </p:nvSpPr>
        <p:spPr/>
        <p:txBody>
          <a:bodyPr/>
          <a:lstStyle>
            <a:lvl1pPr>
              <a:defRPr>
                <a:solidFill>
                  <a:schemeClr val="bg1"/>
                </a:solidFill>
              </a:defRPr>
            </a:lvl1pPr>
          </a:lstStyle>
          <a:p>
            <a:pPr>
              <a:defRPr/>
            </a:pPr>
            <a:r>
              <a:rPr lang="en-GB">
                <a:solidFill>
                  <a:srgbClr val="FFFFFF"/>
                </a:solidFill>
              </a:rPr>
              <a:t>Presentation title</a:t>
            </a:r>
          </a:p>
        </p:txBody>
      </p:sp>
      <p:sp>
        <p:nvSpPr>
          <p:cNvPr id="4" name="Rectangle 81"/>
          <p:cNvSpPr>
            <a:spLocks noGrp="1" noChangeArrowheads="1"/>
          </p:cNvSpPr>
          <p:nvPr>
            <p:ph type="dt" sz="half" idx="16"/>
          </p:nvPr>
        </p:nvSpPr>
        <p:spPr/>
        <p:txBody>
          <a:bodyPr/>
          <a:lstStyle>
            <a:lvl1pPr>
              <a:defRPr>
                <a:solidFill>
                  <a:schemeClr val="bg1"/>
                </a:solidFill>
              </a:defRPr>
            </a:lvl1pPr>
          </a:lstStyle>
          <a:p>
            <a:pPr>
              <a:defRPr/>
            </a:pPr>
            <a:r>
              <a:rPr lang="en-GB">
                <a:solidFill>
                  <a:srgbClr val="FFFFFF"/>
                </a:solidFill>
              </a:rPr>
              <a:t>Date</a:t>
            </a:r>
          </a:p>
        </p:txBody>
      </p:sp>
      <p:sp>
        <p:nvSpPr>
          <p:cNvPr id="5" name="Slide Number Placeholder 23"/>
          <p:cNvSpPr>
            <a:spLocks noGrp="1" noChangeArrowheads="1"/>
          </p:cNvSpPr>
          <p:nvPr>
            <p:ph type="sldNum" sz="quarter" idx="17"/>
          </p:nvPr>
        </p:nvSpPr>
        <p:spPr/>
        <p:txBody>
          <a:bodyPr/>
          <a:lstStyle>
            <a:lvl1pPr>
              <a:defRPr>
                <a:solidFill>
                  <a:schemeClr val="bg1"/>
                </a:solidFill>
              </a:defRPr>
            </a:lvl1pPr>
          </a:lstStyle>
          <a:p>
            <a:pPr>
              <a:defRPr/>
            </a:pPr>
            <a:fld id="{F635CBE2-21C0-4058-80A7-19F6B05D4ECC}" type="slidenum">
              <a:rPr lang="en-GB">
                <a:solidFill>
                  <a:srgbClr val="FFFFFF"/>
                </a:solidFill>
              </a:rPr>
              <a:pPr>
                <a:defRPr/>
              </a:pPr>
              <a:t>‹#›</a:t>
            </a:fld>
            <a:endParaRPr lang="en-GB">
              <a:solidFill>
                <a:srgbClr val="FFFFFF"/>
              </a:solidFill>
            </a:endParaRPr>
          </a:p>
        </p:txBody>
      </p:sp>
    </p:spTree>
    <p:extLst>
      <p:ext uri="{BB962C8B-B14F-4D97-AF65-F5344CB8AC3E}">
        <p14:creationId xmlns:p14="http://schemas.microsoft.com/office/powerpoint/2010/main" val="4150797989"/>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
            <a:ext cx="9144000" cy="2648932"/>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18" name="Content Placeholder 2"/>
          <p:cNvSpPr>
            <a:spLocks noGrp="1"/>
          </p:cNvSpPr>
          <p:nvPr>
            <p:ph idx="25"/>
          </p:nvPr>
        </p:nvSpPr>
        <p:spPr>
          <a:xfrm>
            <a:off x="316800" y="2873517"/>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Rectangle 5"/>
          <p:cNvSpPr>
            <a:spLocks noGrp="1" noChangeArrowheads="1"/>
          </p:cNvSpPr>
          <p:nvPr>
            <p:ph type="ftr" sz="quarter" idx="26"/>
          </p:nvPr>
        </p:nvSpPr>
        <p:spPr/>
        <p:txBody>
          <a:bodyPr/>
          <a:lstStyle>
            <a:lvl1pPr>
              <a:defRPr>
                <a:solidFill>
                  <a:schemeClr val="bg1"/>
                </a:solidFill>
              </a:defRPr>
            </a:lvl1pPr>
          </a:lstStyle>
          <a:p>
            <a:pPr>
              <a:defRPr/>
            </a:pPr>
            <a:r>
              <a:rPr lang="en-GB">
                <a:solidFill>
                  <a:srgbClr val="FFFFFF"/>
                </a:solidFill>
              </a:rPr>
              <a:t>Presentation title</a:t>
            </a:r>
          </a:p>
        </p:txBody>
      </p:sp>
      <p:sp>
        <p:nvSpPr>
          <p:cNvPr id="5" name="Rectangle 81"/>
          <p:cNvSpPr>
            <a:spLocks noGrp="1" noChangeArrowheads="1"/>
          </p:cNvSpPr>
          <p:nvPr>
            <p:ph type="dt" sz="half" idx="27"/>
          </p:nvPr>
        </p:nvSpPr>
        <p:spPr/>
        <p:txBody>
          <a:bodyPr/>
          <a:lstStyle>
            <a:lvl1pPr>
              <a:defRPr>
                <a:solidFill>
                  <a:schemeClr val="bg1"/>
                </a:solidFill>
              </a:defRPr>
            </a:lvl1pPr>
          </a:lstStyle>
          <a:p>
            <a:pPr>
              <a:defRPr/>
            </a:pPr>
            <a:r>
              <a:rPr lang="en-GB">
                <a:solidFill>
                  <a:srgbClr val="FFFFFF"/>
                </a:solidFill>
              </a:rPr>
              <a:t>Date</a:t>
            </a:r>
          </a:p>
        </p:txBody>
      </p:sp>
      <p:sp>
        <p:nvSpPr>
          <p:cNvPr id="6" name="Slide Number Placeholder 23"/>
          <p:cNvSpPr>
            <a:spLocks noGrp="1" noChangeArrowheads="1"/>
          </p:cNvSpPr>
          <p:nvPr>
            <p:ph type="sldNum" sz="quarter" idx="28"/>
          </p:nvPr>
        </p:nvSpPr>
        <p:spPr/>
        <p:txBody>
          <a:bodyPr/>
          <a:lstStyle>
            <a:lvl1pPr>
              <a:defRPr>
                <a:solidFill>
                  <a:schemeClr val="bg1"/>
                </a:solidFill>
              </a:defRPr>
            </a:lvl1pPr>
          </a:lstStyle>
          <a:p>
            <a:pPr>
              <a:defRPr/>
            </a:pPr>
            <a:fld id="{4D848CEC-8284-45B1-90D7-F85DDD3D7B40}" type="slidenum">
              <a:rPr lang="en-GB">
                <a:solidFill>
                  <a:srgbClr val="FFFFFF"/>
                </a:solidFill>
              </a:rPr>
              <a:pPr>
                <a:defRPr/>
              </a:pPr>
              <a:t>‹#›</a:t>
            </a:fld>
            <a:endParaRPr lang="en-GB">
              <a:solidFill>
                <a:srgbClr val="FFFFFF"/>
              </a:solidFill>
            </a:endParaRPr>
          </a:p>
        </p:txBody>
      </p:sp>
    </p:spTree>
    <p:extLst>
      <p:ext uri="{BB962C8B-B14F-4D97-AF65-F5344CB8AC3E}">
        <p14:creationId xmlns:p14="http://schemas.microsoft.com/office/powerpoint/2010/main" val="2061781105"/>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312226"/>
            <a:ext cx="9144000" cy="2955788"/>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5"/>
          </p:nvPr>
        </p:nvSpPr>
        <p:spPr>
          <a:ln/>
        </p:spPr>
        <p:txBody>
          <a:bodyPr/>
          <a:lstStyle>
            <a:lvl1pPr>
              <a:defRPr/>
            </a:lvl1pPr>
          </a:lstStyle>
          <a:p>
            <a:pPr>
              <a:defRPr/>
            </a:pPr>
            <a:fld id="{7CFA4BB8-AFB8-46ED-B190-B078DAD74CF4}" type="slidenum">
              <a:rPr lang="en-GB"/>
              <a:pPr>
                <a:defRPr/>
              </a:pPr>
              <a:t>‹#›</a:t>
            </a:fld>
            <a:endParaRPr lang="en-GB"/>
          </a:p>
        </p:txBody>
      </p:sp>
      <p:sp>
        <p:nvSpPr>
          <p:cNvPr id="5" name="Rectangle 5"/>
          <p:cNvSpPr>
            <a:spLocks noGrp="1" noChangeArrowheads="1"/>
          </p:cNvSpPr>
          <p:nvPr>
            <p:ph type="ftr" sz="quarter" idx="16"/>
          </p:nvPr>
        </p:nvSpPr>
        <p:spPr>
          <a:ln/>
        </p:spPr>
        <p:txBody>
          <a:bodyPr/>
          <a:lstStyle>
            <a:lvl1pPr>
              <a:defRPr/>
            </a:lvl1pPr>
          </a:lstStyle>
          <a:p>
            <a:pPr>
              <a:defRPr/>
            </a:pPr>
            <a:r>
              <a:rPr lang="en-GB"/>
              <a:t>Presentation title</a:t>
            </a:r>
          </a:p>
        </p:txBody>
      </p:sp>
      <p:sp>
        <p:nvSpPr>
          <p:cNvPr id="6" name="Rectangle 81"/>
          <p:cNvSpPr>
            <a:spLocks noGrp="1" noChangeArrowheads="1"/>
          </p:cNvSpPr>
          <p:nvPr>
            <p:ph type="dt" sz="half" idx="17"/>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487288249"/>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4566390" cy="5143500"/>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15" name="Title 1"/>
          <p:cNvSpPr>
            <a:spLocks noGrp="1"/>
          </p:cNvSpPr>
          <p:nvPr>
            <p:ph type="title"/>
          </p:nvPr>
        </p:nvSpPr>
        <p:spPr>
          <a:xfrm>
            <a:off x="4873480" y="515423"/>
            <a:ext cx="3953755" cy="391412"/>
          </a:xfrm>
        </p:spPr>
        <p:txBody>
          <a:bodyPr/>
          <a:lstStyle>
            <a:lvl1pPr>
              <a:defRPr sz="2400"/>
            </a:lvl1pPr>
          </a:lstStyle>
          <a:p>
            <a:r>
              <a:rPr lang="en-US" noProof="0" smtClean="0"/>
              <a:t>Click to edit Master title style</a:t>
            </a:r>
            <a:endParaRPr lang="en-GB" noProof="0" dirty="0"/>
          </a:p>
        </p:txBody>
      </p:sp>
      <p:sp>
        <p:nvSpPr>
          <p:cNvPr id="14" name="Content Placeholder 2"/>
          <p:cNvSpPr>
            <a:spLocks noGrp="1"/>
          </p:cNvSpPr>
          <p:nvPr>
            <p:ph idx="11"/>
          </p:nvPr>
        </p:nvSpPr>
        <p:spPr>
          <a:xfrm>
            <a:off x="4873480" y="1312223"/>
            <a:ext cx="3953755"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5"/>
          <p:cNvSpPr>
            <a:spLocks noGrp="1" noChangeArrowheads="1"/>
          </p:cNvSpPr>
          <p:nvPr>
            <p:ph type="ftr" sz="quarter" idx="15"/>
          </p:nvPr>
        </p:nvSpPr>
        <p:spPr>
          <a:xfrm>
            <a:off x="4873655" y="103240"/>
            <a:ext cx="2200275" cy="101600"/>
          </a:xfrm>
        </p:spPr>
        <p:txBody>
          <a:bodyPr/>
          <a:lstStyle>
            <a:lvl1pPr>
              <a:defRPr/>
            </a:lvl1pPr>
          </a:lstStyle>
          <a:p>
            <a:pPr>
              <a:defRPr/>
            </a:pPr>
            <a:r>
              <a:rPr lang="en-GB"/>
              <a:t>Presentation title</a:t>
            </a:r>
          </a:p>
        </p:txBody>
      </p:sp>
      <p:sp>
        <p:nvSpPr>
          <p:cNvPr id="6" name="Rectangle 81"/>
          <p:cNvSpPr>
            <a:spLocks noGrp="1" noChangeArrowheads="1"/>
          </p:cNvSpPr>
          <p:nvPr>
            <p:ph type="dt" sz="half" idx="16"/>
          </p:nvPr>
        </p:nvSpPr>
        <p:spPr/>
        <p:txBody>
          <a:bodyPr/>
          <a:lstStyle>
            <a:lvl1pPr>
              <a:defRPr/>
            </a:lvl1pPr>
          </a:lstStyle>
          <a:p>
            <a:pPr>
              <a:defRPr/>
            </a:pPr>
            <a:r>
              <a:rPr lang="en-GB"/>
              <a:t>Date</a:t>
            </a:r>
          </a:p>
        </p:txBody>
      </p:sp>
      <p:sp>
        <p:nvSpPr>
          <p:cNvPr id="7" name="Slide Number Placeholder 23"/>
          <p:cNvSpPr>
            <a:spLocks noGrp="1" noChangeArrowheads="1"/>
          </p:cNvSpPr>
          <p:nvPr>
            <p:ph type="sldNum" sz="quarter" idx="17"/>
          </p:nvPr>
        </p:nvSpPr>
        <p:spPr/>
        <p:txBody>
          <a:bodyPr/>
          <a:lstStyle>
            <a:lvl1pPr>
              <a:defRPr/>
            </a:lvl1pPr>
          </a:lstStyle>
          <a:p>
            <a:pPr>
              <a:defRPr/>
            </a:pPr>
            <a:fld id="{6AD293EB-0B34-4DA1-89EA-18B8EBFEB312}" type="slidenum">
              <a:rPr lang="en-GB"/>
              <a:pPr>
                <a:defRPr/>
              </a:pPr>
              <a:t>‹#›</a:t>
            </a:fld>
            <a:endParaRPr lang="en-GB"/>
          </a:p>
        </p:txBody>
      </p:sp>
    </p:spTree>
    <p:extLst>
      <p:ext uri="{BB962C8B-B14F-4D97-AF65-F5344CB8AC3E}">
        <p14:creationId xmlns:p14="http://schemas.microsoft.com/office/powerpoint/2010/main" val="635900730"/>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316800" y="1312226"/>
            <a:ext cx="8510400" cy="2955788"/>
          </a:xfrm>
          <a:prstGeom prst="roundRect">
            <a:avLst>
              <a:gd name="adj" fmla="val 4683"/>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5"/>
          </p:nvPr>
        </p:nvSpPr>
        <p:spPr>
          <a:ln/>
        </p:spPr>
        <p:txBody>
          <a:bodyPr/>
          <a:lstStyle>
            <a:lvl1pPr>
              <a:defRPr/>
            </a:lvl1pPr>
          </a:lstStyle>
          <a:p>
            <a:pPr>
              <a:defRPr/>
            </a:pPr>
            <a:fld id="{BD4982E4-2142-4BDC-AE36-E3CE86147165}" type="slidenum">
              <a:rPr lang="en-GB"/>
              <a:pPr>
                <a:defRPr/>
              </a:pPr>
              <a:t>‹#›</a:t>
            </a:fld>
            <a:endParaRPr lang="en-GB"/>
          </a:p>
        </p:txBody>
      </p:sp>
      <p:sp>
        <p:nvSpPr>
          <p:cNvPr id="5" name="Rectangle 5"/>
          <p:cNvSpPr>
            <a:spLocks noGrp="1" noChangeArrowheads="1"/>
          </p:cNvSpPr>
          <p:nvPr>
            <p:ph type="ftr" sz="quarter" idx="16"/>
          </p:nvPr>
        </p:nvSpPr>
        <p:spPr>
          <a:ln/>
        </p:spPr>
        <p:txBody>
          <a:bodyPr/>
          <a:lstStyle>
            <a:lvl1pPr>
              <a:defRPr/>
            </a:lvl1pPr>
          </a:lstStyle>
          <a:p>
            <a:pPr>
              <a:defRPr/>
            </a:pPr>
            <a:r>
              <a:rPr lang="en-GB"/>
              <a:t>Presentation title</a:t>
            </a:r>
          </a:p>
        </p:txBody>
      </p:sp>
      <p:sp>
        <p:nvSpPr>
          <p:cNvPr id="6" name="Rectangle 81"/>
          <p:cNvSpPr>
            <a:spLocks noGrp="1" noChangeArrowheads="1"/>
          </p:cNvSpPr>
          <p:nvPr>
            <p:ph type="dt" sz="half" idx="17"/>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214824811"/>
      </p:ext>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4731411" y="1312226"/>
            <a:ext cx="4093768" cy="2955788"/>
          </a:xfrm>
          <a:prstGeom prst="roundRect">
            <a:avLst>
              <a:gd name="adj" fmla="val 3924"/>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13"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Rectangle 23"/>
          <p:cNvSpPr>
            <a:spLocks noGrp="1" noChangeArrowheads="1"/>
          </p:cNvSpPr>
          <p:nvPr>
            <p:ph type="sldNum" sz="quarter" idx="15"/>
          </p:nvPr>
        </p:nvSpPr>
        <p:spPr>
          <a:ln/>
        </p:spPr>
        <p:txBody>
          <a:bodyPr/>
          <a:lstStyle>
            <a:lvl1pPr>
              <a:defRPr/>
            </a:lvl1pPr>
          </a:lstStyle>
          <a:p>
            <a:pPr>
              <a:defRPr/>
            </a:pPr>
            <a:fld id="{7C13C58B-888A-43A4-B017-86BFC6343B5E}" type="slidenum">
              <a:rPr lang="en-GB"/>
              <a:pPr>
                <a:defRPr/>
              </a:pPr>
              <a:t>‹#›</a:t>
            </a:fld>
            <a:endParaRPr lang="en-GB"/>
          </a:p>
        </p:txBody>
      </p:sp>
      <p:sp>
        <p:nvSpPr>
          <p:cNvPr id="6" name="Rectangle 5"/>
          <p:cNvSpPr>
            <a:spLocks noGrp="1" noChangeArrowheads="1"/>
          </p:cNvSpPr>
          <p:nvPr>
            <p:ph type="ftr" sz="quarter" idx="16"/>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17"/>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4202771749"/>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sp>
        <p:nvSpPr>
          <p:cNvPr id="12" name="Content Placeholder 2"/>
          <p:cNvSpPr>
            <a:spLocks noGrp="1"/>
          </p:cNvSpPr>
          <p:nvPr>
            <p:ph idx="18"/>
          </p:nvPr>
        </p:nvSpPr>
        <p:spPr>
          <a:xfrm>
            <a:off x="318835" y="1312223"/>
            <a:ext cx="556463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Picture Placeholder 8"/>
          <p:cNvSpPr>
            <a:spLocks noGrp="1"/>
          </p:cNvSpPr>
          <p:nvPr>
            <p:ph type="pic" sz="quarter" idx="14"/>
          </p:nvPr>
        </p:nvSpPr>
        <p:spPr>
          <a:xfrm>
            <a:off x="6202278" y="1312226"/>
            <a:ext cx="2624927" cy="2955788"/>
          </a:xfrm>
          <a:prstGeom prst="roundRect">
            <a:avLst>
              <a:gd name="adj" fmla="val 4084"/>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5" name="Rectangle 23"/>
          <p:cNvSpPr>
            <a:spLocks noGrp="1" noChangeArrowheads="1"/>
          </p:cNvSpPr>
          <p:nvPr>
            <p:ph type="sldNum" sz="quarter" idx="19"/>
          </p:nvPr>
        </p:nvSpPr>
        <p:spPr>
          <a:ln/>
        </p:spPr>
        <p:txBody>
          <a:bodyPr/>
          <a:lstStyle>
            <a:lvl1pPr>
              <a:defRPr/>
            </a:lvl1pPr>
          </a:lstStyle>
          <a:p>
            <a:pPr>
              <a:defRPr/>
            </a:pPr>
            <a:fld id="{7BBBD254-DF4B-4DF0-887F-87AEEC9C821D}" type="slidenum">
              <a:rPr lang="en-GB"/>
              <a:pPr>
                <a:defRPr/>
              </a:pPr>
              <a:t>‹#›</a:t>
            </a:fld>
            <a:endParaRPr lang="en-GB"/>
          </a:p>
        </p:txBody>
      </p:sp>
      <p:sp>
        <p:nvSpPr>
          <p:cNvPr id="7" name="Rectangle 5"/>
          <p:cNvSpPr>
            <a:spLocks noGrp="1" noChangeArrowheads="1"/>
          </p:cNvSpPr>
          <p:nvPr>
            <p:ph type="ftr" sz="quarter" idx="20"/>
          </p:nvPr>
        </p:nvSpPr>
        <p:spPr>
          <a:ln/>
        </p:spPr>
        <p:txBody>
          <a:bodyPr/>
          <a:lstStyle>
            <a:lvl1pPr>
              <a:defRPr/>
            </a:lvl1pPr>
          </a:lstStyle>
          <a:p>
            <a:pPr>
              <a:defRPr/>
            </a:pPr>
            <a:r>
              <a:rPr lang="en-GB"/>
              <a:t>Presentation title</a:t>
            </a:r>
          </a:p>
        </p:txBody>
      </p:sp>
      <p:sp>
        <p:nvSpPr>
          <p:cNvPr id="8" name="Rectangle 81"/>
          <p:cNvSpPr>
            <a:spLocks noGrp="1" noChangeArrowheads="1"/>
          </p:cNvSpPr>
          <p:nvPr>
            <p:ph type="dt" sz="half" idx="21"/>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61995453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Text Placeholder 2"/>
          <p:cNvSpPr>
            <a:spLocks noGrp="1"/>
          </p:cNvSpPr>
          <p:nvPr>
            <p:ph type="body" sz="quarter" idx="11"/>
          </p:nvPr>
        </p:nvSpPr>
        <p:spPr>
          <a:xfrm>
            <a:off x="316801" y="42505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3445011384"/>
      </p:ext>
    </p:extLst>
  </p:cSld>
  <p:clrMapOvr>
    <a:masterClrMapping/>
  </p:clrMapOvr>
  <p:transition/>
  <p:extLst mod="1">
    <p:ext uri="{DCECCB84-F9BA-43D5-87BE-67443E8EF086}">
      <p15:sldGuideLst xmlns:p15="http://schemas.microsoft.com/office/powerpoint/2012/main" xmlns="">
        <p15:guide id="1" orient="horz" pos="1620">
          <p15:clr>
            <a:srgbClr val="FBAE40"/>
          </p15:clr>
        </p15:guide>
        <p15:guide id="2" pos="2880">
          <p15:clr>
            <a:srgbClr val="FBAE40"/>
          </p15:clr>
        </p15:guide>
        <p15:guide id="3" orient="horz" pos="31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noAutofit/>
          </a:bodyPr>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194290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sp>
        <p:nvSpPr>
          <p:cNvPr id="12" name="Picture Placeholder 8"/>
          <p:cNvSpPr>
            <a:spLocks noGrp="1"/>
          </p:cNvSpPr>
          <p:nvPr>
            <p:ph type="pic" sz="quarter" idx="27"/>
          </p:nvPr>
        </p:nvSpPr>
        <p:spPr>
          <a:xfrm>
            <a:off x="6937200"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14" name="Content Placeholder 2"/>
          <p:cNvSpPr>
            <a:spLocks noGrp="1"/>
          </p:cNvSpPr>
          <p:nvPr>
            <p:ph idx="18"/>
          </p:nvPr>
        </p:nvSpPr>
        <p:spPr>
          <a:xfrm>
            <a:off x="318830" y="1312223"/>
            <a:ext cx="6308887"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5" name="Rectangle 23"/>
          <p:cNvSpPr>
            <a:spLocks noGrp="1" noChangeArrowheads="1"/>
          </p:cNvSpPr>
          <p:nvPr>
            <p:ph type="sldNum" sz="quarter" idx="28"/>
          </p:nvPr>
        </p:nvSpPr>
        <p:spPr>
          <a:ln/>
        </p:spPr>
        <p:txBody>
          <a:bodyPr/>
          <a:lstStyle>
            <a:lvl1pPr>
              <a:defRPr/>
            </a:lvl1pPr>
          </a:lstStyle>
          <a:p>
            <a:pPr>
              <a:defRPr/>
            </a:pPr>
            <a:fld id="{A4231EEB-6700-46B0-9686-C2B44E8A5EA1}" type="slidenum">
              <a:rPr lang="en-GB"/>
              <a:pPr>
                <a:defRPr/>
              </a:pPr>
              <a:t>‹#›</a:t>
            </a:fld>
            <a:endParaRPr lang="en-GB"/>
          </a:p>
        </p:txBody>
      </p:sp>
      <p:sp>
        <p:nvSpPr>
          <p:cNvPr id="6" name="Rectangle 5"/>
          <p:cNvSpPr>
            <a:spLocks noGrp="1" noChangeArrowheads="1"/>
          </p:cNvSpPr>
          <p:nvPr>
            <p:ph type="ftr" sz="quarter" idx="29"/>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30"/>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3508117562"/>
      </p:ext>
    </p:extLst>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318833" y="1312223"/>
            <a:ext cx="409965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9"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9" name="Picture Placeholder 8"/>
          <p:cNvSpPr>
            <a:spLocks noGrp="1"/>
          </p:cNvSpPr>
          <p:nvPr>
            <p:ph type="pic" sz="quarter" idx="27"/>
          </p:nvPr>
        </p:nvSpPr>
        <p:spPr>
          <a:xfrm>
            <a:off x="6937200"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30" name="Picture Placeholder 8"/>
          <p:cNvSpPr>
            <a:spLocks noGrp="1"/>
          </p:cNvSpPr>
          <p:nvPr>
            <p:ph type="pic" sz="quarter" idx="28"/>
          </p:nvPr>
        </p:nvSpPr>
        <p:spPr>
          <a:xfrm>
            <a:off x="4726874"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6" name="Rectangle 23"/>
          <p:cNvSpPr>
            <a:spLocks noGrp="1" noChangeArrowheads="1"/>
          </p:cNvSpPr>
          <p:nvPr>
            <p:ph type="sldNum" sz="quarter" idx="29"/>
          </p:nvPr>
        </p:nvSpPr>
        <p:spPr>
          <a:ln/>
        </p:spPr>
        <p:txBody>
          <a:bodyPr/>
          <a:lstStyle>
            <a:lvl1pPr>
              <a:defRPr/>
            </a:lvl1pPr>
          </a:lstStyle>
          <a:p>
            <a:pPr>
              <a:defRPr/>
            </a:pPr>
            <a:fld id="{2DE81E57-60D7-416D-868B-304A8454286F}" type="slidenum">
              <a:rPr lang="en-GB"/>
              <a:pPr>
                <a:defRPr/>
              </a:pPr>
              <a:t>‹#›</a:t>
            </a:fld>
            <a:endParaRPr lang="en-GB"/>
          </a:p>
        </p:txBody>
      </p:sp>
      <p:sp>
        <p:nvSpPr>
          <p:cNvPr id="7" name="Rectangle 5"/>
          <p:cNvSpPr>
            <a:spLocks noGrp="1" noChangeArrowheads="1"/>
          </p:cNvSpPr>
          <p:nvPr>
            <p:ph type="ftr" sz="quarter" idx="30"/>
          </p:nvPr>
        </p:nvSpPr>
        <p:spPr>
          <a:ln/>
        </p:spPr>
        <p:txBody>
          <a:bodyPr/>
          <a:lstStyle>
            <a:lvl1pPr>
              <a:defRPr/>
            </a:lvl1pPr>
          </a:lstStyle>
          <a:p>
            <a:pPr>
              <a:defRPr/>
            </a:pPr>
            <a:r>
              <a:rPr lang="en-GB"/>
              <a:t>Presentation title</a:t>
            </a:r>
          </a:p>
        </p:txBody>
      </p:sp>
      <p:sp>
        <p:nvSpPr>
          <p:cNvPr id="8" name="Rectangle 81"/>
          <p:cNvSpPr>
            <a:spLocks noGrp="1" noChangeArrowheads="1"/>
          </p:cNvSpPr>
          <p:nvPr>
            <p:ph type="dt" sz="half" idx="31"/>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1138628162"/>
      </p:ext>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sp>
        <p:nvSpPr>
          <p:cNvPr id="15"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29" name="Picture Placeholder 8"/>
          <p:cNvSpPr>
            <a:spLocks noGrp="1"/>
          </p:cNvSpPr>
          <p:nvPr>
            <p:ph type="pic" sz="quarter" idx="27"/>
          </p:nvPr>
        </p:nvSpPr>
        <p:spPr>
          <a:xfrm>
            <a:off x="6937200"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30" name="Picture Placeholder 8"/>
          <p:cNvSpPr>
            <a:spLocks noGrp="1"/>
          </p:cNvSpPr>
          <p:nvPr>
            <p:ph type="pic" sz="quarter" idx="28"/>
          </p:nvPr>
        </p:nvSpPr>
        <p:spPr>
          <a:xfrm>
            <a:off x="4726874"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31" name="Picture Placeholder 8"/>
          <p:cNvSpPr>
            <a:spLocks noGrp="1"/>
          </p:cNvSpPr>
          <p:nvPr>
            <p:ph type="pic" sz="quarter" idx="29"/>
          </p:nvPr>
        </p:nvSpPr>
        <p:spPr>
          <a:xfrm>
            <a:off x="2521837"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32" name="Picture Placeholder 8"/>
          <p:cNvSpPr>
            <a:spLocks noGrp="1"/>
          </p:cNvSpPr>
          <p:nvPr>
            <p:ph type="pic" sz="quarter" idx="30"/>
          </p:nvPr>
        </p:nvSpPr>
        <p:spPr>
          <a:xfrm>
            <a:off x="316800" y="1312226"/>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smtClean="0"/>
              <a:t>Click icon to add picture</a:t>
            </a:r>
            <a:endParaRPr lang="en-GB" noProof="0" dirty="0"/>
          </a:p>
        </p:txBody>
      </p:sp>
      <p:sp>
        <p:nvSpPr>
          <p:cNvPr id="7" name="Rectangle 23"/>
          <p:cNvSpPr>
            <a:spLocks noGrp="1" noChangeArrowheads="1"/>
          </p:cNvSpPr>
          <p:nvPr>
            <p:ph type="sldNum" sz="quarter" idx="31"/>
          </p:nvPr>
        </p:nvSpPr>
        <p:spPr>
          <a:ln/>
        </p:spPr>
        <p:txBody>
          <a:bodyPr/>
          <a:lstStyle>
            <a:lvl1pPr>
              <a:defRPr/>
            </a:lvl1pPr>
          </a:lstStyle>
          <a:p>
            <a:pPr>
              <a:defRPr/>
            </a:pPr>
            <a:fld id="{145599C8-BEA1-4BAF-A7D8-723953CAC4DE}" type="slidenum">
              <a:rPr lang="en-GB"/>
              <a:pPr>
                <a:defRPr/>
              </a:pPr>
              <a:t>‹#›</a:t>
            </a:fld>
            <a:endParaRPr lang="en-GB"/>
          </a:p>
        </p:txBody>
      </p:sp>
      <p:sp>
        <p:nvSpPr>
          <p:cNvPr id="8" name="Rectangle 5"/>
          <p:cNvSpPr>
            <a:spLocks noGrp="1" noChangeArrowheads="1"/>
          </p:cNvSpPr>
          <p:nvPr>
            <p:ph type="ftr" sz="quarter" idx="32"/>
          </p:nvPr>
        </p:nvSpPr>
        <p:spPr>
          <a:ln/>
        </p:spPr>
        <p:txBody>
          <a:bodyPr/>
          <a:lstStyle>
            <a:lvl1pPr>
              <a:defRPr/>
            </a:lvl1pPr>
          </a:lstStyle>
          <a:p>
            <a:pPr>
              <a:defRPr/>
            </a:pPr>
            <a:r>
              <a:rPr lang="en-GB"/>
              <a:t>Presentation title</a:t>
            </a:r>
          </a:p>
        </p:txBody>
      </p:sp>
      <p:sp>
        <p:nvSpPr>
          <p:cNvPr id="9" name="Rectangle 81"/>
          <p:cNvSpPr>
            <a:spLocks noGrp="1" noChangeArrowheads="1"/>
          </p:cNvSpPr>
          <p:nvPr>
            <p:ph type="dt" sz="half" idx="33"/>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4167029623"/>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sp>
        <p:nvSpPr>
          <p:cNvPr id="14" name="Content Placeholder 2"/>
          <p:cNvSpPr>
            <a:spLocks noGrp="1"/>
          </p:cNvSpPr>
          <p:nvPr>
            <p:ph idx="23"/>
          </p:nvPr>
        </p:nvSpPr>
        <p:spPr>
          <a:xfrm>
            <a:off x="318828" y="1312223"/>
            <a:ext cx="2923653"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3" name="Media Placeholder 8"/>
          <p:cNvSpPr>
            <a:spLocks noGrp="1"/>
          </p:cNvSpPr>
          <p:nvPr>
            <p:ph type="media" sz="quarter" idx="18"/>
          </p:nvPr>
        </p:nvSpPr>
        <p:spPr>
          <a:xfrm>
            <a:off x="3578125" y="1309928"/>
            <a:ext cx="5258820" cy="2958085"/>
          </a:xfrm>
          <a:solidFill>
            <a:schemeClr val="accent6"/>
          </a:solidFill>
          <a:effectLst/>
        </p:spPr>
        <p:txBody>
          <a:bodyPr rtlCol="0" anchor="ctr">
            <a:normAutofit/>
          </a:bodyPr>
          <a:lstStyle>
            <a:lvl1pPr marL="0" indent="0" algn="ctr">
              <a:buNone/>
              <a:defRPr sz="700">
                <a:solidFill>
                  <a:schemeClr val="bg1"/>
                </a:solidFill>
              </a:defRPr>
            </a:lvl1pPr>
          </a:lstStyle>
          <a:p>
            <a:pPr lvl="0"/>
            <a:r>
              <a:rPr lang="en-US" noProof="0" smtClean="0"/>
              <a:t>Click icon to add media</a:t>
            </a:r>
            <a:endParaRPr lang="en-GB" noProof="0"/>
          </a:p>
        </p:txBody>
      </p:sp>
      <p:sp>
        <p:nvSpPr>
          <p:cNvPr id="16"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5" name="Rectangle 23"/>
          <p:cNvSpPr>
            <a:spLocks noGrp="1" noChangeArrowheads="1"/>
          </p:cNvSpPr>
          <p:nvPr>
            <p:ph type="sldNum" sz="quarter" idx="24"/>
          </p:nvPr>
        </p:nvSpPr>
        <p:spPr>
          <a:ln/>
        </p:spPr>
        <p:txBody>
          <a:bodyPr/>
          <a:lstStyle>
            <a:lvl1pPr>
              <a:defRPr/>
            </a:lvl1pPr>
          </a:lstStyle>
          <a:p>
            <a:pPr>
              <a:defRPr/>
            </a:pPr>
            <a:fld id="{7CAE7966-83DC-4240-B609-09CC0330786C}" type="slidenum">
              <a:rPr lang="en-GB"/>
              <a:pPr>
                <a:defRPr/>
              </a:pPr>
              <a:t>‹#›</a:t>
            </a:fld>
            <a:endParaRPr lang="en-GB"/>
          </a:p>
        </p:txBody>
      </p:sp>
      <p:sp>
        <p:nvSpPr>
          <p:cNvPr id="6" name="Rectangle 5"/>
          <p:cNvSpPr>
            <a:spLocks noGrp="1" noChangeArrowheads="1"/>
          </p:cNvSpPr>
          <p:nvPr>
            <p:ph type="ftr" sz="quarter" idx="25"/>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26"/>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1522488974"/>
      </p:ext>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sp>
        <p:nvSpPr>
          <p:cNvPr id="10" name="Media Placeholder 8"/>
          <p:cNvSpPr>
            <a:spLocks noGrp="1"/>
          </p:cNvSpPr>
          <p:nvPr>
            <p:ph type="media" sz="quarter" idx="15"/>
          </p:nvPr>
        </p:nvSpPr>
        <p:spPr>
          <a:xfrm>
            <a:off x="4891539" y="1309928"/>
            <a:ext cx="3945406" cy="2958085"/>
          </a:xfrm>
          <a:solidFill>
            <a:schemeClr val="accent6"/>
          </a:solidFill>
          <a:effectLst/>
        </p:spPr>
        <p:txBody>
          <a:bodyPr rtlCol="0" anchor="ctr">
            <a:normAutofit/>
          </a:bodyPr>
          <a:lstStyle>
            <a:lvl1pPr marL="0" indent="0" algn="ctr">
              <a:buNone/>
              <a:defRPr sz="700" baseline="0">
                <a:solidFill>
                  <a:schemeClr val="bg1"/>
                </a:solidFill>
              </a:defRPr>
            </a:lvl1pPr>
          </a:lstStyle>
          <a:p>
            <a:pPr lvl="0"/>
            <a:r>
              <a:rPr lang="en-US" noProof="0" smtClean="0"/>
              <a:t>Click icon to add media</a:t>
            </a:r>
            <a:endParaRPr lang="en-GB" noProof="0"/>
          </a:p>
        </p:txBody>
      </p:sp>
      <p:sp>
        <p:nvSpPr>
          <p:cNvPr id="17" name="Content Placeholder 2"/>
          <p:cNvSpPr>
            <a:spLocks noGrp="1"/>
          </p:cNvSpPr>
          <p:nvPr>
            <p:ph idx="24"/>
          </p:nvPr>
        </p:nvSpPr>
        <p:spPr>
          <a:xfrm>
            <a:off x="318821" y="1312223"/>
            <a:ext cx="4251592"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6"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5" name="Rectangle 23"/>
          <p:cNvSpPr>
            <a:spLocks noGrp="1" noChangeArrowheads="1"/>
          </p:cNvSpPr>
          <p:nvPr>
            <p:ph type="sldNum" sz="quarter" idx="25"/>
          </p:nvPr>
        </p:nvSpPr>
        <p:spPr>
          <a:ln/>
        </p:spPr>
        <p:txBody>
          <a:bodyPr/>
          <a:lstStyle>
            <a:lvl1pPr>
              <a:defRPr/>
            </a:lvl1pPr>
          </a:lstStyle>
          <a:p>
            <a:pPr>
              <a:defRPr/>
            </a:pPr>
            <a:fld id="{2A08F6F7-D3CD-40B8-A868-C91D9D6DF62F}" type="slidenum">
              <a:rPr lang="en-GB"/>
              <a:pPr>
                <a:defRPr/>
              </a:pPr>
              <a:t>‹#›</a:t>
            </a:fld>
            <a:endParaRPr lang="en-GB"/>
          </a:p>
        </p:txBody>
      </p:sp>
      <p:sp>
        <p:nvSpPr>
          <p:cNvPr id="6" name="Rectangle 5"/>
          <p:cNvSpPr>
            <a:spLocks noGrp="1" noChangeArrowheads="1"/>
          </p:cNvSpPr>
          <p:nvPr>
            <p:ph type="ftr" sz="quarter" idx="26"/>
          </p:nvPr>
        </p:nvSpPr>
        <p:spPr>
          <a:ln/>
        </p:spPr>
        <p:txBody>
          <a:bodyPr/>
          <a:lstStyle>
            <a:lvl1pPr>
              <a:defRPr/>
            </a:lvl1pPr>
          </a:lstStyle>
          <a:p>
            <a:pPr>
              <a:defRPr/>
            </a:pPr>
            <a:r>
              <a:rPr lang="en-GB"/>
              <a:t>Presentation title</a:t>
            </a:r>
          </a:p>
        </p:txBody>
      </p:sp>
      <p:sp>
        <p:nvSpPr>
          <p:cNvPr id="7" name="Rectangle 81"/>
          <p:cNvSpPr>
            <a:spLocks noGrp="1" noChangeArrowheads="1"/>
          </p:cNvSpPr>
          <p:nvPr>
            <p:ph type="dt" sz="half" idx="27"/>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3020652622"/>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p:nvPr>
        </p:nvSpPr>
        <p:spPr>
          <a:xfrm>
            <a:off x="0" y="15"/>
            <a:ext cx="9144000" cy="5143499"/>
          </a:xfrm>
          <a:solidFill>
            <a:schemeClr val="accent6"/>
          </a:solidFill>
          <a:effectLst/>
        </p:spPr>
        <p:txBody>
          <a:bodyPr rtlCol="0" anchor="ctr">
            <a:normAutofit/>
          </a:bodyPr>
          <a:lstStyle>
            <a:lvl1pPr marL="0" indent="0" algn="ctr">
              <a:buNone/>
              <a:defRPr sz="700">
                <a:solidFill>
                  <a:schemeClr val="bg1"/>
                </a:solidFill>
              </a:defRPr>
            </a:lvl1pPr>
          </a:lstStyle>
          <a:p>
            <a:pPr lvl="0"/>
            <a:r>
              <a:rPr lang="en-US" noProof="0" smtClean="0"/>
              <a:t>Click icon to add media</a:t>
            </a:r>
            <a:endParaRPr lang="en-GB" noProof="0"/>
          </a:p>
        </p:txBody>
      </p:sp>
      <p:sp>
        <p:nvSpPr>
          <p:cNvPr id="3" name="Rectangle 5"/>
          <p:cNvSpPr>
            <a:spLocks noGrp="1" noChangeArrowheads="1"/>
          </p:cNvSpPr>
          <p:nvPr>
            <p:ph type="ftr" sz="quarter" idx="19"/>
          </p:nvPr>
        </p:nvSpPr>
        <p:spPr/>
        <p:txBody>
          <a:bodyPr/>
          <a:lstStyle>
            <a:lvl1pPr>
              <a:defRPr>
                <a:solidFill>
                  <a:schemeClr val="bg1"/>
                </a:solidFill>
              </a:defRPr>
            </a:lvl1pPr>
          </a:lstStyle>
          <a:p>
            <a:pPr>
              <a:defRPr/>
            </a:pPr>
            <a:r>
              <a:rPr lang="en-GB">
                <a:solidFill>
                  <a:srgbClr val="FFFFFF"/>
                </a:solidFill>
              </a:rPr>
              <a:t>Presentation title</a:t>
            </a:r>
          </a:p>
        </p:txBody>
      </p:sp>
      <p:sp>
        <p:nvSpPr>
          <p:cNvPr id="4" name="Rectangle 81"/>
          <p:cNvSpPr>
            <a:spLocks noGrp="1" noChangeArrowheads="1"/>
          </p:cNvSpPr>
          <p:nvPr>
            <p:ph type="dt" sz="half" idx="20"/>
          </p:nvPr>
        </p:nvSpPr>
        <p:spPr/>
        <p:txBody>
          <a:bodyPr/>
          <a:lstStyle>
            <a:lvl1pPr>
              <a:defRPr>
                <a:solidFill>
                  <a:schemeClr val="bg1"/>
                </a:solidFill>
              </a:defRPr>
            </a:lvl1pPr>
          </a:lstStyle>
          <a:p>
            <a:pPr>
              <a:defRPr/>
            </a:pPr>
            <a:r>
              <a:rPr lang="en-GB">
                <a:solidFill>
                  <a:srgbClr val="FFFFFF"/>
                </a:solidFill>
              </a:rPr>
              <a:t>Date</a:t>
            </a:r>
          </a:p>
        </p:txBody>
      </p:sp>
      <p:sp>
        <p:nvSpPr>
          <p:cNvPr id="5" name="Slide Number Placeholder 23"/>
          <p:cNvSpPr>
            <a:spLocks noGrp="1" noChangeArrowheads="1"/>
          </p:cNvSpPr>
          <p:nvPr>
            <p:ph type="sldNum" sz="quarter" idx="21"/>
          </p:nvPr>
        </p:nvSpPr>
        <p:spPr/>
        <p:txBody>
          <a:bodyPr/>
          <a:lstStyle>
            <a:lvl1pPr>
              <a:defRPr>
                <a:solidFill>
                  <a:schemeClr val="bg1"/>
                </a:solidFill>
              </a:defRPr>
            </a:lvl1pPr>
          </a:lstStyle>
          <a:p>
            <a:pPr>
              <a:defRPr/>
            </a:pPr>
            <a:fld id="{DE6315FE-33FB-4296-ACBA-56CADFC3BCED}" type="slidenum">
              <a:rPr lang="en-GB">
                <a:solidFill>
                  <a:srgbClr val="FFFFFF"/>
                </a:solidFill>
              </a:rPr>
              <a:pPr>
                <a:defRPr/>
              </a:pPr>
              <a:t>‹#›</a:t>
            </a:fld>
            <a:endParaRPr lang="en-GB">
              <a:solidFill>
                <a:srgbClr val="FFFFFF"/>
              </a:solidFill>
            </a:endParaRPr>
          </a:p>
        </p:txBody>
      </p:sp>
    </p:spTree>
    <p:extLst>
      <p:ext uri="{BB962C8B-B14F-4D97-AF65-F5344CB8AC3E}">
        <p14:creationId xmlns:p14="http://schemas.microsoft.com/office/powerpoint/2010/main" val="26288182"/>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sp>
        <p:nvSpPr>
          <p:cNvPr id="2" name="Rectangle 1"/>
          <p:cNvSpPr/>
          <p:nvPr userDrawn="1"/>
        </p:nvSpPr>
        <p:spPr bwMode="auto">
          <a:xfrm>
            <a:off x="317502" y="309582"/>
            <a:ext cx="8509000" cy="3959225"/>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a:extLst/>
        </p:spPr>
        <p:txBody>
          <a:bodyPr wrap="none" lIns="72000" tIns="72000" rIns="72000" bIns="72000" anchor="ctr"/>
          <a:lstStyle/>
          <a:p>
            <a:pPr algn="ctr" defTabSz="1219200" fontAlgn="base">
              <a:spcBef>
                <a:spcPct val="50000"/>
              </a:spcBef>
              <a:spcAft>
                <a:spcPct val="0"/>
              </a:spcAft>
              <a:defRPr/>
            </a:pPr>
            <a:endParaRPr lang="en-GB" sz="2400" b="1">
              <a:solidFill>
                <a:srgbClr val="001965"/>
              </a:solidFill>
              <a:ea typeface="ＭＳ Ｐゴシック" pitchFamily="34" charset="-128"/>
            </a:endParaRPr>
          </a:p>
        </p:txBody>
      </p:sp>
      <p:sp>
        <p:nvSpPr>
          <p:cNvPr id="3" name="Title 6"/>
          <p:cNvSpPr txBox="1">
            <a:spLocks/>
          </p:cNvSpPr>
          <p:nvPr userDrawn="1"/>
        </p:nvSpPr>
        <p:spPr bwMode="auto">
          <a:xfrm>
            <a:off x="319094" y="577850"/>
            <a:ext cx="8518525" cy="390525"/>
          </a:xfrm>
          <a:prstGeom prst="rect">
            <a:avLst/>
          </a:prstGeom>
          <a:noFill/>
          <a:ln>
            <a:noFill/>
          </a:ln>
          <a:effectLst/>
          <a:extLst/>
        </p:spPr>
        <p:txBody>
          <a:bodyPr lIns="0" tIns="0" rIns="0" bIns="0"/>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pPr>
              <a:defRPr/>
            </a:pPr>
            <a:r>
              <a:rPr lang="en-GB" dirty="0" smtClean="0"/>
              <a:t>Title</a:t>
            </a:r>
            <a:endParaRPr lang="en-GB" dirty="0"/>
          </a:p>
        </p:txBody>
      </p:sp>
      <p:sp>
        <p:nvSpPr>
          <p:cNvPr id="4" name="TextBox 3"/>
          <p:cNvSpPr txBox="1">
            <a:spLocks noChangeArrowheads="1"/>
          </p:cNvSpPr>
          <p:nvPr userDrawn="1"/>
        </p:nvSpPr>
        <p:spPr bwMode="auto">
          <a:xfrm>
            <a:off x="2749551" y="2524157"/>
            <a:ext cx="3632200" cy="276999"/>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defTabSz="914400" fontAlgn="base">
              <a:spcBef>
                <a:spcPct val="0"/>
              </a:spcBef>
              <a:spcAft>
                <a:spcPct val="0"/>
              </a:spcAft>
              <a:defRPr/>
            </a:pPr>
            <a:r>
              <a:rPr lang="en-GB" sz="1200" smtClean="0">
                <a:solidFill>
                  <a:srgbClr val="E64A0E"/>
                </a:solidFill>
                <a:ea typeface="ＭＳ Ｐゴシック" pitchFamily="34" charset="-128"/>
              </a:rPr>
              <a:t>Keep all content in this area</a:t>
            </a:r>
          </a:p>
        </p:txBody>
      </p:sp>
      <p:sp>
        <p:nvSpPr>
          <p:cNvPr id="5" name="TextBox 4"/>
          <p:cNvSpPr txBox="1">
            <a:spLocks noChangeArrowheads="1"/>
          </p:cNvSpPr>
          <p:nvPr userDrawn="1"/>
        </p:nvSpPr>
        <p:spPr bwMode="auto">
          <a:xfrm>
            <a:off x="319094" y="1312864"/>
            <a:ext cx="8518525" cy="369332"/>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914400" fontAlgn="base">
              <a:spcBef>
                <a:spcPct val="0"/>
              </a:spcBef>
              <a:spcAft>
                <a:spcPct val="0"/>
              </a:spcAft>
              <a:defRPr/>
            </a:pPr>
            <a:endParaRPr lang="en-GB" sz="1800" smtClean="0">
              <a:solidFill>
                <a:srgbClr val="001965"/>
              </a:solidFill>
              <a:ea typeface="ＭＳ Ｐゴシック" pitchFamily="34" charset="-128"/>
            </a:endParaRPr>
          </a:p>
        </p:txBody>
      </p:sp>
      <p:sp>
        <p:nvSpPr>
          <p:cNvPr id="6" name="Rectangle 5"/>
          <p:cNvSpPr/>
          <p:nvPr userDrawn="1"/>
        </p:nvSpPr>
        <p:spPr bwMode="auto">
          <a:xfrm>
            <a:off x="317502" y="1312874"/>
            <a:ext cx="8509000" cy="2955925"/>
          </a:xfrm>
          <a:prstGeom prst="rect">
            <a:avLst/>
          </a:prstGeom>
          <a:noFill/>
          <a:ln w="3175" cap="flat" cmpd="sng" algn="ctr">
            <a:solidFill>
              <a:schemeClr val="accent5"/>
            </a:solidFill>
            <a:prstDash val="solid"/>
            <a:round/>
            <a:headEnd type="none" w="med" len="med"/>
            <a:tailEnd type="none" w="med" len="med"/>
          </a:ln>
          <a:effectLst/>
          <a:extLst/>
        </p:spPr>
        <p:txBody>
          <a:bodyPr wrap="none" lIns="0" tIns="0" rIns="0" bIns="0"/>
          <a:lstStyle/>
          <a:p>
            <a:pPr marL="269875" indent="-269875" defTabSz="1219200" fontAlgn="base">
              <a:spcBef>
                <a:spcPct val="50000"/>
              </a:spcBef>
              <a:spcAft>
                <a:spcPct val="0"/>
              </a:spcAft>
              <a:buClr>
                <a:srgbClr val="009FDA"/>
              </a:buClr>
              <a:buFont typeface="Arial" pitchFamily="34" charset="0"/>
              <a:buChar char="•"/>
              <a:defRPr/>
            </a:pPr>
            <a:r>
              <a:rPr lang="en-GB" sz="1800" dirty="0">
                <a:solidFill>
                  <a:srgbClr val="001965"/>
                </a:solidFill>
                <a:ea typeface="ＭＳ Ｐゴシック" pitchFamily="34" charset="-128"/>
              </a:rPr>
              <a:t>Content area</a:t>
            </a:r>
          </a:p>
        </p:txBody>
      </p:sp>
      <p:sp>
        <p:nvSpPr>
          <p:cNvPr id="7" name="TextBox 6"/>
          <p:cNvSpPr txBox="1">
            <a:spLocks noChangeArrowheads="1"/>
          </p:cNvSpPr>
          <p:nvPr userDrawn="1"/>
        </p:nvSpPr>
        <p:spPr bwMode="auto">
          <a:xfrm>
            <a:off x="317500" y="965282"/>
            <a:ext cx="4572000" cy="276999"/>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914400" fontAlgn="base">
              <a:spcBef>
                <a:spcPct val="0"/>
              </a:spcBef>
              <a:spcAft>
                <a:spcPct val="0"/>
              </a:spcAft>
              <a:defRPr/>
            </a:pPr>
            <a:r>
              <a:rPr lang="en-GB" sz="1200" smtClean="0">
                <a:solidFill>
                  <a:srgbClr val="E64A0E"/>
                </a:solidFill>
                <a:ea typeface="ＭＳ Ｐゴシック" pitchFamily="34" charset="-128"/>
              </a:rPr>
              <a:t>Keep all titles, trompets and subtitles in this area</a:t>
            </a:r>
          </a:p>
        </p:txBody>
      </p:sp>
      <p:sp>
        <p:nvSpPr>
          <p:cNvPr id="8" name="TextBox 7"/>
          <p:cNvSpPr txBox="1">
            <a:spLocks noChangeArrowheads="1"/>
          </p:cNvSpPr>
          <p:nvPr userDrawn="1"/>
        </p:nvSpPr>
        <p:spPr bwMode="auto">
          <a:xfrm>
            <a:off x="4919664" y="330233"/>
            <a:ext cx="3910012" cy="276999"/>
          </a:xfrm>
          <a:prstGeom prst="rect">
            <a:avLst/>
          </a:prstGeom>
          <a:noFill/>
          <a:ln>
            <a:noFill/>
          </a:ln>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defTabSz="914400" fontAlgn="base">
              <a:spcBef>
                <a:spcPct val="0"/>
              </a:spcBef>
              <a:spcAft>
                <a:spcPct val="0"/>
              </a:spcAft>
              <a:defRPr/>
            </a:pPr>
            <a:r>
              <a:rPr lang="en-GB" sz="1200" smtClean="0">
                <a:solidFill>
                  <a:srgbClr val="E64A0E"/>
                </a:solidFill>
                <a:ea typeface="ＭＳ Ｐゴシック" pitchFamily="34" charset="-128"/>
              </a:rPr>
              <a:t>Never move Footer, Date and No placeholders</a:t>
            </a:r>
          </a:p>
        </p:txBody>
      </p:sp>
      <p:sp>
        <p:nvSpPr>
          <p:cNvPr id="9" name="Rectangle 5"/>
          <p:cNvSpPr>
            <a:spLocks noGrp="1" noChangeArrowheads="1"/>
          </p:cNvSpPr>
          <p:nvPr>
            <p:ph type="ftr" sz="quarter" idx="10"/>
          </p:nvPr>
        </p:nvSpPr>
        <p:spPr/>
        <p:txBody>
          <a:bodyPr/>
          <a:lstStyle>
            <a:lvl1pPr>
              <a:defRPr/>
            </a:lvl1pPr>
          </a:lstStyle>
          <a:p>
            <a:pPr>
              <a:defRPr/>
            </a:pPr>
            <a:r>
              <a:rPr lang="en-GB"/>
              <a:t>Presentation title</a:t>
            </a:r>
          </a:p>
        </p:txBody>
      </p:sp>
      <p:sp>
        <p:nvSpPr>
          <p:cNvPr id="10" name="Rectangle 81"/>
          <p:cNvSpPr>
            <a:spLocks noGrp="1" noChangeArrowheads="1"/>
          </p:cNvSpPr>
          <p:nvPr>
            <p:ph type="dt" sz="half" idx="11"/>
          </p:nvPr>
        </p:nvSpPr>
        <p:spPr/>
        <p:txBody>
          <a:bodyPr/>
          <a:lstStyle>
            <a:lvl1pPr>
              <a:defRPr/>
            </a:lvl1pPr>
          </a:lstStyle>
          <a:p>
            <a:pPr>
              <a:defRPr/>
            </a:pPr>
            <a:r>
              <a:rPr lang="en-GB"/>
              <a:t>Date</a:t>
            </a:r>
          </a:p>
        </p:txBody>
      </p:sp>
      <p:sp>
        <p:nvSpPr>
          <p:cNvPr id="11" name="Slide Number Placeholder 23"/>
          <p:cNvSpPr>
            <a:spLocks noGrp="1" noChangeArrowheads="1"/>
          </p:cNvSpPr>
          <p:nvPr>
            <p:ph type="sldNum" sz="quarter" idx="12"/>
          </p:nvPr>
        </p:nvSpPr>
        <p:spPr/>
        <p:txBody>
          <a:bodyPr/>
          <a:lstStyle>
            <a:lvl1pPr>
              <a:defRPr/>
            </a:lvl1pPr>
          </a:lstStyle>
          <a:p>
            <a:pPr>
              <a:defRPr/>
            </a:pPr>
            <a:fld id="{B4C01748-E61D-4B1E-8925-BDFBE509AD8C}" type="slidenum">
              <a:rPr lang="en-GB"/>
              <a:pPr>
                <a:defRPr/>
              </a:pPr>
              <a:t>‹#›</a:t>
            </a:fld>
            <a:endParaRPr lang="en-GB"/>
          </a:p>
        </p:txBody>
      </p:sp>
    </p:spTree>
    <p:extLst>
      <p:ext uri="{BB962C8B-B14F-4D97-AF65-F5344CB8AC3E}">
        <p14:creationId xmlns:p14="http://schemas.microsoft.com/office/powerpoint/2010/main" val="132803981"/>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Slide 11">
    <p:spTree>
      <p:nvGrpSpPr>
        <p:cNvPr id="1" name=""/>
        <p:cNvGrpSpPr/>
        <p:nvPr/>
      </p:nvGrpSpPr>
      <p:grpSpPr>
        <a:xfrm>
          <a:off x="0" y="0"/>
          <a:ext cx="0" cy="0"/>
          <a:chOff x="0" y="0"/>
          <a:chExt cx="0" cy="0"/>
        </a:xfrm>
      </p:grpSpPr>
      <p:pic>
        <p:nvPicPr>
          <p:cNvPr id="5" name="Picture 8" descr="LEADER_circles"/>
          <p:cNvPicPr>
            <a:picLocks noChangeAspect="1" noChangeArrowheads="1"/>
          </p:cNvPicPr>
          <p:nvPr userDrawn="1"/>
        </p:nvPicPr>
        <p:blipFill>
          <a:blip r:embed="rId2" cstate="print"/>
          <a:srcRect t="32852" r="22656"/>
          <a:stretch>
            <a:fillRect/>
          </a:stretch>
        </p:blipFill>
        <p:spPr bwMode="auto">
          <a:xfrm>
            <a:off x="5724560" y="1"/>
            <a:ext cx="3419475" cy="2833688"/>
          </a:xfrm>
          <a:prstGeom prst="rect">
            <a:avLst/>
          </a:prstGeom>
          <a:noFill/>
          <a:ln w="9525">
            <a:noFill/>
            <a:miter lim="800000"/>
            <a:headEnd/>
            <a:tailEnd/>
          </a:ln>
        </p:spPr>
      </p:pic>
      <p:pic>
        <p:nvPicPr>
          <p:cNvPr id="6" name="Picture 2" descr="S:\Customers\Novo Nordisk\Jobs\13371_Victoza - event_visual identity\Account\FINAL PDF\new pictures\LEADER.png"/>
          <p:cNvPicPr>
            <a:picLocks noChangeAspect="1" noChangeArrowheads="1"/>
          </p:cNvPicPr>
          <p:nvPr userDrawn="1"/>
        </p:nvPicPr>
        <p:blipFill>
          <a:blip r:embed="rId3" cstate="print"/>
          <a:srcRect/>
          <a:stretch>
            <a:fillRect/>
          </a:stretch>
        </p:blipFill>
        <p:spPr bwMode="auto">
          <a:xfrm>
            <a:off x="4113214" y="646115"/>
            <a:ext cx="3759200" cy="4462462"/>
          </a:xfrm>
          <a:prstGeom prst="rect">
            <a:avLst/>
          </a:prstGeom>
          <a:noFill/>
          <a:ln w="9525">
            <a:noFill/>
            <a:miter lim="800000"/>
            <a:headEnd/>
            <a:tailEnd/>
          </a:ln>
        </p:spPr>
      </p:pic>
      <p:sp>
        <p:nvSpPr>
          <p:cNvPr id="9" name="Text Placeholder 10"/>
          <p:cNvSpPr>
            <a:spLocks noGrp="1"/>
          </p:cNvSpPr>
          <p:nvPr>
            <p:ph type="body" sz="quarter" idx="10"/>
          </p:nvPr>
        </p:nvSpPr>
        <p:spPr>
          <a:xfrm>
            <a:off x="6517029" y="627066"/>
            <a:ext cx="2015784" cy="759572"/>
          </a:xfrm>
        </p:spPr>
        <p:txBody>
          <a:bodyPr/>
          <a:lstStyle>
            <a:lvl1pPr marL="0" marR="0" indent="0" algn="l" defTabSz="914400" rtl="0" eaLnBrk="1" fontAlgn="base" latinLnBrk="0" hangingPunct="1">
              <a:lnSpc>
                <a:spcPct val="100000"/>
              </a:lnSpc>
              <a:spcBef>
                <a:spcPct val="0"/>
              </a:spcBef>
              <a:spcAft>
                <a:spcPct val="0"/>
              </a:spcAft>
              <a:buClrTx/>
              <a:buSzTx/>
              <a:buFontTx/>
              <a:buNone/>
              <a:tabLst/>
              <a:defRPr sz="1400">
                <a:solidFill>
                  <a:schemeClr val="accent1"/>
                </a:solidFill>
              </a:defRPr>
            </a:lvl1pPr>
            <a:lvl2pPr marL="468313" indent="0">
              <a:buNone/>
              <a:defRPr/>
            </a:lvl2pPr>
            <a:lvl3pPr marL="952500" indent="0">
              <a:buNone/>
              <a:defRPr/>
            </a:lvl3pPr>
            <a:lvl4pPr marL="1414462" indent="0">
              <a:buNone/>
              <a:defRPr/>
            </a:lvl4pPr>
            <a:lvl5pPr marL="1873250" indent="0">
              <a:buNone/>
              <a:defRPr/>
            </a:lvl5pPr>
          </a:lstStyle>
          <a:p>
            <a:pPr lvl="0"/>
            <a:r>
              <a:rPr lang="en-US" noProof="0" smtClean="0"/>
              <a:t>Click to edit Master text styles</a:t>
            </a:r>
          </a:p>
        </p:txBody>
      </p:sp>
      <p:sp>
        <p:nvSpPr>
          <p:cNvPr id="12" name="Title 1"/>
          <p:cNvSpPr>
            <a:spLocks noGrp="1"/>
          </p:cNvSpPr>
          <p:nvPr>
            <p:ph type="ctrTitle"/>
          </p:nvPr>
        </p:nvSpPr>
        <p:spPr>
          <a:xfrm>
            <a:off x="611188" y="2571750"/>
            <a:ext cx="3582194" cy="1080120"/>
          </a:xfrm>
        </p:spPr>
        <p:txBody>
          <a:bodyPr anchor="t">
            <a:noAutofit/>
          </a:bodyPr>
          <a:lstStyle>
            <a:lvl1pPr>
              <a:defRPr>
                <a:solidFill>
                  <a:schemeClr val="accent1"/>
                </a:solidFill>
              </a:defRPr>
            </a:lvl1pPr>
          </a:lstStyle>
          <a:p>
            <a:r>
              <a:rPr lang="en-US" noProof="0" smtClean="0"/>
              <a:t>Click to edit Master title style</a:t>
            </a:r>
            <a:endParaRPr lang="en-GB" noProof="0"/>
          </a:p>
        </p:txBody>
      </p:sp>
      <p:sp>
        <p:nvSpPr>
          <p:cNvPr id="13" name="Subtitle 2"/>
          <p:cNvSpPr>
            <a:spLocks noGrp="1"/>
          </p:cNvSpPr>
          <p:nvPr>
            <p:ph type="subTitle" idx="1"/>
          </p:nvPr>
        </p:nvSpPr>
        <p:spPr>
          <a:xfrm>
            <a:off x="611188" y="3723930"/>
            <a:ext cx="3582194" cy="288112"/>
          </a:xfrm>
        </p:spPr>
        <p:txBody>
          <a:bodyPr>
            <a:noAutofit/>
          </a:bodyPr>
          <a:lstStyle>
            <a:lvl1pPr marL="0" indent="0" algn="l">
              <a:buNone/>
              <a:defRPr sz="1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Tree>
    <p:extLst>
      <p:ext uri="{BB962C8B-B14F-4D97-AF65-F5344CB8AC3E}">
        <p14:creationId xmlns:p14="http://schemas.microsoft.com/office/powerpoint/2010/main" val="428728518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454026" y="288414"/>
            <a:ext cx="8232774" cy="731520"/>
          </a:xfrm>
        </p:spPr>
        <p:txBody>
          <a:bodyPr>
            <a:normAutofit/>
          </a:bodyPr>
          <a:lstStyle>
            <a:lvl1pPr algn="ctr">
              <a:defRPr lang="en-US" sz="2800" kern="1200" noProof="0" dirty="0" smtClean="0">
                <a:solidFill>
                  <a:schemeClr val="tx1"/>
                </a:solidFill>
                <a:latin typeface="+mj-lt"/>
                <a:ea typeface="ＭＳ Ｐゴシック" charset="0"/>
                <a:cs typeface="ＭＳ Ｐゴシック" charset="0"/>
              </a:defRPr>
            </a:lvl1pPr>
          </a:lstStyle>
          <a:p>
            <a:pPr lvl="0"/>
            <a:r>
              <a:rPr lang="en-US" noProof="0" dirty="0" smtClean="0"/>
              <a:t>Click to edit Master title</a:t>
            </a:r>
            <a:endParaRPr lang="en-GB" noProof="0" dirty="0"/>
          </a:p>
        </p:txBody>
      </p:sp>
      <p:sp>
        <p:nvSpPr>
          <p:cNvPr id="3" name="Slide Number Placeholder 1"/>
          <p:cNvSpPr>
            <a:spLocks noGrp="1"/>
          </p:cNvSpPr>
          <p:nvPr>
            <p:ph type="sldNum" sz="quarter" idx="10"/>
          </p:nvPr>
        </p:nvSpPr>
        <p:spPr>
          <a:xfrm>
            <a:off x="7010400" y="4868945"/>
            <a:ext cx="2133600" cy="274637"/>
          </a:xfrm>
        </p:spPr>
        <p:txBody>
          <a:bodyPr lIns="91440" tIns="45720" rIns="91440" bIns="45720" anchor="b"/>
          <a:lstStyle>
            <a:lvl1pPr>
              <a:defRPr sz="1200">
                <a:solidFill>
                  <a:srgbClr val="898B9F"/>
                </a:solidFill>
              </a:defRPr>
            </a:lvl1pPr>
          </a:lstStyle>
          <a:p>
            <a:pPr>
              <a:defRPr/>
            </a:pPr>
            <a:fld id="{099A5C8B-1508-4007-B331-12DF032087F5}" type="slidenum">
              <a:rPr lang="en-US"/>
              <a:pPr>
                <a:defRPr/>
              </a:pPr>
              <a:t>‹#›</a:t>
            </a:fld>
            <a:endParaRPr lang="en-US"/>
          </a:p>
        </p:txBody>
      </p:sp>
    </p:spTree>
    <p:extLst>
      <p:ext uri="{BB962C8B-B14F-4D97-AF65-F5344CB8AC3E}">
        <p14:creationId xmlns:p14="http://schemas.microsoft.com/office/powerpoint/2010/main" val="1174319400"/>
      </p:ext>
    </p:extLst>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
          <p:cNvSpPr>
            <a:spLocks noGrp="1" noChangeArrowheads="1"/>
          </p:cNvSpPr>
          <p:nvPr>
            <p:ph type="ftr" sz="quarter" idx="10"/>
          </p:nvPr>
        </p:nvSpPr>
        <p:spPr>
          <a:xfrm>
            <a:off x="469900" y="-95248"/>
            <a:ext cx="5843588" cy="354013"/>
          </a:xfrm>
        </p:spPr>
        <p:txBody>
          <a:bodyPr/>
          <a:lstStyle>
            <a:lvl1pPr>
              <a:defRPr>
                <a:solidFill>
                  <a:srgbClr val="001965"/>
                </a:solidFill>
                <a:latin typeface="Arial" charset="0"/>
                <a:cs typeface="Arial" charset="0"/>
              </a:defRPr>
            </a:lvl1pPr>
          </a:lstStyle>
          <a:p>
            <a:pPr>
              <a:defRPr/>
            </a:pPr>
            <a:endParaRPr lang="en-GB"/>
          </a:p>
        </p:txBody>
      </p:sp>
      <p:sp>
        <p:nvSpPr>
          <p:cNvPr id="4" name="Rectangle 19"/>
          <p:cNvSpPr>
            <a:spLocks noGrp="1" noChangeArrowheads="1"/>
          </p:cNvSpPr>
          <p:nvPr>
            <p:ph type="sldNum" sz="quarter" idx="11"/>
          </p:nvPr>
        </p:nvSpPr>
        <p:spPr>
          <a:xfrm>
            <a:off x="7761289" y="-95248"/>
            <a:ext cx="901700" cy="354013"/>
          </a:xfrm>
        </p:spPr>
        <p:txBody>
          <a:bodyPr/>
          <a:lstStyle>
            <a:lvl1pPr>
              <a:defRPr>
                <a:solidFill>
                  <a:srgbClr val="001965"/>
                </a:solidFill>
                <a:latin typeface="Arial" charset="0"/>
                <a:cs typeface="Arial" charset="0"/>
              </a:defRPr>
            </a:lvl1pPr>
          </a:lstStyle>
          <a:p>
            <a:pPr>
              <a:defRPr/>
            </a:pPr>
            <a:r>
              <a:rPr lang="en-GB"/>
              <a:t>Slide No </a:t>
            </a:r>
            <a:fld id="{9CC2986A-7961-4833-88A1-9AB1A2320556}" type="slidenum">
              <a:rPr lang="en-GB"/>
              <a:pPr>
                <a:defRPr/>
              </a:pPr>
              <a:t>‹#›</a:t>
            </a:fld>
            <a:endParaRPr lang="en-GB"/>
          </a:p>
        </p:txBody>
      </p:sp>
    </p:spTree>
    <p:extLst>
      <p:ext uri="{BB962C8B-B14F-4D97-AF65-F5344CB8AC3E}">
        <p14:creationId xmlns:p14="http://schemas.microsoft.com/office/powerpoint/2010/main" val="3293967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noAutofit/>
          </a:bodyPr>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1601424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Level 1">
    <p:spTree>
      <p:nvGrpSpPr>
        <p:cNvPr id="1" name=""/>
        <p:cNvGrpSpPr/>
        <p:nvPr/>
      </p:nvGrpSpPr>
      <p:grpSpPr>
        <a:xfrm>
          <a:off x="0" y="0"/>
          <a:ext cx="0" cy="0"/>
          <a:chOff x="0" y="0"/>
          <a:chExt cx="0" cy="0"/>
        </a:xfrm>
      </p:grpSpPr>
      <p:graphicFrame>
        <p:nvGraphicFramePr>
          <p:cNvPr id="4" name="Content Placeholder 3"/>
          <p:cNvGraphicFramePr>
            <a:graphicFrameLocks noChangeAspect="1"/>
          </p:cNvGraphicFramePr>
          <p:nvPr userDrawn="1"/>
        </p:nvGraphicFramePr>
        <p:xfrm>
          <a:off x="8454761" y="98256"/>
          <a:ext cx="464211" cy="2678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 Placeholder 11"/>
          <p:cNvSpPr>
            <a:spLocks noGrp="1"/>
          </p:cNvSpPr>
          <p:nvPr>
            <p:ph type="body" sz="quarter" idx="13"/>
          </p:nvPr>
        </p:nvSpPr>
        <p:spPr>
          <a:xfrm>
            <a:off x="468324" y="4935937"/>
            <a:ext cx="8218487" cy="123111"/>
          </a:xfrm>
        </p:spPr>
        <p:txBody>
          <a:bodyPr anchor="b">
            <a:spAutoFit/>
          </a:bodyPr>
          <a:lstStyle>
            <a:lvl1pPr marL="0" indent="0">
              <a:buNone/>
              <a:defRPr sz="800"/>
            </a:lvl1pPr>
          </a:lstStyle>
          <a:p>
            <a:pPr lvl="0"/>
            <a:r>
              <a:rPr lang="en-US" smtClean="0"/>
              <a:t>Click to edit Master text styles</a:t>
            </a:r>
          </a:p>
        </p:txBody>
      </p:sp>
      <p:sp>
        <p:nvSpPr>
          <p:cNvPr id="8" name="Title 1"/>
          <p:cNvSpPr>
            <a:spLocks noGrp="1"/>
          </p:cNvSpPr>
          <p:nvPr>
            <p:ph type="title"/>
          </p:nvPr>
        </p:nvSpPr>
        <p:spPr>
          <a:xfrm>
            <a:off x="468011" y="363939"/>
            <a:ext cx="7961625" cy="601266"/>
          </a:xfrm>
        </p:spPr>
        <p:txBody>
          <a:bodyPr/>
          <a:lstStyle/>
          <a:p>
            <a:r>
              <a:rPr lang="en-US" dirty="0" smtClean="0"/>
              <a:t>Click to edit Master title style</a:t>
            </a:r>
            <a:endParaRPr lang="en-GB" dirty="0"/>
          </a:p>
        </p:txBody>
      </p:sp>
      <p:sp>
        <p:nvSpPr>
          <p:cNvPr id="5" name="Footer Placeholder 2"/>
          <p:cNvSpPr>
            <a:spLocks noGrp="1"/>
          </p:cNvSpPr>
          <p:nvPr>
            <p:ph type="ftr" sz="quarter" idx="14"/>
          </p:nvPr>
        </p:nvSpPr>
        <p:spPr>
          <a:xfrm>
            <a:off x="468329" y="96838"/>
            <a:ext cx="5595937" cy="171450"/>
          </a:xfrm>
        </p:spPr>
        <p:txBody>
          <a:bodyPr/>
          <a:lstStyle>
            <a:lvl1pPr>
              <a:defRPr>
                <a:ea typeface="ヒラギノ角ゴ Pro W3"/>
                <a:cs typeface="ヒラギノ角ゴ Pro W3"/>
              </a:defRPr>
            </a:lvl1pPr>
          </a:lstStyle>
          <a:p>
            <a:pPr>
              <a:defRPr/>
            </a:pPr>
            <a:r>
              <a:rPr lang="pt-BR"/>
              <a:t>Diabetes Competition Monitor</a:t>
            </a:r>
            <a:endParaRPr lang="en-GB"/>
          </a:p>
        </p:txBody>
      </p:sp>
      <p:sp>
        <p:nvSpPr>
          <p:cNvPr id="6" name="Slide Number Placeholder 3"/>
          <p:cNvSpPr>
            <a:spLocks noGrp="1"/>
          </p:cNvSpPr>
          <p:nvPr>
            <p:ph type="sldNum" sz="quarter" idx="15"/>
          </p:nvPr>
        </p:nvSpPr>
        <p:spPr>
          <a:xfrm>
            <a:off x="7519990" y="96839"/>
            <a:ext cx="901700" cy="173037"/>
          </a:xfrm>
        </p:spPr>
        <p:txBody>
          <a:bodyPr/>
          <a:lstStyle>
            <a:lvl1pPr>
              <a:defRPr>
                <a:ea typeface="ヒラギノ角ゴ Pro W3"/>
                <a:cs typeface="ヒラギノ角ゴ Pro W3"/>
              </a:defRPr>
            </a:lvl1pPr>
          </a:lstStyle>
          <a:p>
            <a:pPr>
              <a:defRPr/>
            </a:pPr>
            <a:fld id="{41796EF6-62B5-4FA0-B97E-059E93B834E7}" type="slidenum">
              <a:rPr lang="en-GB"/>
              <a:pPr>
                <a:defRPr/>
              </a:pPr>
              <a:t>‹#›</a:t>
            </a:fld>
            <a:endParaRPr lang="en-GB"/>
          </a:p>
        </p:txBody>
      </p:sp>
      <p:sp>
        <p:nvSpPr>
          <p:cNvPr id="7" name="Date Placeholder 4"/>
          <p:cNvSpPr>
            <a:spLocks noGrp="1"/>
          </p:cNvSpPr>
          <p:nvPr>
            <p:ph type="dt" sz="half" idx="16"/>
          </p:nvPr>
        </p:nvSpPr>
        <p:spPr>
          <a:xfrm>
            <a:off x="6064252" y="96838"/>
            <a:ext cx="1454150" cy="171450"/>
          </a:xfrm>
        </p:spPr>
        <p:txBody>
          <a:bodyPr/>
          <a:lstStyle>
            <a:lvl1pPr>
              <a:defRPr>
                <a:ea typeface="ヒラギノ角ゴ Pro W3"/>
                <a:cs typeface="ヒラギノ角ゴ Pro W3"/>
              </a:defRPr>
            </a:lvl1pPr>
          </a:lstStyle>
          <a:p>
            <a:pPr>
              <a:defRPr/>
            </a:pPr>
            <a:r>
              <a:rPr lang="en-US"/>
              <a:t>Q4 2012</a:t>
            </a:r>
            <a:endParaRPr lang="en-GB"/>
          </a:p>
        </p:txBody>
      </p:sp>
    </p:spTree>
    <p:extLst>
      <p:ext uri="{BB962C8B-B14F-4D97-AF65-F5344CB8AC3E}">
        <p14:creationId xmlns:p14="http://schemas.microsoft.com/office/powerpoint/2010/main" val="403098033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3"/>
          <p:cNvSpPr>
            <a:spLocks noGrp="1" noChangeArrowheads="1"/>
          </p:cNvSpPr>
          <p:nvPr>
            <p:ph type="sldNum" sz="quarter" idx="10"/>
          </p:nvPr>
        </p:nvSpPr>
        <p:spPr>
          <a:ln/>
        </p:spPr>
        <p:txBody>
          <a:bodyPr/>
          <a:lstStyle>
            <a:lvl1pPr>
              <a:defRPr/>
            </a:lvl1pPr>
          </a:lstStyle>
          <a:p>
            <a:pPr>
              <a:defRPr/>
            </a:pPr>
            <a:fld id="{92C97564-EA67-4221-9A2D-9971A8A3E41A}" type="slidenum">
              <a:rPr lang="en-GB"/>
              <a:pPr>
                <a:defRPr/>
              </a:pPr>
              <a:t>‹#›</a:t>
            </a:fld>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t>Presentation title</a:t>
            </a:r>
          </a:p>
        </p:txBody>
      </p:sp>
      <p:sp>
        <p:nvSpPr>
          <p:cNvPr id="4" name="Rectangle 81"/>
          <p:cNvSpPr>
            <a:spLocks noGrp="1" noChangeArrowheads="1"/>
          </p:cNvSpPr>
          <p:nvPr>
            <p:ph type="dt" sz="half" idx="12"/>
          </p:nvPr>
        </p:nvSpPr>
        <p:spPr>
          <a:ln/>
        </p:spPr>
        <p:txBody>
          <a:bodyPr/>
          <a:lstStyle>
            <a:lvl1pPr>
              <a:defRPr/>
            </a:lvl1pPr>
          </a:lstStyle>
          <a:p>
            <a:pPr>
              <a:defRPr/>
            </a:pPr>
            <a:r>
              <a:rPr lang="en-GB"/>
              <a:t>Date</a:t>
            </a:r>
          </a:p>
        </p:txBody>
      </p:sp>
    </p:spTree>
    <p:extLst>
      <p:ext uri="{BB962C8B-B14F-4D97-AF65-F5344CB8AC3E}">
        <p14:creationId xmlns:p14="http://schemas.microsoft.com/office/powerpoint/2010/main" val="53137268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smtClean="0"/>
              <a:t>Click to edit Master title style</a:t>
            </a:r>
            <a:endParaRPr lang="en-US" dirty="0"/>
          </a:p>
        </p:txBody>
      </p:sp>
      <p:sp>
        <p:nvSpPr>
          <p:cNvPr id="15" name="Content Placeholder 2"/>
          <p:cNvSpPr>
            <a:spLocks noGrp="1"/>
          </p:cNvSpPr>
          <p:nvPr>
            <p:ph idx="10"/>
          </p:nvPr>
        </p:nvSpPr>
        <p:spPr>
          <a:xfrm>
            <a:off x="612648" y="4935916"/>
            <a:ext cx="7763256" cy="153888"/>
          </a:xfrm>
        </p:spPr>
        <p:txBody>
          <a:bodyPr anchor="b">
            <a:noAutofit/>
          </a:bodyPr>
          <a:lstStyle>
            <a:lvl1pPr marL="0" indent="0">
              <a:spcBef>
                <a:spcPts val="0"/>
              </a:spcBef>
              <a:spcAft>
                <a:spcPts val="0"/>
              </a:spcAft>
              <a:buNone/>
              <a:defRPr sz="1000"/>
            </a:lvl1pPr>
            <a:lvl2pPr marL="468313" indent="0">
              <a:buNone/>
              <a:defRPr sz="900"/>
            </a:lvl2pPr>
            <a:lvl3pPr marL="952500" indent="0">
              <a:buNone/>
              <a:defRPr sz="900"/>
            </a:lvl3pPr>
            <a:lvl4pPr marL="1414462" indent="0">
              <a:buNone/>
              <a:defRPr sz="900"/>
            </a:lvl4pPr>
            <a:lvl5pPr marL="1873250" indent="0">
              <a:buNone/>
              <a:defRPr sz="900"/>
            </a:lvl5pPr>
          </a:lstStyle>
          <a:p>
            <a:pPr lvl="0"/>
            <a:r>
              <a:rPr lang="en-US" noProof="0" dirty="0" smtClean="0"/>
              <a:t>Click to edit Master text styles</a:t>
            </a:r>
          </a:p>
        </p:txBody>
      </p:sp>
      <p:sp>
        <p:nvSpPr>
          <p:cNvPr id="4" name="Text Placeholder 3"/>
          <p:cNvSpPr>
            <a:spLocks noGrp="1"/>
          </p:cNvSpPr>
          <p:nvPr>
            <p:ph type="body" sz="quarter" idx="14"/>
          </p:nvPr>
        </p:nvSpPr>
        <p:spPr>
          <a:xfrm>
            <a:off x="614373" y="4619707"/>
            <a:ext cx="7924799" cy="133349"/>
          </a:xfrm>
        </p:spPr>
        <p:txBody>
          <a:bodyPr/>
          <a:lstStyle>
            <a:lvl1pPr marL="0" indent="0">
              <a:buNone/>
              <a:defRPr sz="900"/>
            </a:lvl1pPr>
          </a:lstStyle>
          <a:p>
            <a:pPr lvl="0"/>
            <a:endParaRPr lang="en-GB" dirty="0"/>
          </a:p>
        </p:txBody>
      </p:sp>
    </p:spTree>
    <p:extLst>
      <p:ext uri="{BB962C8B-B14F-4D97-AF65-F5344CB8AC3E}">
        <p14:creationId xmlns:p14="http://schemas.microsoft.com/office/powerpoint/2010/main" val="9968041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3" descr="W:\Takeda\Alogliptin\Slide templates\Blu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1809142"/>
            <a:ext cx="7772400" cy="1102519"/>
          </a:xfrm>
        </p:spPr>
        <p:txBody>
          <a:bodyPr/>
          <a:lstStyle>
            <a:lvl1pPr algn="l">
              <a:defRPr/>
            </a:lvl1pPr>
          </a:lstStyle>
          <a:p>
            <a:r>
              <a:rPr lang="en-US" smtClean="0"/>
              <a:t>Click to edit Master title style</a:t>
            </a:r>
            <a:endParaRPr lang="en-US"/>
          </a:p>
        </p:txBody>
      </p:sp>
      <p:sp>
        <p:nvSpPr>
          <p:cNvPr id="3" name="Subtitle 2"/>
          <p:cNvSpPr>
            <a:spLocks noGrp="1"/>
          </p:cNvSpPr>
          <p:nvPr>
            <p:ph type="subTitle" idx="1"/>
          </p:nvPr>
        </p:nvSpPr>
        <p:spPr>
          <a:xfrm>
            <a:off x="685800" y="3273499"/>
            <a:ext cx="7772400" cy="1314450"/>
          </a:xfrm>
        </p:spPr>
        <p:txBody>
          <a:bodyPr>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892289210"/>
      </p:ext>
    </p:extLst>
  </p:cSld>
  <p:clrMapOvr>
    <a:masterClrMapping/>
  </p:clrMapOv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3" descr="W:\Takeda\Alogliptin\Slide templates\Blue 1.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333"/>
            <a:ext cx="9144000" cy="5151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7"/>
          <p:cNvSpPr/>
          <p:nvPr userDrawn="1"/>
        </p:nvSpPr>
        <p:spPr>
          <a:xfrm>
            <a:off x="0" y="-8333"/>
            <a:ext cx="9144000" cy="515183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hangingPunct="0">
              <a:defRPr/>
            </a:pPr>
            <a:endParaRPr lang="en-GB" sz="1800" dirty="0">
              <a:solidFill>
                <a:prstClr val="white"/>
              </a:solidFill>
            </a:endParaRPr>
          </a:p>
        </p:txBody>
      </p:sp>
      <p:pic>
        <p:nvPicPr>
          <p:cNvPr id="6" name="Picture 3" descr="W:\Takeda\Alogliptin\Slide templates\Blue 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8334"/>
            <a:ext cx="3956050" cy="1196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descr="W:\Takeda\Alogliptin\Slide templates\Blue 1.png"/>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rot="10800000">
            <a:off x="-2" y="-7976"/>
            <a:ext cx="4299100" cy="1196163"/>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191386" y="1339702"/>
            <a:ext cx="8761228" cy="36682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a:xfrm>
            <a:off x="191386" y="151516"/>
            <a:ext cx="8761228" cy="911714"/>
          </a:xfrm>
        </p:spPr>
        <p:txBody>
          <a:bodyPr/>
          <a:lstStyle>
            <a:lvl1pPr algn="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24830790"/>
      </p:ext>
    </p:extLst>
  </p:cSld>
  <p:clrMapOvr>
    <a:masterClrMapping/>
  </p:clrMapOv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01FBD5A2-54AD-4D68-B693-8FF2A45187D0}" type="datetimeFigureOut">
              <a:rPr lang="en-US" altLang="cs-CZ"/>
              <a:pPr>
                <a:defRPr/>
              </a:pPr>
              <a:t>1/20/2018</a:t>
            </a:fld>
            <a:endParaRPr lang="en-US" altLang="cs-CZ"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06C00C74-905A-4EBA-8F7C-FC0BE5813314}" type="slidenum">
              <a:rPr lang="en-US" altLang="cs-CZ"/>
              <a:pPr/>
              <a:t>‹#›</a:t>
            </a:fld>
            <a:endParaRPr lang="en-US" altLang="cs-CZ"/>
          </a:p>
        </p:txBody>
      </p:sp>
    </p:spTree>
    <p:extLst>
      <p:ext uri="{BB962C8B-B14F-4D97-AF65-F5344CB8AC3E}">
        <p14:creationId xmlns:p14="http://schemas.microsoft.com/office/powerpoint/2010/main" val="1182370851"/>
      </p:ext>
    </p:extLst>
  </p:cSld>
  <p:clrMapOvr>
    <a:masterClrMapping/>
  </p:clrMapOv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79961B35-3792-48C7-9911-E77C815D6F79}" type="datetimeFigureOut">
              <a:rPr lang="en-US" altLang="cs-CZ"/>
              <a:pPr>
                <a:defRPr/>
              </a:pPr>
              <a:t>1/20/2018</a:t>
            </a:fld>
            <a:endParaRPr lang="en-US" altLang="cs-CZ"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CD21D303-3E7E-44D9-82E2-95F23119BCE8}" type="slidenum">
              <a:rPr lang="en-US" altLang="cs-CZ"/>
              <a:pPr/>
              <a:t>‹#›</a:t>
            </a:fld>
            <a:endParaRPr lang="en-US" altLang="cs-CZ"/>
          </a:p>
        </p:txBody>
      </p:sp>
    </p:spTree>
    <p:extLst>
      <p:ext uri="{BB962C8B-B14F-4D97-AF65-F5344CB8AC3E}">
        <p14:creationId xmlns:p14="http://schemas.microsoft.com/office/powerpoint/2010/main" val="2211798322"/>
      </p:ext>
    </p:extLst>
  </p:cSld>
  <p:clrMapOvr>
    <a:masterClrMapping/>
  </p:clrMapOv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2ADC6A83-4033-4BF6-B096-D17F3E0A289D}" type="datetimeFigureOut">
              <a:rPr lang="en-US" altLang="cs-CZ"/>
              <a:pPr>
                <a:defRPr/>
              </a:pPr>
              <a:t>1/20/2018</a:t>
            </a:fld>
            <a:endParaRPr lang="en-US" altLang="cs-CZ"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fld id="{7BCB6366-97D0-4EDD-96C1-DC553EF76950}" type="slidenum">
              <a:rPr lang="en-US" altLang="cs-CZ"/>
              <a:pPr/>
              <a:t>‹#›</a:t>
            </a:fld>
            <a:endParaRPr lang="en-US" altLang="cs-CZ"/>
          </a:p>
        </p:txBody>
      </p:sp>
    </p:spTree>
    <p:extLst>
      <p:ext uri="{BB962C8B-B14F-4D97-AF65-F5344CB8AC3E}">
        <p14:creationId xmlns:p14="http://schemas.microsoft.com/office/powerpoint/2010/main" val="512198541"/>
      </p:ext>
    </p:extLst>
  </p:cSld>
  <p:clrMapOvr>
    <a:masterClrMapping/>
  </p:clrMapOv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737B7837-BA02-43DA-AA87-DF447036CD56}" type="datetimeFigureOut">
              <a:rPr lang="en-US" altLang="cs-CZ"/>
              <a:pPr>
                <a:defRPr/>
              </a:pPr>
              <a:t>1/20/2018</a:t>
            </a:fld>
            <a:endParaRPr lang="en-US" altLang="cs-CZ"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fld id="{35D7E277-ECBE-482B-A700-B7CE85635980}" type="slidenum">
              <a:rPr lang="en-US" altLang="cs-CZ"/>
              <a:pPr/>
              <a:t>‹#›</a:t>
            </a:fld>
            <a:endParaRPr lang="en-US" altLang="cs-CZ"/>
          </a:p>
        </p:txBody>
      </p:sp>
    </p:spTree>
    <p:extLst>
      <p:ext uri="{BB962C8B-B14F-4D97-AF65-F5344CB8AC3E}">
        <p14:creationId xmlns:p14="http://schemas.microsoft.com/office/powerpoint/2010/main" val="3845025308"/>
      </p:ext>
    </p:extLst>
  </p:cSld>
  <p:clrMapOvr>
    <a:masterClrMapping/>
  </p:clrMapOv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B574C3A-3252-4387-ADF8-C5C45D24D0A7}" type="datetimeFigureOut">
              <a:rPr lang="en-US" altLang="cs-CZ"/>
              <a:pPr>
                <a:defRPr/>
              </a:pPr>
              <a:t>1/20/2018</a:t>
            </a:fld>
            <a:endParaRPr lang="en-US" altLang="cs-CZ"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fld id="{CE37AB7E-E3E5-4A1C-93F4-630CF6FE6F33}" type="slidenum">
              <a:rPr lang="en-US" altLang="cs-CZ"/>
              <a:pPr/>
              <a:t>‹#›</a:t>
            </a:fld>
            <a:endParaRPr lang="en-US" altLang="cs-CZ"/>
          </a:p>
        </p:txBody>
      </p:sp>
    </p:spTree>
    <p:extLst>
      <p:ext uri="{BB962C8B-B14F-4D97-AF65-F5344CB8AC3E}">
        <p14:creationId xmlns:p14="http://schemas.microsoft.com/office/powerpoint/2010/main" val="1236571960"/>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noAutofit/>
          </a:bodyPr>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2106935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1CDEDCDC-8F7B-4DD2-B554-5F3A18D94702}" type="datetimeFigureOut">
              <a:rPr lang="en-US" altLang="cs-CZ"/>
              <a:pPr>
                <a:defRPr/>
              </a:pPr>
              <a:t>1/20/2018</a:t>
            </a:fld>
            <a:endParaRPr lang="en-US" altLang="cs-CZ"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51BE463A-0D4D-40E6-BDC4-7C43B16AC121}" type="slidenum">
              <a:rPr lang="en-US" altLang="cs-CZ"/>
              <a:pPr/>
              <a:t>‹#›</a:t>
            </a:fld>
            <a:endParaRPr lang="en-US" altLang="cs-CZ"/>
          </a:p>
        </p:txBody>
      </p:sp>
    </p:spTree>
    <p:extLst>
      <p:ext uri="{BB962C8B-B14F-4D97-AF65-F5344CB8AC3E}">
        <p14:creationId xmlns:p14="http://schemas.microsoft.com/office/powerpoint/2010/main" val="2007592462"/>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AD6CC6B2-09F1-4CA8-8D9D-3ED4701A1BFA}" type="datetimeFigureOut">
              <a:rPr lang="en-US" altLang="cs-CZ"/>
              <a:pPr>
                <a:defRPr/>
              </a:pPr>
              <a:t>1/20/2018</a:t>
            </a:fld>
            <a:endParaRPr lang="en-US" altLang="cs-CZ"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C36FCEA6-3CD5-4959-80D3-7D5033B8272D}" type="slidenum">
              <a:rPr lang="en-US" altLang="cs-CZ"/>
              <a:pPr/>
              <a:t>‹#›</a:t>
            </a:fld>
            <a:endParaRPr lang="en-US" altLang="cs-CZ"/>
          </a:p>
        </p:txBody>
      </p:sp>
    </p:spTree>
    <p:extLst>
      <p:ext uri="{BB962C8B-B14F-4D97-AF65-F5344CB8AC3E}">
        <p14:creationId xmlns:p14="http://schemas.microsoft.com/office/powerpoint/2010/main" val="2421899716"/>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63F07F4-D38D-4FFA-9FFB-6FEB5CF12A3E}" type="datetimeFigureOut">
              <a:rPr lang="en-US" altLang="cs-CZ"/>
              <a:pPr>
                <a:defRPr/>
              </a:pPr>
              <a:t>1/20/2018</a:t>
            </a:fld>
            <a:endParaRPr lang="en-US" altLang="cs-CZ"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493C25FA-6203-48A9-AC44-5AC8DEB5883D}" type="slidenum">
              <a:rPr lang="en-US" altLang="cs-CZ"/>
              <a:pPr/>
              <a:t>‹#›</a:t>
            </a:fld>
            <a:endParaRPr lang="en-US" altLang="cs-CZ"/>
          </a:p>
        </p:txBody>
      </p:sp>
    </p:spTree>
    <p:extLst>
      <p:ext uri="{BB962C8B-B14F-4D97-AF65-F5344CB8AC3E}">
        <p14:creationId xmlns:p14="http://schemas.microsoft.com/office/powerpoint/2010/main" val="717494832"/>
      </p:ext>
    </p:extLst>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915FA2A-1324-4103-AE62-185A80C4E825}" type="datetimeFigureOut">
              <a:rPr lang="en-US" altLang="cs-CZ"/>
              <a:pPr>
                <a:defRPr/>
              </a:pPr>
              <a:t>1/20/2018</a:t>
            </a:fld>
            <a:endParaRPr lang="en-US" altLang="cs-CZ"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7B854064-DC4D-40F3-A417-3471A0BE76AF}" type="slidenum">
              <a:rPr lang="en-US" altLang="cs-CZ"/>
              <a:pPr/>
              <a:t>‹#›</a:t>
            </a:fld>
            <a:endParaRPr lang="en-US" altLang="cs-CZ"/>
          </a:p>
        </p:txBody>
      </p:sp>
    </p:spTree>
    <p:extLst>
      <p:ext uri="{BB962C8B-B14F-4D97-AF65-F5344CB8AC3E}">
        <p14:creationId xmlns:p14="http://schemas.microsoft.com/office/powerpoint/2010/main" val="1058223805"/>
      </p:ext>
    </p:extLst>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5" name="Shape 23"/>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l="246" t="2219" r="52853" b="74561"/>
          <a:stretch>
            <a:fillRect/>
          </a:stretch>
        </p:blipFill>
        <p:spPr bwMode="auto">
          <a:xfrm>
            <a:off x="0" y="1"/>
            <a:ext cx="4298950" cy="858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10"/>
          <p:cNvCxnSpPr/>
          <p:nvPr userDrawn="1"/>
        </p:nvCxnSpPr>
        <p:spPr>
          <a:xfrm>
            <a:off x="0" y="4806554"/>
            <a:ext cx="9144000" cy="0"/>
          </a:xfrm>
          <a:prstGeom prst="line">
            <a:avLst/>
          </a:prstGeom>
          <a:ln w="22225" cmpd="sng">
            <a:solidFill>
              <a:schemeClr val="bg1">
                <a:lumMod val="75000"/>
              </a:schemeClr>
            </a:solidFill>
          </a:ln>
          <a:effectLst>
            <a:outerShdw blurRad="46355" dist="12700" dir="162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7" name="Footer Placeholder 25"/>
          <p:cNvSpPr txBox="1">
            <a:spLocks/>
          </p:cNvSpPr>
          <p:nvPr userDrawn="1"/>
        </p:nvSpPr>
        <p:spPr>
          <a:xfrm>
            <a:off x="4529141" y="4978005"/>
            <a:ext cx="4319587" cy="134540"/>
          </a:xfrm>
          <a:prstGeom prst="rect">
            <a:avLst/>
          </a:prstGeom>
        </p:spPr>
        <p:txBody>
          <a:bodyPr lIns="0" tIns="0" rIns="0" bIns="0" anchor="ctr"/>
          <a:lstStyle>
            <a:defPPr>
              <a:defRPr lang="en-US"/>
            </a:defPPr>
            <a:lvl1pPr marL="0" algn="r" defTabSz="914400" rtl="0" eaLnBrk="1" latinLnBrk="0" hangingPunct="1">
              <a:defRPr sz="9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dirty="0" smtClean="0">
                <a:solidFill>
                  <a:srgbClr val="000000">
                    <a:tint val="75000"/>
                  </a:srgbClr>
                </a:solidFill>
              </a:rPr>
              <a:t>Date of preparation: May 2015; Job code: GLO/ALO/2014-00133 </a:t>
            </a:r>
            <a:endParaRPr lang="en-US" dirty="0">
              <a:solidFill>
                <a:prstClr val="black">
                  <a:tint val="75000"/>
                </a:prstClr>
              </a:solidFill>
            </a:endParaRPr>
          </a:p>
        </p:txBody>
      </p:sp>
      <p:pic>
        <p:nvPicPr>
          <p:cNvPr id="8" name="Pictur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27766" y="4891087"/>
            <a:ext cx="2630487" cy="8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dirty="0" smtClean="0"/>
              <a:t>Click to edit Master text styles</a:t>
            </a:r>
            <a:endParaRPr lang="en-US" dirty="0"/>
          </a:p>
        </p:txBody>
      </p:sp>
      <p:sp>
        <p:nvSpPr>
          <p:cNvPr id="2" name="Title 1"/>
          <p:cNvSpPr>
            <a:spLocks noGrp="1"/>
          </p:cNvSpPr>
          <p:nvPr>
            <p:ph type="title"/>
          </p:nvPr>
        </p:nvSpPr>
        <p:spPr/>
        <p:txBody>
          <a:bodyPr/>
          <a:lstStyle>
            <a:lvl1pPr>
              <a:defRPr>
                <a:solidFill>
                  <a:srgbClr val="313231"/>
                </a:solidFill>
              </a:defRPr>
            </a:lvl1pPr>
          </a:lstStyle>
          <a:p>
            <a:r>
              <a:rPr lang="en-US" dirty="0" smtClean="0"/>
              <a:t>Click to edit Master title style</a:t>
            </a:r>
            <a:endParaRPr lang="en-US" dirty="0"/>
          </a:p>
        </p:txBody>
      </p:sp>
      <p:sp>
        <p:nvSpPr>
          <p:cNvPr id="15" name="Text Placeholder 14"/>
          <p:cNvSpPr>
            <a:spLocks noGrp="1"/>
          </p:cNvSpPr>
          <p:nvPr>
            <p:ph type="body" sz="quarter" idx="13"/>
          </p:nvPr>
        </p:nvSpPr>
        <p:spPr>
          <a:xfrm>
            <a:off x="457200" y="4629150"/>
            <a:ext cx="8229600" cy="205740"/>
          </a:xfrm>
        </p:spPr>
        <p:txBody>
          <a:bodyPr lIns="0" tIns="0" rIns="0" bIns="0" anchor="b">
            <a:noAutofit/>
          </a:bodyPr>
          <a:lstStyle>
            <a:lvl1pPr>
              <a:lnSpc>
                <a:spcPct val="85000"/>
              </a:lnSpc>
              <a:spcBef>
                <a:spcPts val="0"/>
              </a:spcBef>
              <a:buNone/>
              <a:defRPr sz="1000"/>
            </a:lvl1pPr>
            <a:lvl2pPr>
              <a:buNone/>
              <a:defRPr sz="1000"/>
            </a:lvl2pPr>
            <a:lvl3pPr>
              <a:buNone/>
              <a:defRPr sz="1000"/>
            </a:lvl3pPr>
            <a:lvl4pPr>
              <a:buNone/>
              <a:defRPr sz="1000"/>
            </a:lvl4pPr>
            <a:lvl5pPr>
              <a:buNone/>
              <a:defRPr sz="1000"/>
            </a:lvl5pPr>
          </a:lstStyle>
          <a:p>
            <a:pPr lvl="0"/>
            <a:r>
              <a:rPr lang="en-US" dirty="0" smtClean="0"/>
              <a:t>Click to edit Master text styles</a:t>
            </a:r>
          </a:p>
        </p:txBody>
      </p:sp>
      <p:sp>
        <p:nvSpPr>
          <p:cNvPr id="9" name="Date Placeholder 6"/>
          <p:cNvSpPr>
            <a:spLocks noGrp="1"/>
          </p:cNvSpPr>
          <p:nvPr>
            <p:ph type="dt" sz="half" idx="14"/>
          </p:nvPr>
        </p:nvSpPr>
        <p:spPr/>
        <p:txBody>
          <a:bodyPr/>
          <a:lstStyle>
            <a:lvl1pPr>
              <a:defRPr smtClean="0"/>
            </a:lvl1pPr>
          </a:lstStyle>
          <a:p>
            <a:pPr>
              <a:defRPr/>
            </a:pPr>
            <a:fld id="{43DCFB04-0964-42AA-A433-42B25B53BC42}" type="datetime1">
              <a:rPr lang="en-US"/>
              <a:pPr>
                <a:defRPr/>
              </a:pPr>
              <a:t>1/20/2018</a:t>
            </a:fld>
            <a:endParaRPr lang="en-US" dirty="0"/>
          </a:p>
        </p:txBody>
      </p:sp>
      <p:sp>
        <p:nvSpPr>
          <p:cNvPr id="10" name="Footer Placeholder 7"/>
          <p:cNvSpPr>
            <a:spLocks noGrp="1"/>
          </p:cNvSpPr>
          <p:nvPr>
            <p:ph type="ftr" sz="quarter" idx="15"/>
          </p:nvPr>
        </p:nvSpPr>
        <p:spPr/>
        <p:txBody>
          <a:bodyPr/>
          <a:lstStyle>
            <a:lvl1pPr>
              <a:defRPr dirty="0" smtClean="0"/>
            </a:lvl1pPr>
          </a:lstStyle>
          <a:p>
            <a:pPr>
              <a:defRPr/>
            </a:pPr>
            <a:endParaRPr lang="en-US"/>
          </a:p>
        </p:txBody>
      </p:sp>
      <p:sp>
        <p:nvSpPr>
          <p:cNvPr id="11" name="Slide Number Placeholder 11"/>
          <p:cNvSpPr>
            <a:spLocks noGrp="1"/>
          </p:cNvSpPr>
          <p:nvPr>
            <p:ph type="sldNum" sz="quarter" idx="16"/>
          </p:nvPr>
        </p:nvSpPr>
        <p:spPr/>
        <p:txBody>
          <a:bodyPr lIns="0" tIns="0" rIns="0" bIns="0"/>
          <a:lstStyle>
            <a:lvl1pPr>
              <a:defRPr sz="1000"/>
            </a:lvl1pPr>
          </a:lstStyle>
          <a:p>
            <a:fld id="{FB1157DF-A9BE-46AD-9F77-C5377FA13E49}" type="slidenum">
              <a:rPr lang="en-US" altLang="cs-CZ"/>
              <a:pPr/>
              <a:t>‹#›</a:t>
            </a:fld>
            <a:r>
              <a:rPr lang="en-US" altLang="cs-CZ" sz="1200"/>
              <a:t>         </a:t>
            </a:r>
          </a:p>
        </p:txBody>
      </p:sp>
    </p:spTree>
    <p:extLst>
      <p:ext uri="{BB962C8B-B14F-4D97-AF65-F5344CB8AC3E}">
        <p14:creationId xmlns:p14="http://schemas.microsoft.com/office/powerpoint/2010/main" val="33873824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5" name="Shape 23"/>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l="246" t="2219" r="52853" b="74561"/>
          <a:stretch>
            <a:fillRect/>
          </a:stretch>
        </p:blipFill>
        <p:spPr bwMode="auto">
          <a:xfrm>
            <a:off x="0" y="1"/>
            <a:ext cx="4298950" cy="858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10"/>
          <p:cNvCxnSpPr/>
          <p:nvPr userDrawn="1"/>
        </p:nvCxnSpPr>
        <p:spPr>
          <a:xfrm>
            <a:off x="0" y="4806554"/>
            <a:ext cx="9144000" cy="0"/>
          </a:xfrm>
          <a:prstGeom prst="line">
            <a:avLst/>
          </a:prstGeom>
          <a:ln w="22225" cmpd="sng">
            <a:solidFill>
              <a:schemeClr val="bg1">
                <a:lumMod val="75000"/>
              </a:schemeClr>
            </a:solidFill>
          </a:ln>
          <a:effectLst>
            <a:outerShdw blurRad="46355" dist="12700" dir="162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7" name="Footer Placeholder 25"/>
          <p:cNvSpPr txBox="1">
            <a:spLocks/>
          </p:cNvSpPr>
          <p:nvPr userDrawn="1"/>
        </p:nvSpPr>
        <p:spPr>
          <a:xfrm>
            <a:off x="4529141" y="4978005"/>
            <a:ext cx="4319587" cy="134540"/>
          </a:xfrm>
          <a:prstGeom prst="rect">
            <a:avLst/>
          </a:prstGeom>
        </p:spPr>
        <p:txBody>
          <a:bodyPr lIns="0" tIns="0" rIns="0" bIns="0" anchor="ctr"/>
          <a:lstStyle>
            <a:defPPr>
              <a:defRPr lang="en-US"/>
            </a:defPPr>
            <a:lvl1pPr marL="0" algn="r" defTabSz="914400" rtl="0" eaLnBrk="1" latinLnBrk="0" hangingPunct="1">
              <a:defRPr sz="9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dirty="0" smtClean="0">
                <a:solidFill>
                  <a:srgbClr val="000000">
                    <a:tint val="75000"/>
                  </a:srgbClr>
                </a:solidFill>
              </a:rPr>
              <a:t>Date of preparation: May 2015; Job code: GLO/ALO/2014-00133 </a:t>
            </a:r>
            <a:endParaRPr lang="en-US" dirty="0">
              <a:solidFill>
                <a:prstClr val="black">
                  <a:tint val="75000"/>
                </a:prstClr>
              </a:solidFill>
            </a:endParaRPr>
          </a:p>
        </p:txBody>
      </p:sp>
      <p:pic>
        <p:nvPicPr>
          <p:cNvPr id="8" name="Pictur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27766" y="4891087"/>
            <a:ext cx="2630487" cy="8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dirty="0" smtClean="0"/>
              <a:t>Click to edit Master text styles</a:t>
            </a:r>
            <a:endParaRPr lang="en-US" dirty="0"/>
          </a:p>
        </p:txBody>
      </p:sp>
      <p:sp>
        <p:nvSpPr>
          <p:cNvPr id="2" name="Title 1"/>
          <p:cNvSpPr>
            <a:spLocks noGrp="1"/>
          </p:cNvSpPr>
          <p:nvPr>
            <p:ph type="title"/>
          </p:nvPr>
        </p:nvSpPr>
        <p:spPr/>
        <p:txBody>
          <a:bodyPr/>
          <a:lstStyle>
            <a:lvl1pPr>
              <a:defRPr>
                <a:solidFill>
                  <a:srgbClr val="313231"/>
                </a:solidFill>
              </a:defRPr>
            </a:lvl1pPr>
          </a:lstStyle>
          <a:p>
            <a:r>
              <a:rPr lang="en-US" dirty="0" smtClean="0"/>
              <a:t>Click to edit Master title style</a:t>
            </a:r>
            <a:endParaRPr lang="en-US" dirty="0"/>
          </a:p>
        </p:txBody>
      </p:sp>
      <p:sp>
        <p:nvSpPr>
          <p:cNvPr id="15" name="Text Placeholder 14"/>
          <p:cNvSpPr>
            <a:spLocks noGrp="1"/>
          </p:cNvSpPr>
          <p:nvPr>
            <p:ph type="body" sz="quarter" idx="13"/>
          </p:nvPr>
        </p:nvSpPr>
        <p:spPr>
          <a:xfrm>
            <a:off x="457200" y="4629150"/>
            <a:ext cx="8229600" cy="205740"/>
          </a:xfrm>
        </p:spPr>
        <p:txBody>
          <a:bodyPr lIns="0" tIns="0" rIns="0" bIns="0" anchor="b">
            <a:noAutofit/>
          </a:bodyPr>
          <a:lstStyle>
            <a:lvl1pPr>
              <a:lnSpc>
                <a:spcPct val="85000"/>
              </a:lnSpc>
              <a:spcBef>
                <a:spcPts val="0"/>
              </a:spcBef>
              <a:buNone/>
              <a:defRPr sz="1000"/>
            </a:lvl1pPr>
            <a:lvl2pPr>
              <a:buNone/>
              <a:defRPr sz="1000"/>
            </a:lvl2pPr>
            <a:lvl3pPr>
              <a:buNone/>
              <a:defRPr sz="1000"/>
            </a:lvl3pPr>
            <a:lvl4pPr>
              <a:buNone/>
              <a:defRPr sz="1000"/>
            </a:lvl4pPr>
            <a:lvl5pPr>
              <a:buNone/>
              <a:defRPr sz="1000"/>
            </a:lvl5pPr>
          </a:lstStyle>
          <a:p>
            <a:pPr lvl="0"/>
            <a:r>
              <a:rPr lang="en-US" dirty="0" smtClean="0"/>
              <a:t>Click to edit Master text styles</a:t>
            </a:r>
          </a:p>
        </p:txBody>
      </p:sp>
      <p:sp>
        <p:nvSpPr>
          <p:cNvPr id="9" name="Date Placeholder 6"/>
          <p:cNvSpPr>
            <a:spLocks noGrp="1"/>
          </p:cNvSpPr>
          <p:nvPr>
            <p:ph type="dt" sz="half" idx="14"/>
          </p:nvPr>
        </p:nvSpPr>
        <p:spPr/>
        <p:txBody>
          <a:bodyPr/>
          <a:lstStyle>
            <a:lvl1pPr>
              <a:defRPr smtClean="0"/>
            </a:lvl1pPr>
          </a:lstStyle>
          <a:p>
            <a:pPr>
              <a:defRPr/>
            </a:pPr>
            <a:fld id="{43DCFB04-0964-42AA-A433-42B25B53BC42}" type="datetime1">
              <a:rPr lang="en-US"/>
              <a:pPr>
                <a:defRPr/>
              </a:pPr>
              <a:t>1/20/2018</a:t>
            </a:fld>
            <a:endParaRPr lang="en-US" dirty="0"/>
          </a:p>
        </p:txBody>
      </p:sp>
      <p:sp>
        <p:nvSpPr>
          <p:cNvPr id="10" name="Footer Placeholder 7"/>
          <p:cNvSpPr>
            <a:spLocks noGrp="1"/>
          </p:cNvSpPr>
          <p:nvPr>
            <p:ph type="ftr" sz="quarter" idx="15"/>
          </p:nvPr>
        </p:nvSpPr>
        <p:spPr/>
        <p:txBody>
          <a:bodyPr/>
          <a:lstStyle>
            <a:lvl1pPr>
              <a:defRPr dirty="0" smtClean="0"/>
            </a:lvl1pPr>
          </a:lstStyle>
          <a:p>
            <a:pPr>
              <a:defRPr/>
            </a:pPr>
            <a:endParaRPr lang="en-US"/>
          </a:p>
        </p:txBody>
      </p:sp>
      <p:sp>
        <p:nvSpPr>
          <p:cNvPr id="11" name="Slide Number Placeholder 11"/>
          <p:cNvSpPr>
            <a:spLocks noGrp="1"/>
          </p:cNvSpPr>
          <p:nvPr>
            <p:ph type="sldNum" sz="quarter" idx="16"/>
          </p:nvPr>
        </p:nvSpPr>
        <p:spPr/>
        <p:txBody>
          <a:bodyPr lIns="0" tIns="0" rIns="0" bIns="0"/>
          <a:lstStyle>
            <a:lvl1pPr>
              <a:defRPr sz="1000"/>
            </a:lvl1pPr>
          </a:lstStyle>
          <a:p>
            <a:fld id="{31BCED96-DD4D-450A-8D6C-44E5786B8396}" type="slidenum">
              <a:rPr lang="en-US" altLang="cs-CZ"/>
              <a:pPr/>
              <a:t>‹#›</a:t>
            </a:fld>
            <a:r>
              <a:rPr lang="en-US" altLang="cs-CZ" sz="1200"/>
              <a:t>         </a:t>
            </a:r>
          </a:p>
        </p:txBody>
      </p:sp>
    </p:spTree>
    <p:extLst>
      <p:ext uri="{BB962C8B-B14F-4D97-AF65-F5344CB8AC3E}">
        <p14:creationId xmlns:p14="http://schemas.microsoft.com/office/powerpoint/2010/main" val="108547332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6" name="Shape 23"/>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l="246" t="2219" r="52853" b="74561"/>
          <a:stretch>
            <a:fillRect/>
          </a:stretch>
        </p:blipFill>
        <p:spPr bwMode="auto">
          <a:xfrm>
            <a:off x="0" y="1"/>
            <a:ext cx="4298950" cy="858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25"/>
          <p:cNvSpPr txBox="1">
            <a:spLocks/>
          </p:cNvSpPr>
          <p:nvPr userDrawn="1"/>
        </p:nvSpPr>
        <p:spPr>
          <a:xfrm>
            <a:off x="4529141" y="4978005"/>
            <a:ext cx="4319587" cy="134540"/>
          </a:xfrm>
          <a:prstGeom prst="rect">
            <a:avLst/>
          </a:prstGeom>
        </p:spPr>
        <p:txBody>
          <a:bodyPr lIns="0" tIns="0" rIns="0" bIns="0" anchor="ctr"/>
          <a:lstStyle>
            <a:defPPr>
              <a:defRPr lang="en-US"/>
            </a:defPPr>
            <a:lvl1pPr marL="0" algn="r" defTabSz="914400" rtl="0" eaLnBrk="1" latinLnBrk="0" hangingPunct="1">
              <a:defRPr sz="9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dirty="0" smtClean="0">
                <a:solidFill>
                  <a:srgbClr val="000000">
                    <a:tint val="75000"/>
                  </a:srgbClr>
                </a:solidFill>
              </a:rPr>
              <a:t>Date of preparation: May 2015; Job code: GLO/ALO/2014-00133 </a:t>
            </a:r>
            <a:endParaRPr lang="en-US" dirty="0">
              <a:solidFill>
                <a:prstClr val="black">
                  <a:tint val="75000"/>
                </a:prstClr>
              </a:solidFill>
            </a:endParaRPr>
          </a:p>
        </p:txBody>
      </p:sp>
      <p:cxnSp>
        <p:nvCxnSpPr>
          <p:cNvPr id="8" name="Straight Connector 18"/>
          <p:cNvCxnSpPr/>
          <p:nvPr userDrawn="1"/>
        </p:nvCxnSpPr>
        <p:spPr>
          <a:xfrm>
            <a:off x="0" y="4806554"/>
            <a:ext cx="9144000" cy="0"/>
          </a:xfrm>
          <a:prstGeom prst="line">
            <a:avLst/>
          </a:prstGeom>
          <a:ln w="22225" cmpd="sng">
            <a:solidFill>
              <a:schemeClr val="bg1">
                <a:lumMod val="75000"/>
              </a:schemeClr>
            </a:solidFill>
          </a:ln>
          <a:effectLst>
            <a:outerShdw blurRad="46355" dist="12700" dir="162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pic>
        <p:nvPicPr>
          <p:cNvPr id="9"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27766" y="4891087"/>
            <a:ext cx="2630487" cy="8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solidFill>
                  <a:srgbClr val="313231"/>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973837"/>
            <a:ext cx="4038600" cy="3655315"/>
          </a:xfrm>
        </p:spPr>
        <p:txBody>
          <a:bodyPr>
            <a:noAutofit/>
          </a:bodyPr>
          <a:lstStyle>
            <a:lvl1pPr>
              <a:defRPr sz="1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4" name="Content Placeholder 3"/>
          <p:cNvSpPr>
            <a:spLocks noGrp="1"/>
          </p:cNvSpPr>
          <p:nvPr>
            <p:ph sz="half" idx="2"/>
          </p:nvPr>
        </p:nvSpPr>
        <p:spPr>
          <a:xfrm>
            <a:off x="4648200" y="973837"/>
            <a:ext cx="4038600" cy="3655315"/>
          </a:xfrm>
        </p:spPr>
        <p:txBody>
          <a:bodyPr>
            <a:noAutofit/>
          </a:bodyPr>
          <a:lstStyle>
            <a:lvl1pPr>
              <a:defRPr sz="1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5" name="Text Placeholder 14"/>
          <p:cNvSpPr>
            <a:spLocks noGrp="1"/>
          </p:cNvSpPr>
          <p:nvPr>
            <p:ph type="body" sz="quarter" idx="13"/>
          </p:nvPr>
        </p:nvSpPr>
        <p:spPr>
          <a:xfrm>
            <a:off x="457200" y="4629150"/>
            <a:ext cx="8229600" cy="205740"/>
          </a:xfrm>
        </p:spPr>
        <p:txBody>
          <a:bodyPr lIns="0" tIns="0" rIns="0" bIns="0" anchor="b">
            <a:noAutofit/>
          </a:bodyPr>
          <a:lstStyle>
            <a:lvl1pPr>
              <a:spcBef>
                <a:spcPts val="0"/>
              </a:spcBef>
              <a:buNone/>
              <a:defRPr sz="1000"/>
            </a:lvl1pPr>
            <a:lvl2pPr>
              <a:buNone/>
              <a:defRPr sz="1000"/>
            </a:lvl2pPr>
            <a:lvl3pPr>
              <a:buNone/>
              <a:defRPr sz="1000"/>
            </a:lvl3pPr>
            <a:lvl4pPr>
              <a:buNone/>
              <a:defRPr sz="1000"/>
            </a:lvl4pPr>
            <a:lvl5pPr>
              <a:buNone/>
              <a:defRPr sz="1000"/>
            </a:lvl5pPr>
          </a:lstStyle>
          <a:p>
            <a:pPr lvl="0"/>
            <a:r>
              <a:rPr lang="en-US" dirty="0" smtClean="0"/>
              <a:t>Click to edit Master text styles</a:t>
            </a:r>
          </a:p>
        </p:txBody>
      </p:sp>
      <p:sp>
        <p:nvSpPr>
          <p:cNvPr id="10" name="Date Placeholder 4"/>
          <p:cNvSpPr>
            <a:spLocks noGrp="1"/>
          </p:cNvSpPr>
          <p:nvPr>
            <p:ph type="dt" sz="half" idx="14"/>
          </p:nvPr>
        </p:nvSpPr>
        <p:spPr/>
        <p:txBody>
          <a:bodyPr/>
          <a:lstStyle>
            <a:lvl1pPr>
              <a:defRPr smtClean="0"/>
            </a:lvl1pPr>
          </a:lstStyle>
          <a:p>
            <a:pPr>
              <a:defRPr/>
            </a:pPr>
            <a:fld id="{E973E122-5612-43A2-B445-D2237D0DC098}" type="datetime1">
              <a:rPr lang="en-US"/>
              <a:pPr>
                <a:defRPr/>
              </a:pPr>
              <a:t>1/20/2018</a:t>
            </a:fld>
            <a:endParaRPr lang="en-US" dirty="0"/>
          </a:p>
        </p:txBody>
      </p:sp>
      <p:sp>
        <p:nvSpPr>
          <p:cNvPr id="11" name="Footer Placeholder 5"/>
          <p:cNvSpPr>
            <a:spLocks noGrp="1"/>
          </p:cNvSpPr>
          <p:nvPr>
            <p:ph type="ftr" sz="quarter" idx="15"/>
          </p:nvPr>
        </p:nvSpPr>
        <p:spPr/>
        <p:txBody>
          <a:bodyPr/>
          <a:lstStyle>
            <a:lvl1pPr>
              <a:defRPr dirty="0" smtClean="0"/>
            </a:lvl1pPr>
          </a:lstStyle>
          <a:p>
            <a:pPr>
              <a:defRPr/>
            </a:pPr>
            <a:endParaRPr lang="en-US"/>
          </a:p>
        </p:txBody>
      </p:sp>
      <p:sp>
        <p:nvSpPr>
          <p:cNvPr id="12" name="Slide Number Placeholder 5"/>
          <p:cNvSpPr>
            <a:spLocks noGrp="1"/>
          </p:cNvSpPr>
          <p:nvPr>
            <p:ph type="sldNum" sz="quarter" idx="16"/>
          </p:nvPr>
        </p:nvSpPr>
        <p:spPr>
          <a:xfrm>
            <a:off x="4305300" y="4869657"/>
            <a:ext cx="533400" cy="273844"/>
          </a:xfrm>
        </p:spPr>
        <p:txBody>
          <a:bodyPr/>
          <a:lstStyle>
            <a:lvl1pPr algn="ctr" defTabSz="457200">
              <a:defRPr sz="1000">
                <a:solidFill>
                  <a:srgbClr val="313231"/>
                </a:solidFill>
              </a:defRPr>
            </a:lvl1pPr>
          </a:lstStyle>
          <a:p>
            <a:fld id="{0932A6E7-6D4C-4CBA-B510-33C91C0FA0BC}" type="slidenum">
              <a:rPr lang="en-US" altLang="cs-CZ"/>
              <a:pPr/>
              <a:t>‹#›</a:t>
            </a:fld>
            <a:r>
              <a:rPr lang="en-US" altLang="cs-CZ" sz="1200"/>
              <a:t>         </a:t>
            </a:r>
          </a:p>
        </p:txBody>
      </p:sp>
    </p:spTree>
    <p:extLst>
      <p:ext uri="{BB962C8B-B14F-4D97-AF65-F5344CB8AC3E}">
        <p14:creationId xmlns:p14="http://schemas.microsoft.com/office/powerpoint/2010/main" val="344747843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4" name="Shape 19"/>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r="246"/>
          <a:stretch>
            <a:fillRect/>
          </a:stretch>
        </p:blipFill>
        <p:spPr bwMode="auto">
          <a:xfrm>
            <a:off x="0" y="1"/>
            <a:ext cx="9144000" cy="5151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hape 20"/>
          <p:cNvSpPr>
            <a:spLocks noChangeArrowheads="1"/>
          </p:cNvSpPr>
          <p:nvPr userDrawn="1"/>
        </p:nvSpPr>
        <p:spPr bwMode="auto">
          <a:xfrm>
            <a:off x="0" y="1"/>
            <a:ext cx="9144000" cy="5151835"/>
          </a:xfrm>
          <a:prstGeom prst="rect">
            <a:avLst/>
          </a:prstGeom>
          <a:solidFill>
            <a:schemeClr val="bg1">
              <a:alpha val="7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eaLnBrk="0" fontAlgn="base" hangingPunct="0">
              <a:spcBef>
                <a:spcPct val="0"/>
              </a:spcBef>
              <a:spcAft>
                <a:spcPct val="0"/>
              </a:spcAft>
            </a:pPr>
            <a:endParaRPr lang="cs-CZ" altLang="cs-CZ" sz="1800">
              <a:solidFill>
                <a:srgbClr val="FFFFFF"/>
              </a:solidFill>
              <a:sym typeface="Arial" pitchFamily="34" charset="0"/>
            </a:endParaRPr>
          </a:p>
        </p:txBody>
      </p:sp>
      <p:pic>
        <p:nvPicPr>
          <p:cNvPr id="6" name="Shape 23"/>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l="246" t="2219" r="52853" b="74561"/>
          <a:stretch>
            <a:fillRect/>
          </a:stretch>
        </p:blipFill>
        <p:spPr bwMode="auto">
          <a:xfrm>
            <a:off x="0" y="1"/>
            <a:ext cx="4298950" cy="858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0"/>
          <p:cNvCxnSpPr/>
          <p:nvPr userDrawn="1"/>
        </p:nvCxnSpPr>
        <p:spPr>
          <a:xfrm>
            <a:off x="0" y="4806554"/>
            <a:ext cx="9144000" cy="0"/>
          </a:xfrm>
          <a:prstGeom prst="line">
            <a:avLst/>
          </a:prstGeom>
          <a:ln w="22225" cmpd="sng">
            <a:solidFill>
              <a:schemeClr val="bg1">
                <a:lumMod val="75000"/>
              </a:schemeClr>
            </a:solidFill>
          </a:ln>
          <a:effectLst>
            <a:outerShdw blurRad="46355" dist="12700" dir="162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8" name="Footer Placeholder 25"/>
          <p:cNvSpPr txBox="1">
            <a:spLocks/>
          </p:cNvSpPr>
          <p:nvPr userDrawn="1"/>
        </p:nvSpPr>
        <p:spPr>
          <a:xfrm>
            <a:off x="4529141" y="4978005"/>
            <a:ext cx="4319587" cy="134540"/>
          </a:xfrm>
          <a:prstGeom prst="rect">
            <a:avLst/>
          </a:prstGeom>
        </p:spPr>
        <p:txBody>
          <a:bodyPr lIns="0" tIns="0" rIns="0" bIns="0" anchor="ctr"/>
          <a:lstStyle>
            <a:defPPr>
              <a:defRPr lang="en-US"/>
            </a:defPPr>
            <a:lvl1pPr marL="0" algn="r" defTabSz="914400" rtl="0" eaLnBrk="1" latinLnBrk="0" hangingPunct="1">
              <a:defRPr sz="9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dirty="0" smtClean="0">
                <a:solidFill>
                  <a:srgbClr val="000000">
                    <a:tint val="75000"/>
                  </a:srgbClr>
                </a:solidFill>
              </a:rPr>
              <a:t>Date of preparation: May 2015; Job code: GLO/ALO/2014-00133 </a:t>
            </a:r>
            <a:endParaRPr lang="en-US" dirty="0">
              <a:solidFill>
                <a:prstClr val="black">
                  <a:tint val="75000"/>
                </a:prstClr>
              </a:solidFill>
            </a:endParaRPr>
          </a:p>
        </p:txBody>
      </p:sp>
      <p:pic>
        <p:nvPicPr>
          <p:cNvPr id="9" name="Picture 13"/>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227766" y="4891087"/>
            <a:ext cx="2630487" cy="8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williams\Desktop\Images\Takeda Logo.pn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756525" y="239316"/>
            <a:ext cx="1054100" cy="301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lvl1pPr>
              <a:defRPr>
                <a:solidFill>
                  <a:srgbClr val="313231"/>
                </a:solidFill>
              </a:defRPr>
            </a:lvl1pPr>
          </a:lstStyle>
          <a:p>
            <a:r>
              <a:rPr lang="en-US" dirty="0" smtClean="0"/>
              <a:t>Click to edit Master title style</a:t>
            </a:r>
            <a:endParaRPr lang="en-US" dirty="0"/>
          </a:p>
        </p:txBody>
      </p:sp>
      <p:sp>
        <p:nvSpPr>
          <p:cNvPr id="15" name="Text Placeholder 14"/>
          <p:cNvSpPr>
            <a:spLocks noGrp="1"/>
          </p:cNvSpPr>
          <p:nvPr>
            <p:ph type="body" sz="quarter" idx="13"/>
          </p:nvPr>
        </p:nvSpPr>
        <p:spPr>
          <a:xfrm>
            <a:off x="457200" y="4629150"/>
            <a:ext cx="8229600" cy="205740"/>
          </a:xfrm>
        </p:spPr>
        <p:txBody>
          <a:bodyPr lIns="0" tIns="0" rIns="0" bIns="0" anchor="b">
            <a:noAutofit/>
          </a:bodyPr>
          <a:lstStyle>
            <a:lvl1pPr>
              <a:spcBef>
                <a:spcPts val="0"/>
              </a:spcBef>
              <a:buNone/>
              <a:defRPr sz="1000"/>
            </a:lvl1pPr>
            <a:lvl2pPr>
              <a:buNone/>
              <a:defRPr sz="1000"/>
            </a:lvl2pPr>
            <a:lvl3pPr>
              <a:buNone/>
              <a:defRPr sz="1000"/>
            </a:lvl3pPr>
            <a:lvl4pPr>
              <a:buNone/>
              <a:defRPr sz="1000"/>
            </a:lvl4pPr>
            <a:lvl5pPr>
              <a:buNone/>
              <a:defRPr sz="1000"/>
            </a:lvl5pPr>
          </a:lstStyle>
          <a:p>
            <a:pPr lvl="0"/>
            <a:r>
              <a:rPr lang="en-US" dirty="0" smtClean="0"/>
              <a:t>Click to edit Master text styles</a:t>
            </a:r>
          </a:p>
        </p:txBody>
      </p:sp>
      <p:sp>
        <p:nvSpPr>
          <p:cNvPr id="11" name="Date Placeholder 6"/>
          <p:cNvSpPr>
            <a:spLocks noGrp="1"/>
          </p:cNvSpPr>
          <p:nvPr>
            <p:ph type="dt" sz="half" idx="14"/>
          </p:nvPr>
        </p:nvSpPr>
        <p:spPr/>
        <p:txBody>
          <a:bodyPr/>
          <a:lstStyle>
            <a:lvl1pPr>
              <a:defRPr smtClean="0"/>
            </a:lvl1pPr>
          </a:lstStyle>
          <a:p>
            <a:pPr>
              <a:defRPr/>
            </a:pPr>
            <a:fld id="{96AB9180-4BAD-41A3-BBCC-5D890612B353}" type="datetime1">
              <a:rPr lang="en-US"/>
              <a:pPr>
                <a:defRPr/>
              </a:pPr>
              <a:t>1/20/2018</a:t>
            </a:fld>
            <a:endParaRPr lang="en-US" dirty="0"/>
          </a:p>
        </p:txBody>
      </p:sp>
      <p:sp>
        <p:nvSpPr>
          <p:cNvPr id="12" name="Footer Placeholder 7"/>
          <p:cNvSpPr>
            <a:spLocks noGrp="1"/>
          </p:cNvSpPr>
          <p:nvPr>
            <p:ph type="ftr" sz="quarter" idx="15"/>
          </p:nvPr>
        </p:nvSpPr>
        <p:spPr/>
        <p:txBody>
          <a:bodyPr/>
          <a:lstStyle>
            <a:lvl1pPr>
              <a:defRPr dirty="0" smtClean="0"/>
            </a:lvl1pPr>
          </a:lstStyle>
          <a:p>
            <a:pPr>
              <a:defRPr/>
            </a:pPr>
            <a:endParaRPr lang="en-US"/>
          </a:p>
        </p:txBody>
      </p:sp>
      <p:sp>
        <p:nvSpPr>
          <p:cNvPr id="13" name="Slide Number Placeholder 11"/>
          <p:cNvSpPr>
            <a:spLocks noGrp="1"/>
          </p:cNvSpPr>
          <p:nvPr>
            <p:ph type="sldNum" sz="quarter" idx="16"/>
          </p:nvPr>
        </p:nvSpPr>
        <p:spPr/>
        <p:txBody>
          <a:bodyPr lIns="0" tIns="0" rIns="0" bIns="0"/>
          <a:lstStyle>
            <a:lvl1pPr>
              <a:defRPr sz="1000"/>
            </a:lvl1pPr>
          </a:lstStyle>
          <a:p>
            <a:fld id="{10C156E5-2602-45F7-A882-AE591E41C794}" type="slidenum">
              <a:rPr lang="en-US" altLang="cs-CZ"/>
              <a:pPr/>
              <a:t>‹#›</a:t>
            </a:fld>
            <a:r>
              <a:rPr lang="en-US" altLang="cs-CZ" sz="1200"/>
              <a:t>         </a:t>
            </a:r>
          </a:p>
        </p:txBody>
      </p:sp>
    </p:spTree>
    <p:extLst>
      <p:ext uri="{BB962C8B-B14F-4D97-AF65-F5344CB8AC3E}">
        <p14:creationId xmlns:p14="http://schemas.microsoft.com/office/powerpoint/2010/main" val="210942906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pic>
        <p:nvPicPr>
          <p:cNvPr id="6" name="Shape 23"/>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l="246" t="2219" r="52853" b="74561"/>
          <a:stretch>
            <a:fillRect/>
          </a:stretch>
        </p:blipFill>
        <p:spPr bwMode="auto">
          <a:xfrm>
            <a:off x="0" y="1"/>
            <a:ext cx="4298950" cy="858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25"/>
          <p:cNvSpPr txBox="1">
            <a:spLocks/>
          </p:cNvSpPr>
          <p:nvPr userDrawn="1"/>
        </p:nvSpPr>
        <p:spPr>
          <a:xfrm>
            <a:off x="4529141" y="4978005"/>
            <a:ext cx="4319587" cy="134540"/>
          </a:xfrm>
          <a:prstGeom prst="rect">
            <a:avLst/>
          </a:prstGeom>
        </p:spPr>
        <p:txBody>
          <a:bodyPr lIns="0" tIns="0" rIns="0" bIns="0" anchor="ctr"/>
          <a:lstStyle>
            <a:defPPr>
              <a:defRPr lang="en-US"/>
            </a:defPPr>
            <a:lvl1pPr marL="0" algn="r" defTabSz="914400" rtl="0" eaLnBrk="1" latinLnBrk="0" hangingPunct="1">
              <a:defRPr sz="9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dirty="0" smtClean="0">
                <a:solidFill>
                  <a:srgbClr val="000000">
                    <a:tint val="75000"/>
                  </a:srgbClr>
                </a:solidFill>
              </a:rPr>
              <a:t>Date of preparation: May 2015; Job code: GLO/ALO/2014-00133 </a:t>
            </a:r>
            <a:endParaRPr lang="en-US" dirty="0">
              <a:solidFill>
                <a:prstClr val="black">
                  <a:tint val="75000"/>
                </a:prstClr>
              </a:solidFill>
            </a:endParaRPr>
          </a:p>
        </p:txBody>
      </p:sp>
      <p:cxnSp>
        <p:nvCxnSpPr>
          <p:cNvPr id="8" name="Straight Connector 18"/>
          <p:cNvCxnSpPr/>
          <p:nvPr userDrawn="1"/>
        </p:nvCxnSpPr>
        <p:spPr>
          <a:xfrm>
            <a:off x="0" y="4806554"/>
            <a:ext cx="9144000" cy="0"/>
          </a:xfrm>
          <a:prstGeom prst="line">
            <a:avLst/>
          </a:prstGeom>
          <a:ln w="22225" cmpd="sng">
            <a:solidFill>
              <a:schemeClr val="bg1">
                <a:lumMod val="75000"/>
              </a:schemeClr>
            </a:solidFill>
          </a:ln>
          <a:effectLst>
            <a:outerShdw blurRad="46355" dist="12700" dir="162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pic>
        <p:nvPicPr>
          <p:cNvPr id="9"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27766" y="4891087"/>
            <a:ext cx="2630487" cy="8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solidFill>
                  <a:srgbClr val="313231"/>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973837"/>
            <a:ext cx="4038600" cy="3655315"/>
          </a:xfrm>
        </p:spPr>
        <p:txBody>
          <a:bodyPr>
            <a:noAutofit/>
          </a:bodyPr>
          <a:lstStyle>
            <a:lvl1pPr>
              <a:defRPr sz="1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4" name="Content Placeholder 3"/>
          <p:cNvSpPr>
            <a:spLocks noGrp="1"/>
          </p:cNvSpPr>
          <p:nvPr>
            <p:ph sz="half" idx="2"/>
          </p:nvPr>
        </p:nvSpPr>
        <p:spPr>
          <a:xfrm>
            <a:off x="4648200" y="973837"/>
            <a:ext cx="4038600" cy="3655315"/>
          </a:xfrm>
        </p:spPr>
        <p:txBody>
          <a:bodyPr>
            <a:noAutofit/>
          </a:bodyPr>
          <a:lstStyle>
            <a:lvl1pPr>
              <a:defRPr sz="1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5" name="Text Placeholder 14"/>
          <p:cNvSpPr>
            <a:spLocks noGrp="1"/>
          </p:cNvSpPr>
          <p:nvPr>
            <p:ph type="body" sz="quarter" idx="13"/>
          </p:nvPr>
        </p:nvSpPr>
        <p:spPr>
          <a:xfrm>
            <a:off x="457200" y="4629150"/>
            <a:ext cx="8229600" cy="205740"/>
          </a:xfrm>
        </p:spPr>
        <p:txBody>
          <a:bodyPr lIns="0" tIns="0" rIns="0" bIns="0" anchor="b">
            <a:noAutofit/>
          </a:bodyPr>
          <a:lstStyle>
            <a:lvl1pPr>
              <a:spcBef>
                <a:spcPts val="0"/>
              </a:spcBef>
              <a:buNone/>
              <a:defRPr sz="1000"/>
            </a:lvl1pPr>
            <a:lvl2pPr>
              <a:buNone/>
              <a:defRPr sz="1000"/>
            </a:lvl2pPr>
            <a:lvl3pPr>
              <a:buNone/>
              <a:defRPr sz="1000"/>
            </a:lvl3pPr>
            <a:lvl4pPr>
              <a:buNone/>
              <a:defRPr sz="1000"/>
            </a:lvl4pPr>
            <a:lvl5pPr>
              <a:buNone/>
              <a:defRPr sz="1000"/>
            </a:lvl5pPr>
          </a:lstStyle>
          <a:p>
            <a:pPr lvl="0"/>
            <a:r>
              <a:rPr lang="en-US" dirty="0" smtClean="0"/>
              <a:t>Click to edit Master text styles</a:t>
            </a:r>
          </a:p>
        </p:txBody>
      </p:sp>
      <p:sp>
        <p:nvSpPr>
          <p:cNvPr id="10" name="Date Placeholder 4"/>
          <p:cNvSpPr>
            <a:spLocks noGrp="1"/>
          </p:cNvSpPr>
          <p:nvPr>
            <p:ph type="dt" sz="half" idx="14"/>
          </p:nvPr>
        </p:nvSpPr>
        <p:spPr/>
        <p:txBody>
          <a:bodyPr/>
          <a:lstStyle>
            <a:lvl1pPr>
              <a:defRPr smtClean="0"/>
            </a:lvl1pPr>
          </a:lstStyle>
          <a:p>
            <a:pPr>
              <a:defRPr/>
            </a:pPr>
            <a:fld id="{E973E122-5612-43A2-B445-D2237D0DC098}" type="datetime1">
              <a:rPr lang="en-US"/>
              <a:pPr>
                <a:defRPr/>
              </a:pPr>
              <a:t>1/20/2018</a:t>
            </a:fld>
            <a:endParaRPr lang="en-US" dirty="0"/>
          </a:p>
        </p:txBody>
      </p:sp>
      <p:sp>
        <p:nvSpPr>
          <p:cNvPr id="11" name="Footer Placeholder 5"/>
          <p:cNvSpPr>
            <a:spLocks noGrp="1"/>
          </p:cNvSpPr>
          <p:nvPr>
            <p:ph type="ftr" sz="quarter" idx="15"/>
          </p:nvPr>
        </p:nvSpPr>
        <p:spPr/>
        <p:txBody>
          <a:bodyPr/>
          <a:lstStyle>
            <a:lvl1pPr>
              <a:defRPr dirty="0" smtClean="0"/>
            </a:lvl1pPr>
          </a:lstStyle>
          <a:p>
            <a:pPr>
              <a:defRPr/>
            </a:pPr>
            <a:endParaRPr lang="en-US"/>
          </a:p>
        </p:txBody>
      </p:sp>
      <p:sp>
        <p:nvSpPr>
          <p:cNvPr id="12" name="Slide Number Placeholder 5"/>
          <p:cNvSpPr>
            <a:spLocks noGrp="1"/>
          </p:cNvSpPr>
          <p:nvPr>
            <p:ph type="sldNum" sz="quarter" idx="16"/>
          </p:nvPr>
        </p:nvSpPr>
        <p:spPr>
          <a:xfrm>
            <a:off x="4305300" y="4869657"/>
            <a:ext cx="533400" cy="273844"/>
          </a:xfrm>
        </p:spPr>
        <p:txBody>
          <a:bodyPr/>
          <a:lstStyle>
            <a:lvl1pPr algn="ctr" defTabSz="457200">
              <a:defRPr sz="1000">
                <a:solidFill>
                  <a:srgbClr val="313231"/>
                </a:solidFill>
              </a:defRPr>
            </a:lvl1pPr>
          </a:lstStyle>
          <a:p>
            <a:fld id="{0C50EE0C-00D1-4C06-B7BB-327EF51972C8}" type="slidenum">
              <a:rPr lang="en-US" altLang="cs-CZ"/>
              <a:pPr/>
              <a:t>‹#›</a:t>
            </a:fld>
            <a:r>
              <a:rPr lang="en-US" altLang="cs-CZ" sz="1200"/>
              <a:t>         </a:t>
            </a:r>
          </a:p>
        </p:txBody>
      </p:sp>
    </p:spTree>
    <p:extLst>
      <p:ext uri="{BB962C8B-B14F-4D97-AF65-F5344CB8AC3E}">
        <p14:creationId xmlns:p14="http://schemas.microsoft.com/office/powerpoint/2010/main" val="53149675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5" name="Shape 23"/>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l="246" t="2219" r="52853" b="74561"/>
          <a:stretch>
            <a:fillRect/>
          </a:stretch>
        </p:blipFill>
        <p:spPr bwMode="auto">
          <a:xfrm>
            <a:off x="0" y="1"/>
            <a:ext cx="4298950" cy="858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10"/>
          <p:cNvCxnSpPr/>
          <p:nvPr userDrawn="1"/>
        </p:nvCxnSpPr>
        <p:spPr>
          <a:xfrm>
            <a:off x="0" y="4806554"/>
            <a:ext cx="9144000" cy="0"/>
          </a:xfrm>
          <a:prstGeom prst="line">
            <a:avLst/>
          </a:prstGeom>
          <a:ln w="22225" cmpd="sng">
            <a:solidFill>
              <a:schemeClr val="bg1">
                <a:lumMod val="75000"/>
              </a:schemeClr>
            </a:solidFill>
          </a:ln>
          <a:effectLst>
            <a:outerShdw blurRad="46355" dist="12700" dir="162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7" name="Footer Placeholder 25"/>
          <p:cNvSpPr txBox="1">
            <a:spLocks/>
          </p:cNvSpPr>
          <p:nvPr userDrawn="1"/>
        </p:nvSpPr>
        <p:spPr>
          <a:xfrm>
            <a:off x="4529141" y="4978005"/>
            <a:ext cx="4319587" cy="134540"/>
          </a:xfrm>
          <a:prstGeom prst="rect">
            <a:avLst/>
          </a:prstGeom>
        </p:spPr>
        <p:txBody>
          <a:bodyPr lIns="0" tIns="0" rIns="0" bIns="0" anchor="ctr"/>
          <a:lstStyle>
            <a:defPPr>
              <a:defRPr lang="en-US"/>
            </a:defPPr>
            <a:lvl1pPr marL="0" algn="r" defTabSz="914400" rtl="0" eaLnBrk="1" latinLnBrk="0" hangingPunct="1">
              <a:defRPr sz="9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dirty="0" smtClean="0">
                <a:solidFill>
                  <a:srgbClr val="000000">
                    <a:tint val="75000"/>
                  </a:srgbClr>
                </a:solidFill>
              </a:rPr>
              <a:t>Date of preparation: May 2015; Job code: GLO/ALO/2014-00133 </a:t>
            </a:r>
            <a:endParaRPr lang="en-US" dirty="0">
              <a:solidFill>
                <a:prstClr val="black">
                  <a:tint val="75000"/>
                </a:prstClr>
              </a:solidFill>
            </a:endParaRPr>
          </a:p>
        </p:txBody>
      </p:sp>
      <p:pic>
        <p:nvPicPr>
          <p:cNvPr id="8" name="Pictur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27766" y="4891087"/>
            <a:ext cx="2630487" cy="8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dirty="0" smtClean="0"/>
              <a:t>Click to edit Master text styles</a:t>
            </a:r>
            <a:endParaRPr lang="en-US" dirty="0"/>
          </a:p>
        </p:txBody>
      </p:sp>
      <p:sp>
        <p:nvSpPr>
          <p:cNvPr id="2" name="Title 1"/>
          <p:cNvSpPr>
            <a:spLocks noGrp="1"/>
          </p:cNvSpPr>
          <p:nvPr>
            <p:ph type="title"/>
          </p:nvPr>
        </p:nvSpPr>
        <p:spPr/>
        <p:txBody>
          <a:bodyPr/>
          <a:lstStyle>
            <a:lvl1pPr>
              <a:defRPr>
                <a:solidFill>
                  <a:srgbClr val="313231"/>
                </a:solidFill>
              </a:defRPr>
            </a:lvl1pPr>
          </a:lstStyle>
          <a:p>
            <a:r>
              <a:rPr lang="en-US" dirty="0" smtClean="0"/>
              <a:t>Click to edit Master title style</a:t>
            </a:r>
            <a:endParaRPr lang="en-US" dirty="0"/>
          </a:p>
        </p:txBody>
      </p:sp>
      <p:sp>
        <p:nvSpPr>
          <p:cNvPr id="15" name="Text Placeholder 14"/>
          <p:cNvSpPr>
            <a:spLocks noGrp="1"/>
          </p:cNvSpPr>
          <p:nvPr>
            <p:ph type="body" sz="quarter" idx="13"/>
          </p:nvPr>
        </p:nvSpPr>
        <p:spPr>
          <a:xfrm>
            <a:off x="457200" y="4629150"/>
            <a:ext cx="8229600" cy="205740"/>
          </a:xfrm>
        </p:spPr>
        <p:txBody>
          <a:bodyPr lIns="0" tIns="0" rIns="0" bIns="0" anchor="b">
            <a:noAutofit/>
          </a:bodyPr>
          <a:lstStyle>
            <a:lvl1pPr>
              <a:lnSpc>
                <a:spcPct val="85000"/>
              </a:lnSpc>
              <a:spcBef>
                <a:spcPts val="0"/>
              </a:spcBef>
              <a:buNone/>
              <a:defRPr sz="1000"/>
            </a:lvl1pPr>
            <a:lvl2pPr>
              <a:buNone/>
              <a:defRPr sz="1000"/>
            </a:lvl2pPr>
            <a:lvl3pPr>
              <a:buNone/>
              <a:defRPr sz="1000"/>
            </a:lvl3pPr>
            <a:lvl4pPr>
              <a:buNone/>
              <a:defRPr sz="1000"/>
            </a:lvl4pPr>
            <a:lvl5pPr>
              <a:buNone/>
              <a:defRPr sz="1000"/>
            </a:lvl5pPr>
          </a:lstStyle>
          <a:p>
            <a:pPr lvl="0"/>
            <a:r>
              <a:rPr lang="en-US" dirty="0" smtClean="0"/>
              <a:t>Click to edit Master text styles</a:t>
            </a:r>
          </a:p>
        </p:txBody>
      </p:sp>
      <p:sp>
        <p:nvSpPr>
          <p:cNvPr id="9" name="Date Placeholder 6"/>
          <p:cNvSpPr>
            <a:spLocks noGrp="1"/>
          </p:cNvSpPr>
          <p:nvPr>
            <p:ph type="dt" sz="half" idx="14"/>
          </p:nvPr>
        </p:nvSpPr>
        <p:spPr/>
        <p:txBody>
          <a:bodyPr/>
          <a:lstStyle>
            <a:lvl1pPr>
              <a:defRPr smtClean="0"/>
            </a:lvl1pPr>
          </a:lstStyle>
          <a:p>
            <a:pPr>
              <a:defRPr/>
            </a:pPr>
            <a:fld id="{43DCFB04-0964-42AA-A433-42B25B53BC42}" type="datetime1">
              <a:rPr lang="en-US"/>
              <a:pPr>
                <a:defRPr/>
              </a:pPr>
              <a:t>1/20/2018</a:t>
            </a:fld>
            <a:endParaRPr lang="en-US" dirty="0"/>
          </a:p>
        </p:txBody>
      </p:sp>
      <p:sp>
        <p:nvSpPr>
          <p:cNvPr id="10" name="Footer Placeholder 7"/>
          <p:cNvSpPr>
            <a:spLocks noGrp="1"/>
          </p:cNvSpPr>
          <p:nvPr>
            <p:ph type="ftr" sz="quarter" idx="15"/>
          </p:nvPr>
        </p:nvSpPr>
        <p:spPr/>
        <p:txBody>
          <a:bodyPr/>
          <a:lstStyle>
            <a:lvl1pPr>
              <a:defRPr dirty="0" smtClean="0"/>
            </a:lvl1pPr>
          </a:lstStyle>
          <a:p>
            <a:pPr>
              <a:defRPr/>
            </a:pPr>
            <a:endParaRPr lang="en-US"/>
          </a:p>
        </p:txBody>
      </p:sp>
      <p:sp>
        <p:nvSpPr>
          <p:cNvPr id="11" name="Slide Number Placeholder 11"/>
          <p:cNvSpPr>
            <a:spLocks noGrp="1"/>
          </p:cNvSpPr>
          <p:nvPr>
            <p:ph type="sldNum" sz="quarter" idx="16"/>
          </p:nvPr>
        </p:nvSpPr>
        <p:spPr/>
        <p:txBody>
          <a:bodyPr lIns="0" tIns="0" rIns="0" bIns="0"/>
          <a:lstStyle>
            <a:lvl1pPr>
              <a:defRPr sz="1000"/>
            </a:lvl1pPr>
          </a:lstStyle>
          <a:p>
            <a:fld id="{CE7341EF-5DA7-446A-9B8A-7A777ED581E3}" type="slidenum">
              <a:rPr lang="en-US" altLang="cs-CZ"/>
              <a:pPr/>
              <a:t>‹#›</a:t>
            </a:fld>
            <a:r>
              <a:rPr lang="en-US" altLang="cs-CZ" sz="1200"/>
              <a:t>         </a:t>
            </a:r>
          </a:p>
        </p:txBody>
      </p:sp>
    </p:spTree>
    <p:extLst>
      <p:ext uri="{BB962C8B-B14F-4D97-AF65-F5344CB8AC3E}">
        <p14:creationId xmlns:p14="http://schemas.microsoft.com/office/powerpoint/2010/main" val="18845107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noAutofit/>
          </a:bodyPr>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286641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5" name="Shape 23"/>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l="246" t="2219" r="52853" b="74561"/>
          <a:stretch>
            <a:fillRect/>
          </a:stretch>
        </p:blipFill>
        <p:spPr bwMode="auto">
          <a:xfrm>
            <a:off x="0" y="1"/>
            <a:ext cx="4298950" cy="858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10"/>
          <p:cNvCxnSpPr/>
          <p:nvPr userDrawn="1"/>
        </p:nvCxnSpPr>
        <p:spPr>
          <a:xfrm>
            <a:off x="0" y="4806554"/>
            <a:ext cx="9144000" cy="0"/>
          </a:xfrm>
          <a:prstGeom prst="line">
            <a:avLst/>
          </a:prstGeom>
          <a:ln w="22225" cmpd="sng">
            <a:solidFill>
              <a:schemeClr val="bg1">
                <a:lumMod val="75000"/>
              </a:schemeClr>
            </a:solidFill>
          </a:ln>
          <a:effectLst>
            <a:outerShdw blurRad="46355" dist="12700" dir="162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7" name="Footer Placeholder 25"/>
          <p:cNvSpPr txBox="1">
            <a:spLocks/>
          </p:cNvSpPr>
          <p:nvPr userDrawn="1"/>
        </p:nvSpPr>
        <p:spPr>
          <a:xfrm>
            <a:off x="4529141" y="4978005"/>
            <a:ext cx="4319587" cy="134540"/>
          </a:xfrm>
          <a:prstGeom prst="rect">
            <a:avLst/>
          </a:prstGeom>
        </p:spPr>
        <p:txBody>
          <a:bodyPr lIns="0" tIns="0" rIns="0" bIns="0" anchor="ctr"/>
          <a:lstStyle>
            <a:defPPr>
              <a:defRPr lang="en-US"/>
            </a:defPPr>
            <a:lvl1pPr marL="0" algn="r" defTabSz="914400" rtl="0" eaLnBrk="1" latinLnBrk="0" hangingPunct="1">
              <a:defRPr sz="9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dirty="0" smtClean="0">
                <a:solidFill>
                  <a:srgbClr val="000000">
                    <a:tint val="75000"/>
                  </a:srgbClr>
                </a:solidFill>
              </a:rPr>
              <a:t>Date of preparation: May 2015; Job code: GLO/ALO/2014-00133 </a:t>
            </a:r>
            <a:endParaRPr lang="en-US" dirty="0">
              <a:solidFill>
                <a:prstClr val="black">
                  <a:tint val="75000"/>
                </a:prstClr>
              </a:solidFill>
            </a:endParaRPr>
          </a:p>
        </p:txBody>
      </p:sp>
      <p:pic>
        <p:nvPicPr>
          <p:cNvPr id="8" name="Pictur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27766" y="4891087"/>
            <a:ext cx="2630487" cy="8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dirty="0" smtClean="0"/>
              <a:t>Click to edit Master text styles</a:t>
            </a:r>
            <a:endParaRPr lang="en-US" dirty="0"/>
          </a:p>
        </p:txBody>
      </p:sp>
      <p:sp>
        <p:nvSpPr>
          <p:cNvPr id="2" name="Title 1"/>
          <p:cNvSpPr>
            <a:spLocks noGrp="1"/>
          </p:cNvSpPr>
          <p:nvPr>
            <p:ph type="title"/>
          </p:nvPr>
        </p:nvSpPr>
        <p:spPr/>
        <p:txBody>
          <a:bodyPr/>
          <a:lstStyle>
            <a:lvl1pPr>
              <a:defRPr>
                <a:solidFill>
                  <a:srgbClr val="313231"/>
                </a:solidFill>
              </a:defRPr>
            </a:lvl1pPr>
          </a:lstStyle>
          <a:p>
            <a:r>
              <a:rPr lang="en-US" dirty="0" smtClean="0"/>
              <a:t>Click to edit Master title style</a:t>
            </a:r>
            <a:endParaRPr lang="en-US" dirty="0"/>
          </a:p>
        </p:txBody>
      </p:sp>
      <p:sp>
        <p:nvSpPr>
          <p:cNvPr id="15" name="Text Placeholder 14"/>
          <p:cNvSpPr>
            <a:spLocks noGrp="1"/>
          </p:cNvSpPr>
          <p:nvPr>
            <p:ph type="body" sz="quarter" idx="13"/>
          </p:nvPr>
        </p:nvSpPr>
        <p:spPr>
          <a:xfrm>
            <a:off x="457200" y="4629150"/>
            <a:ext cx="8229600" cy="205740"/>
          </a:xfrm>
        </p:spPr>
        <p:txBody>
          <a:bodyPr lIns="0" tIns="0" rIns="0" bIns="0" anchor="b">
            <a:noAutofit/>
          </a:bodyPr>
          <a:lstStyle>
            <a:lvl1pPr>
              <a:lnSpc>
                <a:spcPct val="85000"/>
              </a:lnSpc>
              <a:spcBef>
                <a:spcPts val="0"/>
              </a:spcBef>
              <a:buNone/>
              <a:defRPr sz="1000"/>
            </a:lvl1pPr>
            <a:lvl2pPr>
              <a:buNone/>
              <a:defRPr sz="1000"/>
            </a:lvl2pPr>
            <a:lvl3pPr>
              <a:buNone/>
              <a:defRPr sz="1000"/>
            </a:lvl3pPr>
            <a:lvl4pPr>
              <a:buNone/>
              <a:defRPr sz="1000"/>
            </a:lvl4pPr>
            <a:lvl5pPr>
              <a:buNone/>
              <a:defRPr sz="1000"/>
            </a:lvl5pPr>
          </a:lstStyle>
          <a:p>
            <a:pPr lvl="0"/>
            <a:r>
              <a:rPr lang="en-US" dirty="0" smtClean="0"/>
              <a:t>Click to edit Master text styles</a:t>
            </a:r>
          </a:p>
        </p:txBody>
      </p:sp>
      <p:sp>
        <p:nvSpPr>
          <p:cNvPr id="9" name="Date Placeholder 6"/>
          <p:cNvSpPr>
            <a:spLocks noGrp="1"/>
          </p:cNvSpPr>
          <p:nvPr>
            <p:ph type="dt" sz="half" idx="14"/>
          </p:nvPr>
        </p:nvSpPr>
        <p:spPr/>
        <p:txBody>
          <a:bodyPr/>
          <a:lstStyle>
            <a:lvl1pPr>
              <a:defRPr smtClean="0"/>
            </a:lvl1pPr>
          </a:lstStyle>
          <a:p>
            <a:pPr>
              <a:defRPr/>
            </a:pPr>
            <a:fld id="{43DCFB04-0964-42AA-A433-42B25B53BC42}" type="datetime1">
              <a:rPr lang="en-US"/>
              <a:pPr>
                <a:defRPr/>
              </a:pPr>
              <a:t>1/20/2018</a:t>
            </a:fld>
            <a:endParaRPr lang="en-US" dirty="0"/>
          </a:p>
        </p:txBody>
      </p:sp>
      <p:sp>
        <p:nvSpPr>
          <p:cNvPr id="10" name="Footer Placeholder 7"/>
          <p:cNvSpPr>
            <a:spLocks noGrp="1"/>
          </p:cNvSpPr>
          <p:nvPr>
            <p:ph type="ftr" sz="quarter" idx="15"/>
          </p:nvPr>
        </p:nvSpPr>
        <p:spPr/>
        <p:txBody>
          <a:bodyPr/>
          <a:lstStyle>
            <a:lvl1pPr>
              <a:defRPr dirty="0" smtClean="0"/>
            </a:lvl1pPr>
          </a:lstStyle>
          <a:p>
            <a:pPr>
              <a:defRPr/>
            </a:pPr>
            <a:endParaRPr lang="en-US"/>
          </a:p>
        </p:txBody>
      </p:sp>
      <p:sp>
        <p:nvSpPr>
          <p:cNvPr id="11" name="Slide Number Placeholder 11"/>
          <p:cNvSpPr>
            <a:spLocks noGrp="1"/>
          </p:cNvSpPr>
          <p:nvPr>
            <p:ph type="sldNum" sz="quarter" idx="16"/>
          </p:nvPr>
        </p:nvSpPr>
        <p:spPr/>
        <p:txBody>
          <a:bodyPr lIns="0" tIns="0" rIns="0" bIns="0"/>
          <a:lstStyle>
            <a:lvl1pPr>
              <a:defRPr sz="1000"/>
            </a:lvl1pPr>
          </a:lstStyle>
          <a:p>
            <a:fld id="{85FEA2A5-F58C-420E-8CD8-2DB0462599B3}" type="slidenum">
              <a:rPr lang="en-US" altLang="cs-CZ"/>
              <a:pPr/>
              <a:t>‹#›</a:t>
            </a:fld>
            <a:r>
              <a:rPr lang="en-US" altLang="cs-CZ" sz="1200"/>
              <a:t>         </a:t>
            </a:r>
          </a:p>
        </p:txBody>
      </p:sp>
    </p:spTree>
    <p:extLst>
      <p:ext uri="{BB962C8B-B14F-4D97-AF65-F5344CB8AC3E}">
        <p14:creationId xmlns:p14="http://schemas.microsoft.com/office/powerpoint/2010/main" val="328573170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23850" y="0"/>
            <a:ext cx="8229600" cy="85725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7200" y="1200151"/>
            <a:ext cx="8229600" cy="3394472"/>
          </a:xfrm>
        </p:spPr>
        <p:txBody>
          <a:bodyPr/>
          <a:lstStyle/>
          <a:p>
            <a:pPr lvl="0"/>
            <a:endParaRPr lang="en-GB" noProof="0" smtClean="0"/>
          </a:p>
        </p:txBody>
      </p:sp>
    </p:spTree>
    <p:extLst>
      <p:ext uri="{BB962C8B-B14F-4D97-AF65-F5344CB8AC3E}">
        <p14:creationId xmlns:p14="http://schemas.microsoft.com/office/powerpoint/2010/main" val="123138096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685800" y="1597820"/>
            <a:ext cx="7772400" cy="1102519"/>
          </a:xfrm>
        </p:spPr>
        <p:txBody>
          <a:bodyPr/>
          <a:lstStyle/>
          <a:p>
            <a:r>
              <a:rPr lang="cs-CZ" smtClean="0"/>
              <a:t>Kliknutím lze upravit styl.</a:t>
            </a:r>
            <a:endParaRPr lang="cs-CZ"/>
          </a:p>
        </p:txBody>
      </p:sp>
      <p:sp>
        <p:nvSpPr>
          <p:cNvPr id="3" name="Podnadpis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cs-CZ" smtClean="0"/>
              <a:t>Kliknutím lze upravit styl předlohy.</a:t>
            </a:r>
            <a:endParaRPr lang="cs-CZ"/>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95730E7-AC95-4AD6-B2C4-5737054F3B00}"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68867992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Zástupný symbol pro obsah 2"/>
          <p:cNvSpPr>
            <a:spLocks noGrp="1"/>
          </p:cNvSpPr>
          <p:nvPr>
            <p:ph idx="1"/>
          </p:nvPr>
        </p:nvSpPr>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C59A594-017E-4D56-9449-A7BEDACED142}"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07991232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722313" y="3305176"/>
            <a:ext cx="7772400" cy="1021556"/>
          </a:xfrm>
        </p:spPr>
        <p:txBody>
          <a:bodyPr anchor="t"/>
          <a:lstStyle>
            <a:lvl1pPr algn="l">
              <a:defRPr sz="4000" b="1" cap="all"/>
            </a:lvl1pPr>
          </a:lstStyle>
          <a:p>
            <a:r>
              <a:rPr lang="cs-CZ" smtClean="0"/>
              <a:t>Kliknutím lze upravit styl.</a:t>
            </a:r>
            <a:endParaRPr lang="cs-CZ"/>
          </a:p>
        </p:txBody>
      </p:sp>
      <p:sp>
        <p:nvSpPr>
          <p:cNvPr id="3" name="Zástupný symbol pro text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smtClean="0"/>
              <a:t>Kliknutím lze upravit styly předlohy textu.</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F204B6D-8144-4F42-82B9-D43EFB7DD05A}"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13150647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Zástupný symbol pro obsah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F1717A3-CE4F-4B58-A5AC-1BD8753A12B5}"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00248143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cs-CZ" smtClean="0"/>
              <a:t>Kliknutím lze upravit styl.</a:t>
            </a:r>
            <a:endParaRPr lang="cs-CZ"/>
          </a:p>
        </p:txBody>
      </p:sp>
      <p:sp>
        <p:nvSpPr>
          <p:cNvPr id="3" name="Zástupný symbol pro text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Kliknutím lze upravit styly předlohy textu.</a:t>
            </a:r>
          </a:p>
        </p:txBody>
      </p:sp>
      <p:sp>
        <p:nvSpPr>
          <p:cNvPr id="4" name="Zástupný symbol pro obsah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Zástupný symbol pro text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Kliknutím lze upravit styly předlohy textu.</a:t>
            </a:r>
          </a:p>
        </p:txBody>
      </p:sp>
      <p:sp>
        <p:nvSpPr>
          <p:cNvPr id="6" name="Zástupný symbol pro obsah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7"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735E4E89-F7D0-4609-A2C6-9F49DA739EF1}"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88743790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4C9FC0F-0A87-40EB-81FC-294CF29CF137}"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40241460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34CF8F48-4A72-48C0-9631-E3FCA0762383}"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57795455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457202" y="204787"/>
            <a:ext cx="3008313" cy="871538"/>
          </a:xfrm>
        </p:spPr>
        <p:txBody>
          <a:bodyPr anchor="b"/>
          <a:lstStyle>
            <a:lvl1pPr algn="l">
              <a:defRPr sz="2000" b="1"/>
            </a:lvl1pPr>
          </a:lstStyle>
          <a:p>
            <a:r>
              <a:rPr lang="cs-CZ" smtClean="0"/>
              <a:t>Kliknutím lze upravit styl.</a:t>
            </a:r>
            <a:endParaRPr lang="cs-CZ"/>
          </a:p>
        </p:txBody>
      </p:sp>
      <p:sp>
        <p:nvSpPr>
          <p:cNvPr id="3" name="Zástupný symbol pro obsah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text 3"/>
          <p:cNvSpPr>
            <a:spLocks noGrp="1"/>
          </p:cNvSpPr>
          <p:nvPr>
            <p:ph type="body" sz="half" idx="2"/>
          </p:nvPr>
        </p:nvSpPr>
        <p:spPr>
          <a:xfrm>
            <a:off x="457202"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DF1DBC1-FCE9-4F1E-8E89-9E54A20D57F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7687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0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noAutofit/>
          </a:bodyPr>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3622642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1792288" y="3600451"/>
            <a:ext cx="5486400" cy="425054"/>
          </a:xfrm>
        </p:spPr>
        <p:txBody>
          <a:bodyPr anchor="b"/>
          <a:lstStyle>
            <a:lvl1pPr algn="l">
              <a:defRPr sz="2000" b="1"/>
            </a:lvl1pPr>
          </a:lstStyle>
          <a:p>
            <a:r>
              <a:rPr lang="cs-CZ" smtClean="0"/>
              <a:t>Kliknutím lze upravit styl.</a:t>
            </a:r>
            <a:endParaRPr lang="cs-CZ"/>
          </a:p>
        </p:txBody>
      </p:sp>
      <p:sp>
        <p:nvSpPr>
          <p:cNvPr id="3" name="Zástupný symbol pro obrázek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smtClean="0"/>
          </a:p>
        </p:txBody>
      </p:sp>
      <p:sp>
        <p:nvSpPr>
          <p:cNvPr id="4" name="Zástupný symbol pro text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EC24BBF-95BC-4979-B9F6-1C7A4D7FB0A6}"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63084726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Zástupný symbol pro svislý text 2"/>
          <p:cNvSpPr>
            <a:spLocks noGrp="1"/>
          </p:cNvSpPr>
          <p:nvPr>
            <p:ph type="body" orient="vert" idx="1"/>
          </p:nvPr>
        </p:nvSpPr>
        <p:spPr/>
        <p:txBody>
          <a:bodyPr vert="eaVert"/>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82B6731-E73F-4CA4-9C0D-E3BDE95445B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66993571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6629400" y="205979"/>
            <a:ext cx="2057400" cy="4388644"/>
          </a:xfrm>
        </p:spPr>
        <p:txBody>
          <a:bodyPr vert="eaVert"/>
          <a:lstStyle/>
          <a:p>
            <a:r>
              <a:rPr lang="cs-CZ" smtClean="0"/>
              <a:t>Kliknutím lze upravit styl.</a:t>
            </a:r>
            <a:endParaRPr lang="cs-CZ"/>
          </a:p>
        </p:txBody>
      </p:sp>
      <p:sp>
        <p:nvSpPr>
          <p:cNvPr id="3" name="Zástupný symbol pro svislý text 2"/>
          <p:cNvSpPr>
            <a:spLocks noGrp="1"/>
          </p:cNvSpPr>
          <p:nvPr>
            <p:ph type="body" orient="vert" idx="1"/>
          </p:nvPr>
        </p:nvSpPr>
        <p:spPr>
          <a:xfrm>
            <a:off x="457200" y="205979"/>
            <a:ext cx="6019800" cy="4388644"/>
          </a:xfrm>
        </p:spPr>
        <p:txBody>
          <a:bodyPr vert="eaVert"/>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B3C0F44-E305-45A6-8A7E-9D007CAB09D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1169520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bl" preserve="1">
  <p:cSld name="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457200" y="205978"/>
            <a:ext cx="8229600" cy="857250"/>
          </a:xfrm>
        </p:spPr>
        <p:txBody>
          <a:bodyPr/>
          <a:lstStyle/>
          <a:p>
            <a:r>
              <a:rPr lang="cs-CZ" smtClean="0"/>
              <a:t>Kliknutím lze upravit styl.</a:t>
            </a:r>
            <a:endParaRPr lang="cs-CZ"/>
          </a:p>
        </p:txBody>
      </p:sp>
      <p:sp>
        <p:nvSpPr>
          <p:cNvPr id="3" name="Zástupný symbol pro tabulku 2"/>
          <p:cNvSpPr>
            <a:spLocks noGrp="1"/>
          </p:cNvSpPr>
          <p:nvPr>
            <p:ph type="tbl" idx="1"/>
          </p:nvPr>
        </p:nvSpPr>
        <p:spPr>
          <a:xfrm>
            <a:off x="457200" y="1200151"/>
            <a:ext cx="8229600" cy="3394472"/>
          </a:xfrm>
        </p:spPr>
        <p:txBody>
          <a:bodyPr/>
          <a:lstStyle/>
          <a:p>
            <a:pPr lvl="0"/>
            <a:endParaRPr lang="cs-CZ"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410A03-FC27-48C9-9483-0B0567516439}"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409641160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AndTwoObj" preserve="1">
  <p:cSld name="Nadpis, 1 velký a 2 malé obsahy">
    <p:spTree>
      <p:nvGrpSpPr>
        <p:cNvPr id="1" name=""/>
        <p:cNvGrpSpPr/>
        <p:nvPr/>
      </p:nvGrpSpPr>
      <p:grpSpPr>
        <a:xfrm>
          <a:off x="0" y="0"/>
          <a:ext cx="0" cy="0"/>
          <a:chOff x="0" y="0"/>
          <a:chExt cx="0" cy="0"/>
        </a:xfrm>
      </p:grpSpPr>
      <p:sp>
        <p:nvSpPr>
          <p:cNvPr id="2" name="Nadpis 1"/>
          <p:cNvSpPr>
            <a:spLocks noGrp="1"/>
          </p:cNvSpPr>
          <p:nvPr>
            <p:ph type="title"/>
          </p:nvPr>
        </p:nvSpPr>
        <p:spPr>
          <a:xfrm>
            <a:off x="457200" y="205978"/>
            <a:ext cx="8229600" cy="857250"/>
          </a:xfrm>
        </p:spPr>
        <p:txBody>
          <a:bodyPr/>
          <a:lstStyle/>
          <a:p>
            <a:r>
              <a:rPr lang="cs-CZ" smtClean="0"/>
              <a:t>Kliknutím lze upravit styl.</a:t>
            </a:r>
            <a:endParaRPr lang="cs-CZ"/>
          </a:p>
        </p:txBody>
      </p:sp>
      <p:sp>
        <p:nvSpPr>
          <p:cNvPr id="3" name="Zástupný symbol pro obsah 2"/>
          <p:cNvSpPr>
            <a:spLocks noGrp="1"/>
          </p:cNvSpPr>
          <p:nvPr>
            <p:ph sz="half" idx="1"/>
          </p:nvPr>
        </p:nvSpPr>
        <p:spPr>
          <a:xfrm>
            <a:off x="457200" y="1200151"/>
            <a:ext cx="4038600" cy="3394472"/>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quarter" idx="2"/>
          </p:nvPr>
        </p:nvSpPr>
        <p:spPr>
          <a:xfrm>
            <a:off x="4648200" y="1200151"/>
            <a:ext cx="4038600" cy="1639491"/>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Zástupný symbol pro obsah 4"/>
          <p:cNvSpPr>
            <a:spLocks noGrp="1"/>
          </p:cNvSpPr>
          <p:nvPr>
            <p:ph sz="quarter" idx="3"/>
          </p:nvPr>
        </p:nvSpPr>
        <p:spPr>
          <a:xfrm>
            <a:off x="4648200" y="2953943"/>
            <a:ext cx="4038600" cy="1640681"/>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6"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53B5604-B28C-4E76-BCC6-97449C08BBB1}"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1511970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1"/>
          <p:cNvSpPr>
            <a:spLocks noGrp="1"/>
          </p:cNvSpPr>
          <p:nvPr>
            <p:ph type="title"/>
          </p:nvPr>
        </p:nvSpPr>
        <p:spPr>
          <a:xfrm>
            <a:off x="571500" y="0"/>
            <a:ext cx="8229600" cy="899556"/>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08713344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0"/>
          </p:nvPr>
        </p:nvSpPr>
        <p:spPr/>
        <p:txBody>
          <a:bodyPr/>
          <a:lstStyle>
            <a:lvl1pPr>
              <a:defRPr/>
            </a:lvl1pPr>
          </a:lstStyle>
          <a:p>
            <a:pPr>
              <a:defRPr/>
            </a:pPr>
            <a:fld id="{82775C9F-5975-424C-8FBD-DAE04EDFABC7}" type="slidenum">
              <a:rPr lang="en-GB">
                <a:solidFill>
                  <a:srgbClr val="000000"/>
                </a:solidFill>
              </a:rPr>
              <a:pPr>
                <a:defRPr/>
              </a:pPr>
              <a:t>‹#›</a:t>
            </a:fld>
            <a:endParaRPr lang="en-GB">
              <a:solidFill>
                <a:srgbClr val="000000"/>
              </a:solidFill>
            </a:endParaRPr>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solidFill>
                  <a:srgbClr val="000000"/>
                </a:solidFill>
              </a:rPr>
              <a:t>Presentation title</a:t>
            </a:r>
          </a:p>
        </p:txBody>
      </p:sp>
      <p:sp>
        <p:nvSpPr>
          <p:cNvPr id="7"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solidFill>
                  <a:srgbClr val="000000"/>
                </a:solidFill>
              </a:rPr>
              <a:t>Date</a:t>
            </a:r>
          </a:p>
        </p:txBody>
      </p:sp>
    </p:spTree>
    <p:extLst>
      <p:ext uri="{BB962C8B-B14F-4D97-AF65-F5344CB8AC3E}">
        <p14:creationId xmlns:p14="http://schemas.microsoft.com/office/powerpoint/2010/main" val="1524854833"/>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noAutofit/>
          </a:bodyPr>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1378343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4172983"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327" eaLnBrk="1" hangingPunct="1">
              <a:spcBef>
                <a:spcPct val="0"/>
              </a:spcBef>
              <a:defRPr sz="600" b="0">
                <a:solidFill>
                  <a:schemeClr val="accent3"/>
                </a:solidFill>
              </a:defRPr>
            </a:lvl1pPr>
          </a:lstStyle>
          <a:p>
            <a:pPr fontAlgn="base">
              <a:spcAft>
                <a:spcPct val="0"/>
              </a:spcAft>
              <a:defRPr/>
            </a:pPr>
            <a:r>
              <a:rPr lang="en-GB" dirty="0">
                <a:solidFill>
                  <a:srgbClr val="82786F"/>
                </a:solidFill>
                <a:cs typeface="Arial" pitchFamily="34" charset="0"/>
              </a:rPr>
              <a:t>Presentation title</a:t>
            </a:r>
          </a:p>
        </p:txBody>
      </p:sp>
      <p:sp>
        <p:nvSpPr>
          <p:cNvPr id="8"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327" eaLnBrk="1" hangingPunct="1">
              <a:spcBef>
                <a:spcPct val="0"/>
              </a:spcBef>
              <a:defRPr sz="600" b="0">
                <a:solidFill>
                  <a:schemeClr val="accent3"/>
                </a:solidFill>
              </a:defRPr>
            </a:lvl1pPr>
          </a:lstStyle>
          <a:p>
            <a:pPr fontAlgn="base">
              <a:spcAft>
                <a:spcPct val="0"/>
              </a:spcAft>
              <a:defRPr/>
            </a:pPr>
            <a:r>
              <a:rPr lang="en-US">
                <a:solidFill>
                  <a:srgbClr val="82786F"/>
                </a:solidFill>
                <a:cs typeface="Arial" pitchFamily="34" charset="0"/>
              </a:rPr>
              <a:t>Date</a:t>
            </a:r>
            <a:endParaRPr lang="en-GB" dirty="0">
              <a:solidFill>
                <a:srgbClr val="82786F"/>
              </a:solidFill>
              <a:cs typeface="Arial" pitchFamily="34" charset="0"/>
            </a:endParaRPr>
          </a:p>
        </p:txBody>
      </p:sp>
      <p:sp>
        <p:nvSpPr>
          <p:cNvPr id="9"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294" eaLnBrk="1" hangingPunct="1">
              <a:defRPr sz="600" b="0" smtClean="0">
                <a:solidFill>
                  <a:schemeClr val="accent3"/>
                </a:solidFill>
              </a:defRPr>
            </a:lvl1pPr>
          </a:lstStyle>
          <a:p>
            <a:pPr fontAlgn="base">
              <a:spcBef>
                <a:spcPct val="0"/>
              </a:spcBef>
              <a:spcAft>
                <a:spcPct val="0"/>
              </a:spcAft>
              <a:defRPr/>
            </a:pPr>
            <a:fld id="{4B01E8EF-57E8-4F85-90EB-163CEE512F88}" type="slidenum">
              <a:rPr lang="en-GB">
                <a:solidFill>
                  <a:srgbClr val="82786F"/>
                </a:solidFill>
                <a:cs typeface="Arial" pitchFamily="34" charset="0"/>
              </a:rPr>
              <a:pPr fontAlgn="base">
                <a:spcBef>
                  <a:spcPct val="0"/>
                </a:spcBef>
                <a:spcAft>
                  <a:spcPct val="0"/>
                </a:spcAft>
                <a:defRPr/>
              </a:pPr>
              <a:t>‹#›</a:t>
            </a:fld>
            <a:endParaRPr lang="en-GB" dirty="0">
              <a:solidFill>
                <a:srgbClr val="82786F"/>
              </a:solidFill>
              <a:cs typeface="Arial" pitchFamily="34" charset="0"/>
            </a:endParaRPr>
          </a:p>
        </p:txBody>
      </p:sp>
      <p:sp>
        <p:nvSpPr>
          <p:cNvPr id="10" name="Text Placeholder 2"/>
          <p:cNvSpPr>
            <a:spLocks noGrp="1"/>
          </p:cNvSpPr>
          <p:nvPr>
            <p:ph type="body" sz="quarter" idx="10" hasCustomPrompt="1"/>
          </p:nvPr>
        </p:nvSpPr>
        <p:spPr>
          <a:xfrm>
            <a:off x="368300" y="4772236"/>
            <a:ext cx="8457500" cy="292100"/>
          </a:xfrm>
        </p:spPr>
        <p:txBody>
          <a:bodyPr anchor="b" anchorCtr="0">
            <a:noAutofit/>
          </a:bodyPr>
          <a:lstStyle>
            <a:lvl1pPr marL="0" indent="0">
              <a:buNone/>
              <a:defRPr sz="800">
                <a:solidFill>
                  <a:srgbClr val="82786F"/>
                </a:solidFill>
              </a:defRPr>
            </a:lvl1pPr>
            <a:lvl2pPr marL="264950" indent="0">
              <a:buNone/>
              <a:defRPr sz="800">
                <a:solidFill>
                  <a:srgbClr val="82786F"/>
                </a:solidFill>
              </a:defRPr>
            </a:lvl2pPr>
            <a:lvl3pPr marL="536210" indent="0">
              <a:buNone/>
              <a:defRPr sz="800">
                <a:solidFill>
                  <a:srgbClr val="82786F"/>
                </a:solidFill>
              </a:defRPr>
            </a:lvl3pPr>
            <a:lvl4pPr marL="807498" indent="0">
              <a:buNone/>
              <a:defRPr sz="800">
                <a:solidFill>
                  <a:srgbClr val="82786F"/>
                </a:solidFill>
              </a:defRPr>
            </a:lvl4pPr>
            <a:lvl5pPr marL="1072421" indent="0">
              <a:buNone/>
              <a:defRPr sz="800">
                <a:solidFill>
                  <a:srgbClr val="82786F"/>
                </a:solidFill>
              </a:defRPr>
            </a:lvl5pPr>
          </a:lstStyle>
          <a:p>
            <a:pPr lvl="0"/>
            <a:r>
              <a:rPr lang="en-US" dirty="0"/>
              <a:t>Click to insert text</a:t>
            </a:r>
          </a:p>
        </p:txBody>
      </p:sp>
    </p:spTree>
    <p:extLst>
      <p:ext uri="{BB962C8B-B14F-4D97-AF65-F5344CB8AC3E}">
        <p14:creationId xmlns:p14="http://schemas.microsoft.com/office/powerpoint/2010/main" val="1323921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3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noAutofit/>
          </a:bodyPr>
          <a:lstStyle>
            <a:lvl1pPr>
              <a:defRPr sz="2200"/>
            </a:lvl1pPr>
          </a:lstStyle>
          <a:p>
            <a:r>
              <a:rPr lang="en-US" noProof="0"/>
              <a:t>Click to edit Master title style</a:t>
            </a:r>
            <a:endParaRPr lang="en-GB" noProof="0" dirty="0"/>
          </a:p>
        </p:txBody>
      </p:sp>
    </p:spTree>
    <p:extLst>
      <p:ext uri="{BB962C8B-B14F-4D97-AF65-F5344CB8AC3E}">
        <p14:creationId xmlns:p14="http://schemas.microsoft.com/office/powerpoint/2010/main" val="1086196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385925"/>
            <a:ext cx="8510400" cy="128640"/>
          </a:xfrm>
          <a:extLst>
            <a:ext uri="{909E8E84-426E-40DD-AFC4-6F175D3DCCD1}">
              <a14:hiddenFill xmlns:a14="http://schemas.microsoft.com/office/drawing/2010/main">
                <a:solidFill>
                  <a:schemeClr val="accent1"/>
                </a:solidFill>
              </a14:hiddenFill>
            </a:ext>
          </a:extLst>
        </p:spPr>
        <p:txBody>
          <a:bodyPr wrap="none" lIns="13499" anchor="ctr" anchorCtr="0">
            <a:noAutofit/>
          </a:bodyPr>
          <a:lstStyle>
            <a:lvl1pPr marL="0" indent="0" algn="l">
              <a:buFontTx/>
              <a:buNone/>
              <a:defRPr sz="1100" baseline="0"/>
            </a:lvl1pPr>
          </a:lstStyle>
          <a:p>
            <a:pPr lvl="0"/>
            <a:r>
              <a:rPr lang="en-GB" noProof="0" dirty="0"/>
              <a:t>Insert </a:t>
            </a:r>
            <a:r>
              <a:rPr lang="en-GB" noProof="0" dirty="0" err="1"/>
              <a:t>trompet</a:t>
            </a:r>
            <a:endParaRPr lang="en-GB" noProof="0" dirty="0"/>
          </a:p>
        </p:txBody>
      </p:sp>
      <p:sp>
        <p:nvSpPr>
          <p:cNvPr id="10"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5"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6"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859012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906834"/>
            <a:ext cx="8510400" cy="199726"/>
          </a:xfrm>
          <a:extLst>
            <a:ext uri="{909E8E84-426E-40DD-AFC4-6F175D3DCCD1}">
              <a14:hiddenFill xmlns:a14="http://schemas.microsoft.com/office/drawing/2010/main">
                <a:solidFill>
                  <a:schemeClr val="accent1"/>
                </a:solidFill>
              </a14:hiddenFill>
            </a:ext>
          </a:extLst>
        </p:spPr>
        <p:txBody>
          <a:bodyPr wrap="none" lIns="13499" anchor="ctr" anchorCtr="0"/>
          <a:lstStyle>
            <a:lvl1pPr marL="0" indent="0" algn="l">
              <a:buFontTx/>
              <a:buNone/>
              <a:defRPr sz="1100" baseline="0"/>
            </a:lvl1pPr>
          </a:lstStyle>
          <a:p>
            <a:pPr lvl="0"/>
            <a:r>
              <a:rPr lang="en-GB" noProof="0" dirty="0"/>
              <a:t>Insert subtitle</a:t>
            </a:r>
          </a:p>
        </p:txBody>
      </p:sp>
      <p:sp>
        <p:nvSpPr>
          <p:cNvPr id="13"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5"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6"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433505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1_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910"/>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922" y="3025464"/>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4142529587"/>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25" y="515463"/>
            <a:ext cx="6692499" cy="3754955"/>
          </a:xfrm>
        </p:spPr>
        <p:txBody>
          <a:bodyPr tIns="43163" anchor="t"/>
          <a:lstStyle>
            <a:lvl1pPr>
              <a:lnSpc>
                <a:spcPct val="90000"/>
              </a:lnSpc>
              <a:defRPr sz="6000" spc="-150"/>
            </a:lvl1pPr>
          </a:lstStyle>
          <a:p>
            <a:r>
              <a:rPr lang="en-US" noProof="0"/>
              <a:t>Click to edit Master title style</a:t>
            </a:r>
            <a:endParaRPr lang="en-GB" noProof="0" dirty="0"/>
          </a:p>
        </p:txBody>
      </p:sp>
      <p:sp>
        <p:nvSpPr>
          <p:cNvPr id="9"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0"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1"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4900035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7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1"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3"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1496606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24" name="Content Placeholder 2"/>
          <p:cNvSpPr>
            <a:spLocks noGrp="1"/>
          </p:cNvSpPr>
          <p:nvPr>
            <p:ph idx="1"/>
          </p:nvPr>
        </p:nvSpPr>
        <p:spPr>
          <a:xfrm>
            <a:off x="316800" y="1312272"/>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
          <p:cNvSpPr>
            <a:spLocks noGrp="1"/>
          </p:cNvSpPr>
          <p:nvPr>
            <p:ph idx="25"/>
          </p:nvPr>
        </p:nvSpPr>
        <p:spPr>
          <a:xfrm>
            <a:off x="316800" y="2873517"/>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3"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27753031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27" name="Content Placeholder 2"/>
          <p:cNvSpPr>
            <a:spLocks noGrp="1"/>
          </p:cNvSpPr>
          <p:nvPr>
            <p:ph idx="1"/>
          </p:nvPr>
        </p:nvSpPr>
        <p:spPr>
          <a:xfrm>
            <a:off x="316801"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
          <p:cNvSpPr>
            <a:spLocks noGrp="1"/>
          </p:cNvSpPr>
          <p:nvPr>
            <p:ph idx="10"/>
          </p:nvPr>
        </p:nvSpPr>
        <p:spPr>
          <a:xfrm>
            <a:off x="3260377"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Content Placeholder 2"/>
          <p:cNvSpPr>
            <a:spLocks noGrp="1"/>
          </p:cNvSpPr>
          <p:nvPr>
            <p:ph idx="11"/>
          </p:nvPr>
        </p:nvSpPr>
        <p:spPr>
          <a:xfrm>
            <a:off x="620395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20"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21"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995646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37" name="Content Placeholder 2"/>
          <p:cNvSpPr>
            <a:spLocks noGrp="1"/>
          </p:cNvSpPr>
          <p:nvPr>
            <p:ph idx="1"/>
          </p:nvPr>
        </p:nvSpPr>
        <p:spPr>
          <a:xfrm>
            <a:off x="316837"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0"/>
          </p:nvPr>
        </p:nvSpPr>
        <p:spPr>
          <a:xfrm>
            <a:off x="2521887"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1"/>
          </p:nvPr>
        </p:nvSpPr>
        <p:spPr>
          <a:xfrm>
            <a:off x="4726892"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0" name="Content Placeholder 2"/>
          <p:cNvSpPr>
            <a:spLocks noGrp="1"/>
          </p:cNvSpPr>
          <p:nvPr>
            <p:ph idx="12"/>
          </p:nvPr>
        </p:nvSpPr>
        <p:spPr>
          <a:xfrm>
            <a:off x="6939011"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5"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6"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456892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8"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9"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
        <p:nvSpPr>
          <p:cNvPr id="10" name="Content Placeholder 2"/>
          <p:cNvSpPr>
            <a:spLocks noGrp="1"/>
          </p:cNvSpPr>
          <p:nvPr>
            <p:ph idx="10"/>
          </p:nvPr>
        </p:nvSpPr>
        <p:spPr>
          <a:xfrm>
            <a:off x="4730400" y="1312272"/>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p:cNvSpPr>
          <p:nvPr>
            <p:ph idx="26"/>
          </p:nvPr>
        </p:nvSpPr>
        <p:spPr>
          <a:xfrm>
            <a:off x="316801" y="1312272"/>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p:cNvSpPr>
          <p:nvPr>
            <p:ph idx="27"/>
          </p:nvPr>
        </p:nvSpPr>
        <p:spPr>
          <a:xfrm>
            <a:off x="4729512" y="2873532"/>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p:cNvSpPr>
          <p:nvPr>
            <p:ph idx="28"/>
          </p:nvPr>
        </p:nvSpPr>
        <p:spPr>
          <a:xfrm>
            <a:off x="315913" y="2873532"/>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33423195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 placeholders horizontal">
    <p:spTree>
      <p:nvGrpSpPr>
        <p:cNvPr id="1" name=""/>
        <p:cNvGrpSpPr/>
        <p:nvPr/>
      </p:nvGrpSpPr>
      <p:grpSpPr>
        <a:xfrm>
          <a:off x="0" y="0"/>
          <a:ext cx="0" cy="0"/>
          <a:chOff x="0" y="0"/>
          <a:chExt cx="0" cy="0"/>
        </a:xfrm>
      </p:grpSpPr>
      <p:sp>
        <p:nvSpPr>
          <p:cNvPr id="21"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33" name="Content Placeholder 2"/>
          <p:cNvSpPr>
            <a:spLocks noGrp="1"/>
          </p:cNvSpPr>
          <p:nvPr>
            <p:ph idx="1"/>
          </p:nvPr>
        </p:nvSpPr>
        <p:spPr>
          <a:xfrm>
            <a:off x="316801" y="1312272"/>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4" name="Content Placeholder 2"/>
          <p:cNvSpPr>
            <a:spLocks noGrp="1"/>
          </p:cNvSpPr>
          <p:nvPr>
            <p:ph idx="10"/>
          </p:nvPr>
        </p:nvSpPr>
        <p:spPr>
          <a:xfrm>
            <a:off x="3260377" y="1312272"/>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5" name="Content Placeholder 2"/>
          <p:cNvSpPr>
            <a:spLocks noGrp="1"/>
          </p:cNvSpPr>
          <p:nvPr>
            <p:ph idx="11"/>
          </p:nvPr>
        </p:nvSpPr>
        <p:spPr>
          <a:xfrm>
            <a:off x="6203950" y="1312272"/>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2"/>
          </p:nvPr>
        </p:nvSpPr>
        <p:spPr>
          <a:xfrm>
            <a:off x="316801" y="2873532"/>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3"/>
          </p:nvPr>
        </p:nvSpPr>
        <p:spPr>
          <a:xfrm>
            <a:off x="3260377" y="2873532"/>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4"/>
          </p:nvPr>
        </p:nvSpPr>
        <p:spPr>
          <a:xfrm>
            <a:off x="6203950" y="2873532"/>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10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6"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7"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345183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1"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a:defRPr/>
            </a:pPr>
            <a:endParaRPr lang="en-GB" dirty="0">
              <a:solidFill>
                <a:srgbClr val="FFFFFF"/>
              </a:solidFill>
            </a:endParaRPr>
          </a:p>
        </p:txBody>
      </p:sp>
      <p:sp>
        <p:nvSpPr>
          <p:cNvPr id="12"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a:defRPr/>
            </a:pPr>
            <a:endParaRPr lang="en-GB" dirty="0">
              <a:solidFill>
                <a:srgbClr val="FFFFF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bg1"/>
                </a:solidFill>
              </a:defRPr>
            </a:lvl1pPr>
          </a:lstStyle>
          <a:p>
            <a:pPr>
              <a:defRPr/>
            </a:pPr>
            <a:fld id="{4B01E8EF-57E8-4F85-90EB-163CEE512F8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8431977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2648932"/>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8" name="Content Placeholder 2"/>
          <p:cNvSpPr>
            <a:spLocks noGrp="1"/>
          </p:cNvSpPr>
          <p:nvPr>
            <p:ph idx="25"/>
          </p:nvPr>
        </p:nvSpPr>
        <p:spPr>
          <a:xfrm>
            <a:off x="316800" y="2873517"/>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a:defRPr/>
            </a:pPr>
            <a:endParaRPr lang="en-GB" dirty="0">
              <a:solidFill>
                <a:srgbClr val="FFFFFF"/>
              </a:solidFill>
            </a:endParaRPr>
          </a:p>
        </p:txBody>
      </p:sp>
      <p:sp>
        <p:nvSpPr>
          <p:cNvPr id="14"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a:defRPr/>
            </a:pPr>
            <a:endParaRPr lang="en-GB" dirty="0">
              <a:solidFill>
                <a:srgbClr val="FFFFFF"/>
              </a:solidFill>
            </a:endParaRPr>
          </a:p>
        </p:txBody>
      </p:sp>
      <p:sp>
        <p:nvSpPr>
          <p:cNvPr id="15"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bg1"/>
                </a:solidFill>
              </a:defRPr>
            </a:lvl1pPr>
          </a:lstStyle>
          <a:p>
            <a:pPr>
              <a:defRPr/>
            </a:pPr>
            <a:fld id="{4B01E8EF-57E8-4F85-90EB-163CEE512F8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61737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312225"/>
            <a:ext cx="9144000" cy="2955788"/>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11"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2"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312181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006533"/>
            <a:ext cx="8510400" cy="3261515"/>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 name="Text Placeholder 2"/>
          <p:cNvSpPr>
            <a:spLocks noGrp="1"/>
          </p:cNvSpPr>
          <p:nvPr>
            <p:ph type="body" sz="quarter" idx="10" hasCustomPrompt="1"/>
          </p:nvPr>
        </p:nvSpPr>
        <p:spPr>
          <a:xfrm>
            <a:off x="316801" y="4213924"/>
            <a:ext cx="8509700" cy="770826"/>
          </a:xfrm>
        </p:spPr>
        <p:txBody>
          <a:bodyPr anchor="b"/>
          <a:lstStyle>
            <a:lvl1pPr marL="0" marR="0" indent="0" algn="l" defTabSz="91377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515905524"/>
      </p:ext>
    </p:extLst>
  </p:cSld>
  <p:clrMapOvr>
    <a:masterClrMapping/>
  </p:clrMapOvr>
  <p:transition/>
  <p:extLst mod="1">
    <p:ext uri="{DCECCB84-F9BA-43D5-87BE-67443E8EF086}">
      <p15:sldGuideLst xmlns:p15="http://schemas.microsoft.com/office/powerpoint/2012/main" xmlns="">
        <p15:guide id="1" pos="288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456639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4873506" y="515422"/>
            <a:ext cx="3953755" cy="391412"/>
          </a:xfrm>
        </p:spPr>
        <p:txBody>
          <a:bodyPr anchor="ctr" anchorCtr="0"/>
          <a:lstStyle>
            <a:lvl1pPr>
              <a:defRPr sz="2400"/>
            </a:lvl1pPr>
          </a:lstStyle>
          <a:p>
            <a:r>
              <a:rPr lang="en-US" noProof="0"/>
              <a:t>Click to edit Master title style</a:t>
            </a:r>
            <a:endParaRPr lang="en-GB" noProof="0" dirty="0"/>
          </a:p>
        </p:txBody>
      </p:sp>
      <p:sp>
        <p:nvSpPr>
          <p:cNvPr id="14" name="Content Placeholder 2"/>
          <p:cNvSpPr>
            <a:spLocks noGrp="1"/>
          </p:cNvSpPr>
          <p:nvPr>
            <p:ph idx="11"/>
          </p:nvPr>
        </p:nvSpPr>
        <p:spPr>
          <a:xfrm>
            <a:off x="4873506" y="1312223"/>
            <a:ext cx="3953755"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4873446" y="103909"/>
            <a:ext cx="2199874"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3"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6"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466896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mage large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316800" y="1312225"/>
            <a:ext cx="8510400" cy="2955788"/>
          </a:xfrm>
          <a:prstGeom prst="roundRect">
            <a:avLst>
              <a:gd name="adj" fmla="val 4683"/>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1"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12"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3"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6892072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4731411" y="1312225"/>
            <a:ext cx="4093768" cy="2955788"/>
          </a:xfrm>
          <a:prstGeom prst="roundRect">
            <a:avLst>
              <a:gd name="adj" fmla="val 392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2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4"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5"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1669525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mage 1/3 rounded">
    <p:spTree>
      <p:nvGrpSpPr>
        <p:cNvPr id="1" name=""/>
        <p:cNvGrpSpPr/>
        <p:nvPr/>
      </p:nvGrpSpPr>
      <p:grpSpPr>
        <a:xfrm>
          <a:off x="0" y="0"/>
          <a:ext cx="0" cy="0"/>
          <a:chOff x="0" y="0"/>
          <a:chExt cx="0" cy="0"/>
        </a:xfrm>
      </p:grpSpPr>
      <p:sp>
        <p:nvSpPr>
          <p:cNvPr id="12" name="Content Placeholder 2"/>
          <p:cNvSpPr>
            <a:spLocks noGrp="1"/>
          </p:cNvSpPr>
          <p:nvPr>
            <p:ph idx="18"/>
          </p:nvPr>
        </p:nvSpPr>
        <p:spPr>
          <a:xfrm>
            <a:off x="318822" y="1312223"/>
            <a:ext cx="556463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8"/>
          <p:cNvSpPr>
            <a:spLocks noGrp="1"/>
          </p:cNvSpPr>
          <p:nvPr>
            <p:ph type="pic" sz="quarter" idx="14"/>
          </p:nvPr>
        </p:nvSpPr>
        <p:spPr>
          <a:xfrm>
            <a:off x="6202311" y="1312225"/>
            <a:ext cx="2624927" cy="2955788"/>
          </a:xfrm>
          <a:prstGeom prst="roundRect">
            <a:avLst>
              <a:gd name="adj" fmla="val 408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1"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13"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4"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5"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23698801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Image 1/4 rounded">
    <p:spTree>
      <p:nvGrpSpPr>
        <p:cNvPr id="1" name=""/>
        <p:cNvGrpSpPr/>
        <p:nvPr/>
      </p:nvGrpSpPr>
      <p:grpSpPr>
        <a:xfrm>
          <a:off x="0" y="0"/>
          <a:ext cx="0" cy="0"/>
          <a:chOff x="0" y="0"/>
          <a:chExt cx="0" cy="0"/>
        </a:xfrm>
      </p:grpSpPr>
      <p:sp>
        <p:nvSpPr>
          <p:cNvPr id="12" name="Picture Placeholder 8"/>
          <p:cNvSpPr>
            <a:spLocks noGrp="1"/>
          </p:cNvSpPr>
          <p:nvPr>
            <p:ph type="pic" sz="quarter" idx="27"/>
          </p:nvPr>
        </p:nvSpPr>
        <p:spPr>
          <a:xfrm>
            <a:off x="6937200" y="1312225"/>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4" name="Content Placeholder 2"/>
          <p:cNvSpPr>
            <a:spLocks noGrp="1"/>
          </p:cNvSpPr>
          <p:nvPr>
            <p:ph idx="18"/>
          </p:nvPr>
        </p:nvSpPr>
        <p:spPr>
          <a:xfrm>
            <a:off x="318856" y="1312223"/>
            <a:ext cx="6308887"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13"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5"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6"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33405015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318848" y="1312223"/>
            <a:ext cx="409965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312225"/>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2"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3"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3578504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4 images rounded">
    <p:spTree>
      <p:nvGrpSpPr>
        <p:cNvPr id="1" name=""/>
        <p:cNvGrpSpPr/>
        <p:nvPr/>
      </p:nvGrpSpPr>
      <p:grpSpPr>
        <a:xfrm>
          <a:off x="0" y="0"/>
          <a:ext cx="0" cy="0"/>
          <a:chOff x="0" y="0"/>
          <a:chExt cx="0" cy="0"/>
        </a:xfrm>
      </p:grpSpPr>
      <p:sp>
        <p:nvSpPr>
          <p:cNvPr id="15"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312225"/>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1" name="Picture Placeholder 8"/>
          <p:cNvSpPr>
            <a:spLocks noGrp="1"/>
          </p:cNvSpPr>
          <p:nvPr>
            <p:ph type="pic" sz="quarter" idx="29"/>
          </p:nvPr>
        </p:nvSpPr>
        <p:spPr>
          <a:xfrm>
            <a:off x="2521837"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2" name="Picture Placeholder 8"/>
          <p:cNvSpPr>
            <a:spLocks noGrp="1"/>
          </p:cNvSpPr>
          <p:nvPr>
            <p:ph type="pic" sz="quarter" idx="30"/>
          </p:nvPr>
        </p:nvSpPr>
        <p:spPr>
          <a:xfrm>
            <a:off x="316800"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3"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4"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6"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4416825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6:9 video">
    <p:spTree>
      <p:nvGrpSpPr>
        <p:cNvPr id="1" name=""/>
        <p:cNvGrpSpPr/>
        <p:nvPr/>
      </p:nvGrpSpPr>
      <p:grpSpPr>
        <a:xfrm>
          <a:off x="0" y="0"/>
          <a:ext cx="0" cy="0"/>
          <a:chOff x="0" y="0"/>
          <a:chExt cx="0" cy="0"/>
        </a:xfrm>
      </p:grpSpPr>
      <p:sp>
        <p:nvSpPr>
          <p:cNvPr id="14" name="Content Placeholder 2"/>
          <p:cNvSpPr>
            <a:spLocks noGrp="1"/>
          </p:cNvSpPr>
          <p:nvPr>
            <p:ph idx="23"/>
          </p:nvPr>
        </p:nvSpPr>
        <p:spPr>
          <a:xfrm>
            <a:off x="318821" y="1312223"/>
            <a:ext cx="2923653"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Media Placeholder 8"/>
          <p:cNvSpPr>
            <a:spLocks noGrp="1"/>
          </p:cNvSpPr>
          <p:nvPr>
            <p:ph type="media" sz="quarter" idx="18" hasCustomPrompt="1"/>
          </p:nvPr>
        </p:nvSpPr>
        <p:spPr>
          <a:xfrm>
            <a:off x="3578125" y="1309928"/>
            <a:ext cx="5258820" cy="2958085"/>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a:t>Click to add media size 16/9</a:t>
            </a:r>
          </a:p>
        </p:txBody>
      </p:sp>
      <p:sp>
        <p:nvSpPr>
          <p:cNvPr id="16"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11"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2"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5"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2405514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4:3 video">
    <p:spTree>
      <p:nvGrpSpPr>
        <p:cNvPr id="1" name=""/>
        <p:cNvGrpSpPr/>
        <p:nvPr/>
      </p:nvGrpSpPr>
      <p:grpSpPr>
        <a:xfrm>
          <a:off x="0" y="0"/>
          <a:ext cx="0" cy="0"/>
          <a:chOff x="0" y="0"/>
          <a:chExt cx="0" cy="0"/>
        </a:xfrm>
      </p:grpSpPr>
      <p:sp>
        <p:nvSpPr>
          <p:cNvPr id="10" name="Media Placeholder 8"/>
          <p:cNvSpPr>
            <a:spLocks noGrp="1"/>
          </p:cNvSpPr>
          <p:nvPr>
            <p:ph type="media" sz="quarter" idx="15" hasCustomPrompt="1"/>
          </p:nvPr>
        </p:nvSpPr>
        <p:spPr>
          <a:xfrm>
            <a:off x="4891539" y="1309928"/>
            <a:ext cx="3945406" cy="2958085"/>
          </a:xfrm>
          <a:solidFill>
            <a:schemeClr val="accent6"/>
          </a:solidFill>
          <a:effectLst/>
        </p:spPr>
        <p:txBody>
          <a:bodyPr tIns="0" anchor="ctr" anchorCtr="0">
            <a:normAutofit/>
          </a:bodyPr>
          <a:lstStyle>
            <a:lvl1pPr marL="0" indent="0" algn="ctr">
              <a:buNone/>
              <a:defRPr sz="700" baseline="0">
                <a:solidFill>
                  <a:schemeClr val="bg1"/>
                </a:solidFill>
              </a:defRPr>
            </a:lvl1pPr>
          </a:lstStyle>
          <a:p>
            <a:r>
              <a:rPr lang="en-GB" noProof="0"/>
              <a:t>Click to add media size 4/3</a:t>
            </a:r>
          </a:p>
        </p:txBody>
      </p:sp>
      <p:sp>
        <p:nvSpPr>
          <p:cNvPr id="17" name="Content Placeholder 2"/>
          <p:cNvSpPr>
            <a:spLocks noGrp="1"/>
          </p:cNvSpPr>
          <p:nvPr>
            <p:ph idx="24"/>
          </p:nvPr>
        </p:nvSpPr>
        <p:spPr>
          <a:xfrm>
            <a:off x="318822" y="1312223"/>
            <a:ext cx="4251592"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
        <p:nvSpPr>
          <p:cNvPr id="12"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3"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3058834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hasCustomPrompt="1"/>
          </p:nvPr>
        </p:nvSpPr>
        <p:spPr>
          <a:xfrm>
            <a:off x="0" y="18"/>
            <a:ext cx="9144000" cy="5143499"/>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a:t>Click to add media size 16:9</a:t>
            </a:r>
          </a:p>
        </p:txBody>
      </p:sp>
      <p:sp>
        <p:nvSpPr>
          <p:cNvPr id="11"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a:defRPr/>
            </a:pPr>
            <a:endParaRPr lang="en-GB" dirty="0">
              <a:solidFill>
                <a:srgbClr val="FFFFFF"/>
              </a:solidFill>
            </a:endParaRPr>
          </a:p>
        </p:txBody>
      </p:sp>
      <p:sp>
        <p:nvSpPr>
          <p:cNvPr id="12"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a:defRPr/>
            </a:pPr>
            <a:endParaRPr lang="en-GB" dirty="0">
              <a:solidFill>
                <a:srgbClr val="FFFFF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bg1"/>
                </a:solidFill>
              </a:defRPr>
            </a:lvl1pPr>
          </a:lstStyle>
          <a:p>
            <a:pPr>
              <a:defRPr/>
            </a:pPr>
            <a:fld id="{4B01E8EF-57E8-4F85-90EB-163CEE512F8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0720772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Text Placeholder 2"/>
          <p:cNvSpPr>
            <a:spLocks noGrp="1"/>
          </p:cNvSpPr>
          <p:nvPr>
            <p:ph type="body" sz="quarter" idx="11"/>
          </p:nvPr>
        </p:nvSpPr>
        <p:spPr>
          <a:xfrm>
            <a:off x="316801" y="4250500"/>
            <a:ext cx="8509700" cy="734250"/>
          </a:xfrm>
        </p:spPr>
        <p:txBody>
          <a:bodyPr anchor="b"/>
          <a:lstStyle>
            <a:lvl1pPr marL="0" indent="0">
              <a:spcBef>
                <a:spcPts val="0"/>
              </a:spcBef>
              <a:spcAft>
                <a:spcPts val="0"/>
              </a:spcAft>
              <a:buNone/>
              <a:defRPr sz="10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861760948"/>
      </p:ext>
    </p:extLst>
  </p:cSld>
  <p:clrMapOvr>
    <a:masterClrMapping/>
  </p:clrMapOvr>
  <p:transition/>
  <p:extLst mod="1">
    <p:ext uri="{DCECCB84-F9BA-43D5-87BE-67443E8EF086}">
      <p15:sldGuideLst xmlns:p15="http://schemas.microsoft.com/office/powerpoint/2012/main" xmlns="">
        <p15:guide id="1" orient="horz" pos="1620">
          <p15:clr>
            <a:srgbClr val="FBAE40"/>
          </p15:clr>
        </p15:guide>
        <p15:guide id="2" pos="2880">
          <p15:clr>
            <a:srgbClr val="FBAE40"/>
          </p15:clr>
        </p15:guide>
        <p15:guide id="3" orient="horz" pos="31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8514822" y="105052"/>
            <a:ext cx="312378" cy="101600"/>
          </a:xfrm>
          <a:prstGeom prst="rect">
            <a:avLst/>
          </a:prstGeom>
        </p:spPr>
        <p:txBody>
          <a:bodyPr/>
          <a:lstStyle/>
          <a:p>
            <a:pPr defTabSz="685171">
              <a:defRPr/>
            </a:pPr>
            <a:fld id="{4B01E8EF-57E8-4F85-90EB-163CEE512F88}" type="slidenum">
              <a:rPr lang="en-GB" sz="1400">
                <a:solidFill>
                  <a:srgbClr val="82786F"/>
                </a:solidFill>
              </a:rPr>
              <a:pPr defTabSz="685171">
                <a:defRPr/>
              </a:pPr>
              <a:t>‹#›</a:t>
            </a:fld>
            <a:endParaRPr lang="en-GB" sz="1400" dirty="0">
              <a:solidFill>
                <a:srgbClr val="82786F"/>
              </a:solidFill>
            </a:endParaRPr>
          </a:p>
        </p:txBody>
      </p:sp>
      <p:sp>
        <p:nvSpPr>
          <p:cNvPr id="4" name="Footer Placeholder 3"/>
          <p:cNvSpPr>
            <a:spLocks noGrp="1"/>
          </p:cNvSpPr>
          <p:nvPr>
            <p:ph type="ftr" sz="quarter" idx="11"/>
          </p:nvPr>
        </p:nvSpPr>
        <p:spPr>
          <a:xfrm>
            <a:off x="4172995" y="103909"/>
            <a:ext cx="2900363" cy="101600"/>
          </a:xfrm>
          <a:prstGeom prst="rect">
            <a:avLst/>
          </a:prstGeom>
        </p:spPr>
        <p:txBody>
          <a:bodyPr/>
          <a:lstStyle/>
          <a:p>
            <a:pPr defTabSz="685171">
              <a:defRPr/>
            </a:pPr>
            <a:endParaRPr lang="en-GB" sz="1400" dirty="0">
              <a:solidFill>
                <a:srgbClr val="82786F"/>
              </a:solidFill>
            </a:endParaRPr>
          </a:p>
        </p:txBody>
      </p:sp>
      <p:sp>
        <p:nvSpPr>
          <p:cNvPr id="5" name="Date Placeholder 4"/>
          <p:cNvSpPr>
            <a:spLocks noGrp="1"/>
          </p:cNvSpPr>
          <p:nvPr>
            <p:ph type="dt" sz="half" idx="12"/>
          </p:nvPr>
        </p:nvSpPr>
        <p:spPr>
          <a:xfrm>
            <a:off x="7187154" y="103909"/>
            <a:ext cx="1201738" cy="101600"/>
          </a:xfrm>
          <a:prstGeom prst="rect">
            <a:avLst/>
          </a:prstGeom>
        </p:spPr>
        <p:txBody>
          <a:bodyPr/>
          <a:lstStyle/>
          <a:p>
            <a:pPr defTabSz="685171">
              <a:defRPr/>
            </a:pPr>
            <a:endParaRPr lang="en-GB" sz="1400" dirty="0">
              <a:solidFill>
                <a:srgbClr val="82786F"/>
              </a:solidFill>
            </a:endParaRPr>
          </a:p>
        </p:txBody>
      </p:sp>
    </p:spTree>
    <p:extLst>
      <p:ext uri="{BB962C8B-B14F-4D97-AF65-F5344CB8AC3E}">
        <p14:creationId xmlns:p14="http://schemas.microsoft.com/office/powerpoint/2010/main" val="3551167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514822" y="105052"/>
            <a:ext cx="312378" cy="101600"/>
          </a:xfrm>
          <a:prstGeom prst="rect">
            <a:avLst/>
          </a:prstGeom>
        </p:spPr>
        <p:txBody>
          <a:bodyPr/>
          <a:lstStyle/>
          <a:p>
            <a:pPr defTabSz="685171">
              <a:defRPr/>
            </a:pPr>
            <a:fld id="{4B01E8EF-57E8-4F85-90EB-163CEE512F88}" type="slidenum">
              <a:rPr lang="en-GB" sz="1400">
                <a:solidFill>
                  <a:srgbClr val="82786F"/>
                </a:solidFill>
              </a:rPr>
              <a:pPr defTabSz="685171">
                <a:defRPr/>
              </a:pPr>
              <a:t>‹#›</a:t>
            </a:fld>
            <a:endParaRPr lang="en-GB" sz="1400" dirty="0">
              <a:solidFill>
                <a:srgbClr val="82786F"/>
              </a:solidFill>
            </a:endParaRPr>
          </a:p>
        </p:txBody>
      </p:sp>
      <p:sp>
        <p:nvSpPr>
          <p:cNvPr id="4" name="Footer Placeholder 3"/>
          <p:cNvSpPr>
            <a:spLocks noGrp="1"/>
          </p:cNvSpPr>
          <p:nvPr>
            <p:ph type="ftr" sz="quarter" idx="11"/>
          </p:nvPr>
        </p:nvSpPr>
        <p:spPr>
          <a:xfrm>
            <a:off x="4172995" y="103909"/>
            <a:ext cx="2900363" cy="101600"/>
          </a:xfrm>
          <a:prstGeom prst="rect">
            <a:avLst/>
          </a:prstGeom>
        </p:spPr>
        <p:txBody>
          <a:bodyPr/>
          <a:lstStyle/>
          <a:p>
            <a:pPr defTabSz="685171">
              <a:defRPr/>
            </a:pPr>
            <a:endParaRPr lang="en-GB" sz="1400" dirty="0">
              <a:solidFill>
                <a:srgbClr val="82786F"/>
              </a:solidFill>
            </a:endParaRPr>
          </a:p>
        </p:txBody>
      </p:sp>
      <p:sp>
        <p:nvSpPr>
          <p:cNvPr id="5" name="Date Placeholder 4"/>
          <p:cNvSpPr>
            <a:spLocks noGrp="1"/>
          </p:cNvSpPr>
          <p:nvPr>
            <p:ph type="dt" sz="half" idx="12"/>
          </p:nvPr>
        </p:nvSpPr>
        <p:spPr>
          <a:xfrm>
            <a:off x="7187154" y="103909"/>
            <a:ext cx="1201738" cy="101600"/>
          </a:xfrm>
          <a:prstGeom prst="rect">
            <a:avLst/>
          </a:prstGeom>
        </p:spPr>
        <p:txBody>
          <a:bodyPr/>
          <a:lstStyle/>
          <a:p>
            <a:pPr defTabSz="685171">
              <a:defRPr/>
            </a:pPr>
            <a:endParaRPr lang="en-GB" sz="1400" dirty="0">
              <a:solidFill>
                <a:srgbClr val="82786F"/>
              </a:solidFill>
            </a:endParaRPr>
          </a:p>
        </p:txBody>
      </p:sp>
    </p:spTree>
    <p:extLst>
      <p:ext uri="{BB962C8B-B14F-4D97-AF65-F5344CB8AC3E}">
        <p14:creationId xmlns:p14="http://schemas.microsoft.com/office/powerpoint/2010/main" val="1372811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Margin guide">
    <p:spTree>
      <p:nvGrpSpPr>
        <p:cNvPr id="1" name=""/>
        <p:cNvGrpSpPr/>
        <p:nvPr/>
      </p:nvGrpSpPr>
      <p:grpSpPr>
        <a:xfrm>
          <a:off x="0" y="0"/>
          <a:ext cx="0" cy="0"/>
          <a:chOff x="0" y="0"/>
          <a:chExt cx="0" cy="0"/>
        </a:xfrm>
      </p:grpSpPr>
      <p:sp>
        <p:nvSpPr>
          <p:cNvPr id="10" name="Rectangle 9"/>
          <p:cNvSpPr/>
          <p:nvPr userDrawn="1"/>
        </p:nvSpPr>
        <p:spPr bwMode="auto">
          <a:xfrm>
            <a:off x="316800" y="309081"/>
            <a:ext cx="8510400" cy="3958973"/>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a:extLst/>
        </p:spPr>
        <p:txBody>
          <a:bodyPr vert="horz" wrap="none" lIns="71945" tIns="71945" rIns="71945" bIns="71945" numCol="1" rtlCol="0" anchor="ctr" anchorCtr="0" compatLnSpc="1">
            <a:prstTxWarp prst="textNoShape">
              <a:avLst/>
            </a:prstTxWarp>
          </a:bodyPr>
          <a:lstStyle/>
          <a:p>
            <a:pPr algn="ctr" defTabSz="1218059" fontAlgn="base">
              <a:spcBef>
                <a:spcPct val="50000"/>
              </a:spcBef>
              <a:spcAft>
                <a:spcPct val="0"/>
              </a:spcAft>
            </a:pPr>
            <a:endParaRPr lang="en-GB" sz="2400" b="1">
              <a:solidFill>
                <a:srgbClr val="001965"/>
              </a:solidFill>
            </a:endParaRPr>
          </a:p>
        </p:txBody>
      </p:sp>
      <p:sp>
        <p:nvSpPr>
          <p:cNvPr id="21" name="Title 6"/>
          <p:cNvSpPr txBox="1">
            <a:spLocks/>
          </p:cNvSpPr>
          <p:nvPr userDrawn="1"/>
        </p:nvSpPr>
        <p:spPr bwMode="auto">
          <a:xfrm>
            <a:off x="318823" y="577310"/>
            <a:ext cx="8518124" cy="391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r>
              <a:rPr lang="en-GB" dirty="0"/>
              <a:t>Title</a:t>
            </a:r>
          </a:p>
        </p:txBody>
      </p:sp>
      <p:sp>
        <p:nvSpPr>
          <p:cNvPr id="15" name="TextBox 14"/>
          <p:cNvSpPr txBox="1"/>
          <p:nvPr userDrawn="1"/>
        </p:nvSpPr>
        <p:spPr>
          <a:xfrm>
            <a:off x="2748811" y="2524540"/>
            <a:ext cx="3633374" cy="276924"/>
          </a:xfrm>
          <a:prstGeom prst="rect">
            <a:avLst/>
          </a:prstGeom>
          <a:noFill/>
        </p:spPr>
        <p:txBody>
          <a:bodyPr wrap="square" lIns="91366" tIns="45683" rIns="91366" bIns="45683" rtlCol="0">
            <a:spAutoFit/>
          </a:bodyPr>
          <a:lstStyle/>
          <a:p>
            <a:pPr algn="ctr" defTabSz="913545"/>
            <a:r>
              <a:rPr lang="en-GB" sz="1200" dirty="0">
                <a:solidFill>
                  <a:srgbClr val="E64A0E"/>
                </a:solidFill>
              </a:rPr>
              <a:t>Keep all content in this area</a:t>
            </a:r>
          </a:p>
        </p:txBody>
      </p:sp>
      <p:sp>
        <p:nvSpPr>
          <p:cNvPr id="28" name="TextBox 27"/>
          <p:cNvSpPr txBox="1"/>
          <p:nvPr userDrawn="1"/>
        </p:nvSpPr>
        <p:spPr>
          <a:xfrm>
            <a:off x="318822" y="1312233"/>
            <a:ext cx="8518125" cy="369257"/>
          </a:xfrm>
          <a:prstGeom prst="rect">
            <a:avLst/>
          </a:prstGeom>
          <a:noFill/>
        </p:spPr>
        <p:txBody>
          <a:bodyPr wrap="square" lIns="91366" tIns="45683" rIns="91366" bIns="45683" rtlCol="0">
            <a:spAutoFit/>
          </a:bodyPr>
          <a:lstStyle/>
          <a:p>
            <a:pPr defTabSz="913545"/>
            <a:endParaRPr lang="en-GB" sz="1800">
              <a:solidFill>
                <a:srgbClr val="001965"/>
              </a:solidFill>
            </a:endParaRPr>
          </a:p>
        </p:txBody>
      </p:sp>
      <p:sp>
        <p:nvSpPr>
          <p:cNvPr id="30" name="Rectangle 29"/>
          <p:cNvSpPr/>
          <p:nvPr userDrawn="1"/>
        </p:nvSpPr>
        <p:spPr bwMode="auto">
          <a:xfrm>
            <a:off x="316836" y="1312223"/>
            <a:ext cx="8510401" cy="2955789"/>
          </a:xfrm>
          <a:prstGeom prst="rect">
            <a:avLst/>
          </a:prstGeom>
          <a:noFill/>
          <a:ln w="3175" cap="flat" cmpd="sng" algn="ctr">
            <a:solidFill>
              <a:schemeClr val="accent5"/>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269645" indent="-269645" defTabSz="1218059" fontAlgn="base">
              <a:spcBef>
                <a:spcPct val="50000"/>
              </a:spcBef>
              <a:spcAft>
                <a:spcPct val="0"/>
              </a:spcAft>
              <a:buClr>
                <a:srgbClr val="009FDA"/>
              </a:buClr>
              <a:buFont typeface="Arial" pitchFamily="34" charset="0"/>
              <a:buChar char="•"/>
            </a:pPr>
            <a:r>
              <a:rPr lang="en-GB" sz="1800" dirty="0">
                <a:solidFill>
                  <a:srgbClr val="001965"/>
                </a:solidFill>
              </a:rPr>
              <a:t>Content area</a:t>
            </a:r>
          </a:p>
        </p:txBody>
      </p:sp>
      <p:sp>
        <p:nvSpPr>
          <p:cNvPr id="31" name="TextBox 30"/>
          <p:cNvSpPr txBox="1"/>
          <p:nvPr userDrawn="1"/>
        </p:nvSpPr>
        <p:spPr>
          <a:xfrm>
            <a:off x="316801" y="964462"/>
            <a:ext cx="4572008" cy="276924"/>
          </a:xfrm>
          <a:prstGeom prst="rect">
            <a:avLst/>
          </a:prstGeom>
          <a:noFill/>
        </p:spPr>
        <p:txBody>
          <a:bodyPr wrap="square" lIns="91366" tIns="45683" rIns="91366" bIns="45683" rtlCol="0">
            <a:spAutoFit/>
          </a:bodyPr>
          <a:lstStyle/>
          <a:p>
            <a:pPr defTabSz="913545"/>
            <a:r>
              <a:rPr lang="en-GB" sz="1200" dirty="0">
                <a:solidFill>
                  <a:srgbClr val="E64A0E"/>
                </a:solidFill>
              </a:rPr>
              <a:t>Keep all titles, </a:t>
            </a:r>
            <a:r>
              <a:rPr lang="en-GB" sz="1200" dirty="0" err="1">
                <a:solidFill>
                  <a:srgbClr val="E64A0E"/>
                </a:solidFill>
              </a:rPr>
              <a:t>trompets</a:t>
            </a:r>
            <a:r>
              <a:rPr lang="en-GB" sz="1200" dirty="0">
                <a:solidFill>
                  <a:srgbClr val="E64A0E"/>
                </a:solidFill>
              </a:rPr>
              <a:t> and subtitles in this area</a:t>
            </a:r>
          </a:p>
        </p:txBody>
      </p:sp>
      <p:sp>
        <p:nvSpPr>
          <p:cNvPr id="32" name="TextBox 31"/>
          <p:cNvSpPr txBox="1"/>
          <p:nvPr userDrawn="1"/>
        </p:nvSpPr>
        <p:spPr>
          <a:xfrm>
            <a:off x="4919814" y="329743"/>
            <a:ext cx="3909190" cy="276924"/>
          </a:xfrm>
          <a:prstGeom prst="rect">
            <a:avLst/>
          </a:prstGeom>
          <a:noFill/>
        </p:spPr>
        <p:txBody>
          <a:bodyPr wrap="square" lIns="91366" tIns="45683" rIns="91366" bIns="45683" rtlCol="0">
            <a:spAutoFit/>
          </a:bodyPr>
          <a:lstStyle/>
          <a:p>
            <a:pPr algn="r" defTabSz="913545"/>
            <a:r>
              <a:rPr lang="en-GB" sz="1200">
                <a:solidFill>
                  <a:srgbClr val="E64A0E"/>
                </a:solidFill>
              </a:rPr>
              <a:t>Never move Footer, Date and No placeholders</a:t>
            </a:r>
          </a:p>
        </p:txBody>
      </p:sp>
      <p:sp>
        <p:nvSpPr>
          <p:cNvPr id="16"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7"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18"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708223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Section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77"/>
            <a:ext cx="3542400" cy="1531543"/>
          </a:xfrm>
        </p:spPr>
        <p:txBody>
          <a:bodyPr anchor="b"/>
          <a:lstStyle>
            <a:lvl1pPr algn="r">
              <a:lnSpc>
                <a:spcPct val="85000"/>
              </a:lnSpc>
              <a:defRPr sz="32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5283889" y="3025464"/>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smtClean="0"/>
              <a:t>Click to edit Master subtitle style</a:t>
            </a:r>
            <a:endParaRPr lang="en-GB" noProof="0" dirty="0" smtClean="0"/>
          </a:p>
        </p:txBody>
      </p:sp>
    </p:spTree>
    <p:extLst>
      <p:ext uri="{BB962C8B-B14F-4D97-AF65-F5344CB8AC3E}">
        <p14:creationId xmlns:p14="http://schemas.microsoft.com/office/powerpoint/2010/main" val="650921911"/>
      </p:ext>
    </p:extLst>
  </p:cSld>
  <p:clrMapOvr>
    <a:masterClrMapping/>
  </p:clrMapOv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 Subtitle | Content | Foot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01298"/>
            <a:ext cx="8510400" cy="3073817"/>
          </a:xfrm>
        </p:spPr>
        <p:txBody>
          <a:bodyPr/>
          <a:lstStyle>
            <a:lvl1pPr>
              <a:spcBef>
                <a:spcPts val="450"/>
              </a:spcBef>
              <a:spcAft>
                <a:spcPts val="450"/>
              </a:spcAft>
              <a:buClr>
                <a:schemeClr val="accent1"/>
              </a:buClr>
              <a:defRPr sz="1800">
                <a:solidFill>
                  <a:schemeClr val="accent2"/>
                </a:solidFill>
              </a:defRPr>
            </a:lvl1pPr>
            <a:lvl2pPr>
              <a:spcBef>
                <a:spcPts val="450"/>
              </a:spcBef>
              <a:spcAft>
                <a:spcPts val="450"/>
              </a:spcAft>
              <a:buClr>
                <a:schemeClr val="tx2"/>
              </a:buClr>
              <a:defRPr sz="1600">
                <a:solidFill>
                  <a:schemeClr val="accent2"/>
                </a:solidFill>
              </a:defRPr>
            </a:lvl2pPr>
            <a:lvl3pPr>
              <a:spcBef>
                <a:spcPts val="450"/>
              </a:spcBef>
              <a:spcAft>
                <a:spcPts val="450"/>
              </a:spcAft>
              <a:buClr>
                <a:schemeClr val="accent5"/>
              </a:buClr>
              <a:defRPr sz="1400">
                <a:solidFill>
                  <a:schemeClr val="accent2"/>
                </a:solidFill>
              </a:defRPr>
            </a:lvl3pPr>
            <a:lvl4pPr>
              <a:spcBef>
                <a:spcPts val="450"/>
              </a:spcBef>
              <a:spcAft>
                <a:spcPts val="450"/>
              </a:spcAft>
              <a:buClr>
                <a:schemeClr val="accent3"/>
              </a:buClr>
              <a:defRPr sz="1200">
                <a:solidFill>
                  <a:schemeClr val="accent2"/>
                </a:solidFill>
              </a:defRPr>
            </a:lvl4pPr>
            <a:lvl5pPr>
              <a:spcBef>
                <a:spcPts val="450"/>
              </a:spcBef>
              <a:spcAft>
                <a:spcPts val="450"/>
              </a:spcAft>
              <a:buClr>
                <a:srgbClr val="001423"/>
              </a:buClr>
              <a:defRPr sz="1100">
                <a:solidFill>
                  <a:schemeClr val="accent2"/>
                </a:solidFill>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 Placeholder 2"/>
          <p:cNvSpPr>
            <a:spLocks noGrp="1"/>
          </p:cNvSpPr>
          <p:nvPr>
            <p:ph type="body" sz="quarter" idx="10" hasCustomPrompt="1"/>
          </p:nvPr>
        </p:nvSpPr>
        <p:spPr>
          <a:xfrm>
            <a:off x="316801" y="4269016"/>
            <a:ext cx="8509700" cy="770826"/>
          </a:xfrm>
        </p:spPr>
        <p:txBody>
          <a:bodyPr anchor="b"/>
          <a:lstStyle>
            <a:lvl1pPr marL="0" marR="0" indent="0" algn="l" defTabSz="914378" rtl="0" eaLnBrk="1" fontAlgn="base" latinLnBrk="0" hangingPunct="1">
              <a:lnSpc>
                <a:spcPct val="100000"/>
              </a:lnSpc>
              <a:spcBef>
                <a:spcPts val="0"/>
              </a:spcBef>
              <a:spcAft>
                <a:spcPts val="0"/>
              </a:spcAft>
              <a:buClr>
                <a:schemeClr val="accent1"/>
              </a:buClr>
              <a:buSzTx/>
              <a:buFont typeface="Verdana" pitchFamily="34" charset="0"/>
              <a:buNone/>
              <a:tabLst/>
              <a:defRPr sz="1000" baseline="0">
                <a:solidFill>
                  <a:srgbClr val="82786F"/>
                </a:solidFill>
              </a:defRPr>
            </a:lvl1pPr>
          </a:lstStyle>
          <a:p>
            <a:r>
              <a:rPr lang="en-GB" noProof="0" dirty="0" smtClean="0"/>
              <a:t>Footnotes</a:t>
            </a:r>
          </a:p>
          <a:p>
            <a:r>
              <a:rPr lang="en-GB" noProof="0" dirty="0" smtClean="0"/>
              <a:t>Reference</a:t>
            </a:r>
          </a:p>
        </p:txBody>
      </p:sp>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5" name="Text Placeholder 4"/>
          <p:cNvSpPr>
            <a:spLocks noGrp="1"/>
          </p:cNvSpPr>
          <p:nvPr>
            <p:ph type="body" sz="quarter" idx="11" hasCustomPrompt="1"/>
          </p:nvPr>
        </p:nvSpPr>
        <p:spPr>
          <a:xfrm>
            <a:off x="316707" y="856079"/>
            <a:ext cx="8509397" cy="222647"/>
          </a:xfrm>
        </p:spPr>
        <p:txBody>
          <a:bodyPr/>
          <a:lstStyle>
            <a:lvl1pPr marL="0" indent="0">
              <a:buNone/>
              <a:defRPr sz="2000" b="1">
                <a:solidFill>
                  <a:srgbClr val="009FDA"/>
                </a:solidFill>
              </a:defRPr>
            </a:lvl1pPr>
            <a:lvl2pPr marL="265105" indent="0">
              <a:buNone/>
              <a:defRPr sz="1050" b="1">
                <a:solidFill>
                  <a:srgbClr val="009FDA"/>
                </a:solidFill>
              </a:defRPr>
            </a:lvl2pPr>
            <a:lvl3pPr marL="536561" indent="0">
              <a:buNone/>
              <a:defRPr sz="1050" b="1">
                <a:solidFill>
                  <a:srgbClr val="009FDA"/>
                </a:solidFill>
              </a:defRPr>
            </a:lvl3pPr>
            <a:lvl4pPr marL="808018" indent="0">
              <a:buNone/>
              <a:defRPr sz="1050" b="1">
                <a:solidFill>
                  <a:srgbClr val="009FDA"/>
                </a:solidFill>
              </a:defRPr>
            </a:lvl4pPr>
            <a:lvl5pPr marL="1073123" indent="0">
              <a:buNone/>
              <a:defRPr sz="1050" b="1">
                <a:solidFill>
                  <a:srgbClr val="009FDA"/>
                </a:solidFill>
              </a:defRPr>
            </a:lvl5pPr>
          </a:lstStyle>
          <a:p>
            <a:pPr lvl="0"/>
            <a:r>
              <a:rPr lang="en-GB" noProof="0" dirty="0" smtClean="0"/>
              <a:t>Enter subtitle here in Verdana, NN light blue, 14 </a:t>
            </a:r>
            <a:r>
              <a:rPr lang="en-GB" noProof="0" dirty="0" err="1" smtClean="0"/>
              <a:t>pt</a:t>
            </a:r>
            <a:endParaRPr lang="en-GB" noProof="0" dirty="0"/>
          </a:p>
        </p:txBody>
      </p:sp>
    </p:spTree>
    <p:extLst>
      <p:ext uri="{BB962C8B-B14F-4D97-AF65-F5344CB8AC3E}">
        <p14:creationId xmlns:p14="http://schemas.microsoft.com/office/powerpoint/2010/main" val="66311822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xmlns="">
        <p15:guide id="1" orient="horz" pos="317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Footer only">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 name="Text Placeholder 2"/>
          <p:cNvSpPr>
            <a:spLocks noGrp="1"/>
          </p:cNvSpPr>
          <p:nvPr>
            <p:ph type="body" sz="quarter" idx="10" hasCustomPrompt="1"/>
          </p:nvPr>
        </p:nvSpPr>
        <p:spPr>
          <a:xfrm>
            <a:off x="316800" y="4213924"/>
            <a:ext cx="8509700" cy="770826"/>
          </a:xfrm>
        </p:spPr>
        <p:txBody>
          <a:bodyPr anchor="b"/>
          <a:lstStyle>
            <a:lvl1pPr marL="0" marR="0" indent="0" algn="l" defTabSz="914400" rtl="0" eaLnBrk="1" fontAlgn="base" latinLnBrk="0" hangingPunct="1">
              <a:lnSpc>
                <a:spcPct val="100000"/>
              </a:lnSpc>
              <a:spcBef>
                <a:spcPts val="0"/>
              </a:spcBef>
              <a:spcAft>
                <a:spcPts val="0"/>
              </a:spcAft>
              <a:buClr>
                <a:schemeClr val="accent1"/>
              </a:buClr>
              <a:buSzTx/>
              <a:buFont typeface="Verdana" pitchFamily="34" charset="0"/>
              <a:buNone/>
              <a:tabLst/>
              <a:defRPr sz="10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127926029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xmlns="">
        <p15:guide id="1" orient="horz" pos="3140">
          <p15:clr>
            <a:srgbClr val="FBAE40"/>
          </p15:clr>
        </p15:guide>
        <p15:guide id="2" pos="288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Text Placeholder 2"/>
          <p:cNvSpPr>
            <a:spLocks noGrp="1"/>
          </p:cNvSpPr>
          <p:nvPr>
            <p:ph type="body" sz="quarter" idx="11"/>
          </p:nvPr>
        </p:nvSpPr>
        <p:spPr>
          <a:xfrm>
            <a:off x="316800" y="42505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845436433"/>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xmlns="">
        <p15:guide id="1" orient="horz" pos="1620">
          <p15:clr>
            <a:srgbClr val="FBAE40"/>
          </p15:clr>
        </p15:guide>
        <p15:guide id="2" pos="2880">
          <p15:clr>
            <a:srgbClr val="FBAE40"/>
          </p15:clr>
        </p15:guide>
        <p15:guide id="3" orient="horz" pos="31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3954886375"/>
      </p:ext>
    </p:extLst>
  </p:cSld>
  <p:clrMapOvr>
    <a:masterClrMapping/>
  </p:clrMapOv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1" name="Rectangle 5"/>
          <p:cNvSpPr>
            <a:spLocks noGrp="1" noChangeArrowheads="1"/>
          </p:cNvSpPr>
          <p:nvPr>
            <p:ph type="ftr" sz="quarter" idx="3"/>
          </p:nvPr>
        </p:nvSpPr>
        <p:spPr bwMode="auto">
          <a:xfrm>
            <a:off x="4172957"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endParaRPr lang="en-GB" dirty="0">
              <a:solidFill>
                <a:srgbClr val="FFFFFF"/>
              </a:solidFill>
            </a:endParaRPr>
          </a:p>
        </p:txBody>
      </p:sp>
      <p:sp>
        <p:nvSpPr>
          <p:cNvPr id="12" name="Rectangle 81"/>
          <p:cNvSpPr>
            <a:spLocks noGrp="1" noChangeArrowheads="1"/>
          </p:cNvSpPr>
          <p:nvPr>
            <p:ph type="dt" sz="half" idx="2"/>
          </p:nvPr>
        </p:nvSpPr>
        <p:spPr bwMode="auto">
          <a:xfrm>
            <a:off x="7187153"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fld id="{9BF6C440-C4FD-4ED3-880A-4BFF85706406}" type="datetime1">
              <a:rPr lang="en-GB" smtClean="0">
                <a:solidFill>
                  <a:srgbClr val="FFFFFF"/>
                </a:solidFill>
              </a:rPr>
              <a:pPr>
                <a:defRPr/>
              </a:pPr>
              <a:t>20/01/2018</a:t>
            </a:fld>
            <a:endParaRPr lang="en-GB" dirty="0">
              <a:solidFill>
                <a:srgbClr val="FFFFF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33550595"/>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2648932"/>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8" name="Content Placeholder 2"/>
          <p:cNvSpPr>
            <a:spLocks noGrp="1"/>
          </p:cNvSpPr>
          <p:nvPr>
            <p:ph idx="25"/>
          </p:nvPr>
        </p:nvSpPr>
        <p:spPr>
          <a:xfrm>
            <a:off x="316800" y="2873498"/>
            <a:ext cx="8510400" cy="1396895"/>
          </a:xfrm>
        </p:spPr>
        <p:txBody>
          <a:bodyPr>
            <a:normAutofit/>
          </a:bodyPr>
          <a:lstStyle>
            <a:lvl1pPr>
              <a:buClr>
                <a:schemeClr val="accent1"/>
              </a:buClr>
              <a:defRPr sz="1600">
                <a:solidFill>
                  <a:schemeClr val="accent2"/>
                </a:solidFill>
              </a:defRPr>
            </a:lvl1pPr>
            <a:lvl2pPr>
              <a:buClr>
                <a:schemeClr val="tx2"/>
              </a:buClr>
              <a:defRPr sz="1400">
                <a:solidFill>
                  <a:schemeClr val="accent2"/>
                </a:solidFill>
              </a:defRPr>
            </a:lvl2pPr>
            <a:lvl3pPr>
              <a:buClr>
                <a:schemeClr val="accent5"/>
              </a:buClr>
              <a:defRPr sz="1200">
                <a:solidFill>
                  <a:schemeClr val="accent2"/>
                </a:solidFill>
              </a:defRPr>
            </a:lvl3pPr>
            <a:lvl4pPr>
              <a:buClr>
                <a:schemeClr val="accent3"/>
              </a:buClr>
              <a:defRPr sz="1100">
                <a:solidFill>
                  <a:schemeClr val="accent2"/>
                </a:solidFill>
              </a:defRPr>
            </a:lvl4pPr>
            <a:lvl5pPr>
              <a:buClr>
                <a:srgbClr val="001423"/>
              </a:buClr>
              <a:defRPr sz="1050">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Tree>
    <p:extLst>
      <p:ext uri="{BB962C8B-B14F-4D97-AF65-F5344CB8AC3E}">
        <p14:creationId xmlns:p14="http://schemas.microsoft.com/office/powerpoint/2010/main" val="1019816617"/>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6" name="Content Placeholder 2"/>
          <p:cNvSpPr>
            <a:spLocks noGrp="1"/>
          </p:cNvSpPr>
          <p:nvPr>
            <p:ph idx="1"/>
          </p:nvPr>
        </p:nvSpPr>
        <p:spPr>
          <a:xfrm>
            <a:off x="316803" y="1303562"/>
            <a:ext cx="2636908"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3131496" y="1303562"/>
            <a:ext cx="2636908"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Text Placeholder 2"/>
          <p:cNvSpPr>
            <a:spLocks noGrp="1"/>
          </p:cNvSpPr>
          <p:nvPr>
            <p:ph type="body" sz="quarter" idx="11"/>
          </p:nvPr>
        </p:nvSpPr>
        <p:spPr>
          <a:xfrm>
            <a:off x="316801" y="4250500"/>
            <a:ext cx="8509700" cy="734250"/>
          </a:xfrm>
        </p:spPr>
        <p:txBody>
          <a:bodyPr anchor="b"/>
          <a:lstStyle>
            <a:lvl1pPr marL="0" indent="0">
              <a:spcBef>
                <a:spcPts val="0"/>
              </a:spcBef>
              <a:spcAft>
                <a:spcPts val="0"/>
              </a:spcAft>
              <a:buNone/>
              <a:defRPr sz="1000">
                <a:solidFill>
                  <a:srgbClr val="82786F"/>
                </a:solidFill>
              </a:defRPr>
            </a:lvl1pPr>
          </a:lstStyle>
          <a:p>
            <a:pPr lvl="0"/>
            <a:r>
              <a:rPr lang="en-US" dirty="0"/>
              <a:t>Click to edit Master text styles</a:t>
            </a:r>
          </a:p>
        </p:txBody>
      </p:sp>
      <p:sp>
        <p:nvSpPr>
          <p:cNvPr id="6" name="Content Placeholder 2"/>
          <p:cNvSpPr>
            <a:spLocks noGrp="1"/>
          </p:cNvSpPr>
          <p:nvPr>
            <p:ph idx="12"/>
          </p:nvPr>
        </p:nvSpPr>
        <p:spPr>
          <a:xfrm>
            <a:off x="5946192" y="1303562"/>
            <a:ext cx="2636908"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Tree>
    <p:extLst>
      <p:ext uri="{BB962C8B-B14F-4D97-AF65-F5344CB8AC3E}">
        <p14:creationId xmlns:p14="http://schemas.microsoft.com/office/powerpoint/2010/main" val="1087015931"/>
      </p:ext>
    </p:extLst>
  </p:cSld>
  <p:clrMapOvr>
    <a:masterClrMapping/>
  </p:clrMapOvr>
  <p:transition/>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312225"/>
            <a:ext cx="9144000" cy="2955788"/>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3" name="Title 1"/>
          <p:cNvSpPr>
            <a:spLocks noGrp="1"/>
          </p:cNvSpPr>
          <p:nvPr>
            <p:ph type="title"/>
          </p:nvPr>
        </p:nvSpPr>
        <p:spPr>
          <a:xfrm>
            <a:off x="316800" y="515422"/>
            <a:ext cx="8510400" cy="391412"/>
          </a:xfrm>
        </p:spPr>
        <p:txBody>
          <a:bodyPr anchor="ctr" anchorCtr="0"/>
          <a:lstStyle>
            <a:lvl1pPr>
              <a:defRPr sz="2400"/>
            </a:lvl1pPr>
          </a:lstStyle>
          <a:p>
            <a:r>
              <a:rPr lang="en-US" noProof="0"/>
              <a:t>Click to edit Master title style</a:t>
            </a:r>
            <a:endParaRPr lang="en-GB" noProof="0" dirty="0"/>
          </a:p>
        </p:txBody>
      </p:sp>
    </p:spTree>
    <p:extLst>
      <p:ext uri="{BB962C8B-B14F-4D97-AF65-F5344CB8AC3E}">
        <p14:creationId xmlns:p14="http://schemas.microsoft.com/office/powerpoint/2010/main" val="37941738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456639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5" name="Title 1"/>
          <p:cNvSpPr>
            <a:spLocks noGrp="1"/>
          </p:cNvSpPr>
          <p:nvPr>
            <p:ph type="title"/>
          </p:nvPr>
        </p:nvSpPr>
        <p:spPr>
          <a:xfrm>
            <a:off x="4873447" y="515422"/>
            <a:ext cx="3953755" cy="391412"/>
          </a:xfrm>
        </p:spPr>
        <p:txBody>
          <a:bodyPr anchor="ctr" anchorCtr="0"/>
          <a:lstStyle>
            <a:lvl1pPr>
              <a:defRPr sz="2400"/>
            </a:lvl1pPr>
          </a:lstStyle>
          <a:p>
            <a:r>
              <a:rPr lang="en-US" noProof="0"/>
              <a:t>Click to edit Master title style</a:t>
            </a:r>
            <a:endParaRPr lang="en-GB" noProof="0" dirty="0"/>
          </a:p>
        </p:txBody>
      </p:sp>
      <p:sp>
        <p:nvSpPr>
          <p:cNvPr id="14" name="Content Placeholder 2"/>
          <p:cNvSpPr>
            <a:spLocks noGrp="1"/>
          </p:cNvSpPr>
          <p:nvPr>
            <p:ph idx="11"/>
          </p:nvPr>
        </p:nvSpPr>
        <p:spPr>
          <a:xfrm>
            <a:off x="4873447" y="1312223"/>
            <a:ext cx="3953755" cy="2955789"/>
          </a:xfrm>
        </p:spPr>
        <p:txBody>
          <a:bodyPr>
            <a:normAutofit/>
          </a:bodyPr>
          <a:lstStyle>
            <a:lvl1pPr>
              <a:buClr>
                <a:schemeClr val="accent1"/>
              </a:buClr>
              <a:defRPr sz="1600">
                <a:solidFill>
                  <a:schemeClr val="accent2"/>
                </a:solidFill>
              </a:defRPr>
            </a:lvl1pPr>
            <a:lvl2pPr>
              <a:buClr>
                <a:schemeClr val="tx2"/>
              </a:buClr>
              <a:defRPr sz="1400">
                <a:solidFill>
                  <a:schemeClr val="accent2"/>
                </a:solidFill>
              </a:defRPr>
            </a:lvl2pPr>
            <a:lvl3pPr>
              <a:buClr>
                <a:schemeClr val="accent5"/>
              </a:buClr>
              <a:defRPr sz="1200">
                <a:solidFill>
                  <a:schemeClr val="accent2"/>
                </a:solidFill>
              </a:defRPr>
            </a:lvl3pPr>
            <a:lvl4pPr>
              <a:buClr>
                <a:schemeClr val="accent3"/>
              </a:buClr>
              <a:defRPr sz="1100">
                <a:solidFill>
                  <a:schemeClr val="accent2"/>
                </a:solidFill>
              </a:defRPr>
            </a:lvl4pPr>
            <a:lvl5pPr>
              <a:buClr>
                <a:srgbClr val="001423"/>
              </a:buClr>
              <a:defRPr sz="1050">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Tree>
    <p:extLst>
      <p:ext uri="{BB962C8B-B14F-4D97-AF65-F5344CB8AC3E}">
        <p14:creationId xmlns:p14="http://schemas.microsoft.com/office/powerpoint/2010/main" val="1800315036"/>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hasCustomPrompt="1"/>
          </p:nvPr>
        </p:nvSpPr>
        <p:spPr>
          <a:xfrm>
            <a:off x="0" y="3"/>
            <a:ext cx="9144000" cy="5143499"/>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dirty="0"/>
              <a:t>Click to add media size 16:9</a:t>
            </a:r>
          </a:p>
        </p:txBody>
      </p:sp>
      <p:sp>
        <p:nvSpPr>
          <p:cNvPr id="11" name="Rectangle 5"/>
          <p:cNvSpPr>
            <a:spLocks noGrp="1" noChangeArrowheads="1"/>
          </p:cNvSpPr>
          <p:nvPr>
            <p:ph type="ftr" sz="quarter" idx="3"/>
          </p:nvPr>
        </p:nvSpPr>
        <p:spPr bwMode="auto">
          <a:xfrm>
            <a:off x="4172957"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endParaRPr lang="en-GB" dirty="0">
              <a:solidFill>
                <a:srgbClr val="FFFFFF"/>
              </a:solidFill>
            </a:endParaRPr>
          </a:p>
        </p:txBody>
      </p:sp>
      <p:sp>
        <p:nvSpPr>
          <p:cNvPr id="12" name="Rectangle 81"/>
          <p:cNvSpPr>
            <a:spLocks noGrp="1" noChangeArrowheads="1"/>
          </p:cNvSpPr>
          <p:nvPr>
            <p:ph type="dt" sz="half" idx="2"/>
          </p:nvPr>
        </p:nvSpPr>
        <p:spPr bwMode="auto">
          <a:xfrm>
            <a:off x="7187153"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fld id="{01A665E8-AE0D-4FA7-9727-18CDAB3294BE}" type="datetime1">
              <a:rPr lang="en-GB" smtClean="0">
                <a:solidFill>
                  <a:srgbClr val="FFFFFF"/>
                </a:solidFill>
              </a:rPr>
              <a:pPr>
                <a:defRPr/>
              </a:pPr>
              <a:t>20/01/2018</a:t>
            </a:fld>
            <a:endParaRPr lang="en-GB" dirty="0">
              <a:solidFill>
                <a:srgbClr val="FFFFFF"/>
              </a:solidFill>
            </a:endParaRPr>
          </a:p>
        </p:txBody>
      </p:sp>
      <p:sp>
        <p:nvSpPr>
          <p:cNvPr id="14"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93018343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Margin guide">
    <p:spTree>
      <p:nvGrpSpPr>
        <p:cNvPr id="1" name=""/>
        <p:cNvGrpSpPr/>
        <p:nvPr/>
      </p:nvGrpSpPr>
      <p:grpSpPr>
        <a:xfrm>
          <a:off x="0" y="0"/>
          <a:ext cx="0" cy="0"/>
          <a:chOff x="0" y="0"/>
          <a:chExt cx="0" cy="0"/>
        </a:xfrm>
      </p:grpSpPr>
      <p:sp>
        <p:nvSpPr>
          <p:cNvPr id="2" name="Rectangle 1"/>
          <p:cNvSpPr/>
          <p:nvPr userDrawn="1"/>
        </p:nvSpPr>
        <p:spPr bwMode="auto">
          <a:xfrm>
            <a:off x="317500" y="309564"/>
            <a:ext cx="8509000" cy="3959225"/>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a:extLst/>
        </p:spPr>
        <p:txBody>
          <a:bodyPr wrap="none" lIns="72000" tIns="72000" rIns="72000" bIns="72000" anchor="ctr"/>
          <a:lstStyle/>
          <a:p>
            <a:pPr algn="ctr" defTabSz="1219200" fontAlgn="base">
              <a:spcBef>
                <a:spcPct val="50000"/>
              </a:spcBef>
              <a:spcAft>
                <a:spcPct val="0"/>
              </a:spcAft>
              <a:defRPr/>
            </a:pPr>
            <a:endParaRPr lang="en-GB" sz="2400" b="1" dirty="0">
              <a:solidFill>
                <a:srgbClr val="001965"/>
              </a:solidFill>
              <a:cs typeface="Arial" charset="0"/>
            </a:endParaRPr>
          </a:p>
        </p:txBody>
      </p:sp>
      <p:sp>
        <p:nvSpPr>
          <p:cNvPr id="3" name="Title 6"/>
          <p:cNvSpPr txBox="1">
            <a:spLocks/>
          </p:cNvSpPr>
          <p:nvPr userDrawn="1"/>
        </p:nvSpPr>
        <p:spPr bwMode="auto">
          <a:xfrm>
            <a:off x="319089" y="577850"/>
            <a:ext cx="8518525"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pPr>
              <a:defRPr/>
            </a:pPr>
            <a:r>
              <a:rPr lang="en-GB" dirty="0"/>
              <a:t>Title</a:t>
            </a:r>
          </a:p>
        </p:txBody>
      </p:sp>
      <p:sp>
        <p:nvSpPr>
          <p:cNvPr id="4" name="TextBox 11"/>
          <p:cNvSpPr txBox="1">
            <a:spLocks noChangeArrowheads="1"/>
          </p:cNvSpPr>
          <p:nvPr userDrawn="1"/>
        </p:nvSpPr>
        <p:spPr bwMode="auto">
          <a:xfrm>
            <a:off x="2749550" y="2524144"/>
            <a:ext cx="36322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defTabSz="914400" fontAlgn="base">
              <a:spcBef>
                <a:spcPct val="0"/>
              </a:spcBef>
              <a:spcAft>
                <a:spcPct val="0"/>
              </a:spcAft>
            </a:pPr>
            <a:r>
              <a:rPr lang="en-GB" sz="1200" dirty="0">
                <a:solidFill>
                  <a:srgbClr val="E64A0E"/>
                </a:solidFill>
                <a:cs typeface="Arial" charset="0"/>
              </a:rPr>
              <a:t>Keep all content in this area</a:t>
            </a:r>
          </a:p>
        </p:txBody>
      </p:sp>
      <p:sp>
        <p:nvSpPr>
          <p:cNvPr id="5" name="TextBox 16"/>
          <p:cNvSpPr txBox="1">
            <a:spLocks noChangeArrowheads="1"/>
          </p:cNvSpPr>
          <p:nvPr userDrawn="1"/>
        </p:nvSpPr>
        <p:spPr bwMode="auto">
          <a:xfrm>
            <a:off x="319089" y="1312863"/>
            <a:ext cx="85185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914400" fontAlgn="base">
              <a:spcBef>
                <a:spcPct val="0"/>
              </a:spcBef>
              <a:spcAft>
                <a:spcPct val="0"/>
              </a:spcAft>
            </a:pPr>
            <a:endParaRPr lang="en-GB" sz="1800" dirty="0">
              <a:solidFill>
                <a:srgbClr val="001965"/>
              </a:solidFill>
              <a:cs typeface="Arial" charset="0"/>
            </a:endParaRPr>
          </a:p>
        </p:txBody>
      </p:sp>
      <p:sp>
        <p:nvSpPr>
          <p:cNvPr id="6" name="Rectangle 5"/>
          <p:cNvSpPr/>
          <p:nvPr userDrawn="1"/>
        </p:nvSpPr>
        <p:spPr bwMode="auto">
          <a:xfrm>
            <a:off x="317500" y="1312874"/>
            <a:ext cx="8509000" cy="2955925"/>
          </a:xfrm>
          <a:prstGeom prst="rect">
            <a:avLst/>
          </a:prstGeom>
          <a:noFill/>
          <a:ln w="3175" cap="flat" cmpd="sng" algn="ctr">
            <a:solidFill>
              <a:schemeClr val="accent5"/>
            </a:solidFill>
            <a:prstDash val="solid"/>
            <a:round/>
            <a:headEnd type="none" w="med" len="med"/>
            <a:tailEnd type="none" w="med" len="med"/>
          </a:ln>
          <a:effectLst/>
          <a:extLst/>
        </p:spPr>
        <p:txBody>
          <a:bodyPr wrap="none" lIns="0" tIns="0" rIns="0" bIns="0"/>
          <a:lstStyle/>
          <a:p>
            <a:pPr marL="269875" indent="-269875" defTabSz="1219200" fontAlgn="base">
              <a:spcBef>
                <a:spcPct val="50000"/>
              </a:spcBef>
              <a:spcAft>
                <a:spcPct val="0"/>
              </a:spcAft>
              <a:buClr>
                <a:srgbClr val="009FDA"/>
              </a:buClr>
              <a:buFont typeface="Arial" pitchFamily="34" charset="0"/>
              <a:buChar char="•"/>
              <a:defRPr/>
            </a:pPr>
            <a:r>
              <a:rPr lang="en-GB" sz="1800" dirty="0">
                <a:solidFill>
                  <a:srgbClr val="001965"/>
                </a:solidFill>
                <a:cs typeface="Arial" charset="0"/>
              </a:rPr>
              <a:t>Content area</a:t>
            </a:r>
          </a:p>
        </p:txBody>
      </p:sp>
      <p:sp>
        <p:nvSpPr>
          <p:cNvPr id="7" name="TextBox 18"/>
          <p:cNvSpPr txBox="1">
            <a:spLocks noChangeArrowheads="1"/>
          </p:cNvSpPr>
          <p:nvPr userDrawn="1"/>
        </p:nvSpPr>
        <p:spPr bwMode="auto">
          <a:xfrm>
            <a:off x="317500" y="965219"/>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914400" fontAlgn="base">
              <a:spcBef>
                <a:spcPct val="0"/>
              </a:spcBef>
              <a:spcAft>
                <a:spcPct val="0"/>
              </a:spcAft>
            </a:pPr>
            <a:r>
              <a:rPr lang="en-GB" sz="1200" dirty="0">
                <a:solidFill>
                  <a:srgbClr val="E64A0E"/>
                </a:solidFill>
                <a:cs typeface="Arial" charset="0"/>
              </a:rPr>
              <a:t>Keep all titles, trompets and subtitles in this area</a:t>
            </a:r>
          </a:p>
        </p:txBody>
      </p:sp>
      <p:sp>
        <p:nvSpPr>
          <p:cNvPr id="8" name="TextBox 19"/>
          <p:cNvSpPr txBox="1">
            <a:spLocks noChangeArrowheads="1"/>
          </p:cNvSpPr>
          <p:nvPr userDrawn="1"/>
        </p:nvSpPr>
        <p:spPr bwMode="auto">
          <a:xfrm>
            <a:off x="4919663" y="330219"/>
            <a:ext cx="39100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defTabSz="914400" fontAlgn="base">
              <a:spcBef>
                <a:spcPct val="0"/>
              </a:spcBef>
              <a:spcAft>
                <a:spcPct val="0"/>
              </a:spcAft>
            </a:pPr>
            <a:r>
              <a:rPr lang="en-GB" sz="1200" dirty="0">
                <a:solidFill>
                  <a:srgbClr val="E64A0E"/>
                </a:solidFill>
                <a:cs typeface="Arial" charset="0"/>
              </a:rPr>
              <a:t>Never move Footer, Date and No placeholders</a:t>
            </a:r>
          </a:p>
        </p:txBody>
      </p:sp>
      <p:sp>
        <p:nvSpPr>
          <p:cNvPr id="9" name="Rectangle 5"/>
          <p:cNvSpPr>
            <a:spLocks noGrp="1" noChangeArrowheads="1"/>
          </p:cNvSpPr>
          <p:nvPr>
            <p:ph type="ftr" sz="quarter" idx="10"/>
          </p:nvPr>
        </p:nvSpPr>
        <p:spPr>
          <a:xfrm>
            <a:off x="4173538" y="103189"/>
            <a:ext cx="2900362" cy="101600"/>
          </a:xfrm>
          <a:prstGeom prst="rect">
            <a:avLst/>
          </a:prstGeom>
        </p:spPr>
        <p:txBody>
          <a:bodyPr/>
          <a:lstStyle>
            <a:lvl1pPr algn="r" defTabSz="878921" eaLnBrk="1" hangingPunct="1">
              <a:spcBef>
                <a:spcPct val="0"/>
              </a:spcBef>
              <a:defRPr sz="600" b="0" dirty="0" smtClean="0">
                <a:solidFill>
                  <a:schemeClr val="accent3"/>
                </a:solidFill>
              </a:defRPr>
            </a:lvl1pPr>
          </a:lstStyle>
          <a:p>
            <a:pPr>
              <a:defRPr/>
            </a:pPr>
            <a:endParaRPr lang="en-GB">
              <a:solidFill>
                <a:srgbClr val="82786F"/>
              </a:solidFill>
            </a:endParaRPr>
          </a:p>
        </p:txBody>
      </p:sp>
      <p:sp>
        <p:nvSpPr>
          <p:cNvPr id="10" name="Rectangle 81"/>
          <p:cNvSpPr>
            <a:spLocks noGrp="1" noChangeArrowheads="1"/>
          </p:cNvSpPr>
          <p:nvPr>
            <p:ph type="dt" sz="half" idx="11"/>
          </p:nvPr>
        </p:nvSpPr>
        <p:spPr>
          <a:xfrm>
            <a:off x="7186635" y="103189"/>
            <a:ext cx="1201737" cy="101600"/>
          </a:xfrm>
          <a:prstGeom prst="rect">
            <a:avLst/>
          </a:prstGeom>
        </p:spPr>
        <p:txBody>
          <a:bodyPr/>
          <a:lstStyle>
            <a:lvl1pPr algn="r" defTabSz="878921" eaLnBrk="1" hangingPunct="1">
              <a:spcBef>
                <a:spcPct val="0"/>
              </a:spcBef>
              <a:defRPr sz="600" b="0" smtClean="0">
                <a:solidFill>
                  <a:schemeClr val="accent3"/>
                </a:solidFill>
              </a:defRPr>
            </a:lvl1pPr>
          </a:lstStyle>
          <a:p>
            <a:pPr>
              <a:defRPr/>
            </a:pPr>
            <a:fld id="{3B7C159F-A7FF-48F9-99FB-50650DA92281}" type="datetime1">
              <a:rPr lang="en-GB">
                <a:solidFill>
                  <a:srgbClr val="82786F"/>
                </a:solidFill>
              </a:rPr>
              <a:pPr>
                <a:defRPr/>
              </a:pPr>
              <a:t>20/01/2018</a:t>
            </a:fld>
            <a:endParaRPr lang="en-GB" dirty="0">
              <a:solidFill>
                <a:srgbClr val="82786F"/>
              </a:solidFill>
            </a:endParaRPr>
          </a:p>
        </p:txBody>
      </p:sp>
      <p:sp>
        <p:nvSpPr>
          <p:cNvPr id="11" name="Slide Number Placeholder 23"/>
          <p:cNvSpPr>
            <a:spLocks noGrp="1" noChangeArrowheads="1"/>
          </p:cNvSpPr>
          <p:nvPr>
            <p:ph type="sldNum" sz="quarter" idx="12"/>
          </p:nvPr>
        </p:nvSpPr>
        <p:spPr>
          <a:xfrm>
            <a:off x="8515350" y="104776"/>
            <a:ext cx="311150" cy="101600"/>
          </a:xfrm>
          <a:prstGeom prst="rect">
            <a:avLst/>
          </a:prstGeom>
        </p:spPr>
        <p:txBody>
          <a:bodyPr/>
          <a:lstStyle>
            <a:lvl1pPr algn="r" defTabSz="877888" eaLnBrk="1" hangingPunct="1">
              <a:defRPr sz="600" b="0" smtClean="0">
                <a:solidFill>
                  <a:schemeClr val="accent3"/>
                </a:solidFill>
              </a:defRPr>
            </a:lvl1pPr>
          </a:lstStyle>
          <a:p>
            <a:pPr>
              <a:defRPr/>
            </a:pPr>
            <a:fld id="{43F08DF2-08E5-4258-AABE-0B58EE66DCBF}" type="slidenum">
              <a:rPr lang="en-GB">
                <a:solidFill>
                  <a:srgbClr val="82786F"/>
                </a:solidFill>
              </a:rPr>
              <a:pPr>
                <a:defRPr/>
              </a:pPr>
              <a:t>‹#›</a:t>
            </a:fld>
            <a:endParaRPr lang="en-GB" dirty="0">
              <a:solidFill>
                <a:srgbClr val="82786F"/>
              </a:solidFill>
            </a:endParaRPr>
          </a:p>
        </p:txBody>
      </p:sp>
      <p:sp>
        <p:nvSpPr>
          <p:cNvPr id="12" name="Content Placeholder 2"/>
          <p:cNvSpPr>
            <a:spLocks noGrp="1"/>
          </p:cNvSpPr>
          <p:nvPr>
            <p:ph sz="quarter" idx="13" hasCustomPrompt="1"/>
          </p:nvPr>
        </p:nvSpPr>
        <p:spPr>
          <a:xfrm>
            <a:off x="316800" y="4883931"/>
            <a:ext cx="8510400" cy="156936"/>
          </a:xfrm>
        </p:spPr>
        <p:txBody>
          <a:bodyPr anchor="b" anchorCtr="0">
            <a:noAutofit/>
          </a:bodyPr>
          <a:lstStyle>
            <a:lvl1pPr marL="0" indent="0">
              <a:spcBef>
                <a:spcPts val="0"/>
              </a:spcBef>
              <a:buNone/>
              <a:defRPr sz="800">
                <a:solidFill>
                  <a:srgbClr val="82786F"/>
                </a:solidFill>
              </a:defRPr>
            </a:lvl1pPr>
            <a:lvl2pPr marL="265112" indent="0">
              <a:buNone/>
              <a:defRPr sz="800"/>
            </a:lvl2pPr>
            <a:lvl3pPr marL="536575" indent="0">
              <a:buNone/>
              <a:defRPr sz="800"/>
            </a:lvl3pPr>
            <a:lvl4pPr marL="808038" indent="0">
              <a:buNone/>
              <a:defRPr sz="800"/>
            </a:lvl4pPr>
            <a:lvl5pPr marL="1073150" indent="0">
              <a:buNone/>
              <a:defRPr sz="800"/>
            </a:lvl5pPr>
          </a:lstStyle>
          <a:p>
            <a:pPr lvl="0"/>
            <a:r>
              <a:rPr lang="en-US" dirty="0"/>
              <a:t>Click to add text</a:t>
            </a:r>
          </a:p>
        </p:txBody>
      </p:sp>
    </p:spTree>
    <p:extLst>
      <p:ext uri="{BB962C8B-B14F-4D97-AF65-F5344CB8AC3E}">
        <p14:creationId xmlns:p14="http://schemas.microsoft.com/office/powerpoint/2010/main" val="4001747749"/>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09632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52248" y="1005577"/>
            <a:ext cx="4262602" cy="362714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1005577"/>
            <a:ext cx="4262602" cy="362714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5"/>
          <p:cNvSpPr>
            <a:spLocks noGrp="1"/>
          </p:cNvSpPr>
          <p:nvPr>
            <p:ph type="ftr" sz="quarter" idx="10"/>
          </p:nvPr>
        </p:nvSpPr>
        <p:spPr>
          <a:xfrm>
            <a:off x="252413" y="4787506"/>
            <a:ext cx="6843712" cy="183356"/>
          </a:xfrm>
          <a:prstGeom prst="rect">
            <a:avLst/>
          </a:prstGeom>
        </p:spPr>
        <p:txBody>
          <a:bodyPr/>
          <a:lstStyle>
            <a:lvl1pPr>
              <a:defRPr>
                <a:solidFill>
                  <a:prstClr val="black">
                    <a:tint val="75000"/>
                  </a:prstClr>
                </a:solidFill>
              </a:defRPr>
            </a:lvl1pPr>
          </a:lstStyle>
          <a:p>
            <a:pPr>
              <a:defRPr/>
            </a:pPr>
            <a:endParaRPr lang="en-GB"/>
          </a:p>
        </p:txBody>
      </p:sp>
      <p:sp>
        <p:nvSpPr>
          <p:cNvPr id="6" name="Slide Number Placeholder 6"/>
          <p:cNvSpPr>
            <a:spLocks noGrp="1"/>
          </p:cNvSpPr>
          <p:nvPr>
            <p:ph type="sldNum" sz="quarter" idx="11"/>
          </p:nvPr>
        </p:nvSpPr>
        <p:spPr>
          <a:xfrm>
            <a:off x="8208964" y="4948256"/>
            <a:ext cx="935037" cy="195263"/>
          </a:xfrm>
          <a:prstGeom prst="rect">
            <a:avLst/>
          </a:prstGeom>
        </p:spPr>
        <p:txBody>
          <a:bodyPr/>
          <a:lstStyle>
            <a:lvl1pPr>
              <a:defRPr>
                <a:solidFill>
                  <a:prstClr val="black">
                    <a:tint val="75000"/>
                  </a:prstClr>
                </a:solidFill>
              </a:defRPr>
            </a:lvl1pPr>
          </a:lstStyle>
          <a:p>
            <a:pPr>
              <a:defRPr/>
            </a:pPr>
            <a:fld id="{552F42FF-5273-4A67-9963-EA9D697A1FD4}" type="slidenum">
              <a:rPr lang="en-GB"/>
              <a:pPr>
                <a:defRPr/>
              </a:pPr>
              <a:t>‹#›</a:t>
            </a:fld>
            <a:endParaRPr lang="en-GB" dirty="0"/>
          </a:p>
        </p:txBody>
      </p:sp>
    </p:spTree>
    <p:extLst>
      <p:ext uri="{BB962C8B-B14F-4D97-AF65-F5344CB8AC3E}">
        <p14:creationId xmlns:p14="http://schemas.microsoft.com/office/powerpoint/2010/main" val="38321274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ody Only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52800"/>
            <a:ext cx="7056000" cy="1620000"/>
          </a:xfrm>
          <a:prstGeom prst="rect">
            <a:avLst/>
          </a:prstGeom>
        </p:spPr>
        <p:txBody>
          <a:bodyPr lIns="91438" tIns="45719" rIns="91438" bIns="45719"/>
          <a:lstStyle>
            <a:lvl1pPr marL="0" marR="0" indent="0" algn="l" defTabSz="514337" rtl="0" eaLnBrk="1" fontAlgn="base" latinLnBrk="0" hangingPunct="1">
              <a:lnSpc>
                <a:spcPct val="100000"/>
              </a:lnSpc>
              <a:spcBef>
                <a:spcPct val="0"/>
              </a:spcBef>
              <a:spcAft>
                <a:spcPct val="0"/>
              </a:spcAft>
              <a:buClrTx/>
              <a:buSzTx/>
              <a:buFontTx/>
              <a:buNone/>
              <a:tabLst/>
              <a:defRPr sz="1069">
                <a:solidFill>
                  <a:schemeClr val="tx1"/>
                </a:solidFill>
                <a:latin typeface="Arial" pitchFamily="34" charset="0"/>
                <a:cs typeface="Arial" pitchFamily="34" charset="0"/>
              </a:defRPr>
            </a:lvl1pPr>
            <a:lvl2pPr marL="149123" marR="0" indent="-148229" algn="l" defTabSz="514337" rtl="0" eaLnBrk="1" fontAlgn="base" latinLnBrk="0" hangingPunct="1">
              <a:lnSpc>
                <a:spcPct val="90000"/>
              </a:lnSpc>
              <a:spcBef>
                <a:spcPct val="0"/>
              </a:spcBef>
              <a:spcAft>
                <a:spcPct val="0"/>
              </a:spcAft>
              <a:buClrTx/>
              <a:buSzTx/>
              <a:buFontTx/>
              <a:buChar char="•"/>
              <a:tabLst/>
              <a:defRPr sz="1069"/>
            </a:lvl2pPr>
            <a:lvl3pPr marL="350035" marR="0" indent="-101796" algn="l" defTabSz="514337" rtl="0" eaLnBrk="1" fontAlgn="base" latinLnBrk="0" hangingPunct="1">
              <a:lnSpc>
                <a:spcPct val="90000"/>
              </a:lnSpc>
              <a:spcBef>
                <a:spcPct val="0"/>
              </a:spcBef>
              <a:spcAft>
                <a:spcPct val="0"/>
              </a:spcAft>
              <a:buClrTx/>
              <a:buSzTx/>
              <a:buFont typeface="Arial" charset="0"/>
              <a:buChar char="-"/>
              <a:tabLst/>
              <a:defRPr sz="1069"/>
            </a:lvl3pPr>
            <a:lvl4pPr marL="932237" indent="-160731">
              <a:buFont typeface="Arial"/>
              <a:buChar char="•"/>
              <a:defRPr sz="1069"/>
            </a:lvl4pPr>
            <a:lvl5pPr marL="1189406" indent="-160731">
              <a:buFont typeface="Arial"/>
              <a:buChar char="•"/>
              <a:defRPr sz="1069"/>
            </a:lvl5pPr>
          </a:lstStyle>
          <a:p>
            <a:pPr lvl="0"/>
            <a:r>
              <a:rPr lang="en-GB" noProof="0" dirty="0" smtClean="0"/>
              <a:t>Click to edit Master text styles</a:t>
            </a:r>
          </a:p>
        </p:txBody>
      </p:sp>
      <p:sp>
        <p:nvSpPr>
          <p:cNvPr id="11" name="Title 8"/>
          <p:cNvSpPr>
            <a:spLocks noGrp="1"/>
          </p:cNvSpPr>
          <p:nvPr>
            <p:ph type="title"/>
          </p:nvPr>
        </p:nvSpPr>
        <p:spPr>
          <a:xfrm>
            <a:off x="237061" y="145083"/>
            <a:ext cx="8280000" cy="310500"/>
          </a:xfrm>
          <a:prstGeom prst="rect">
            <a:avLst/>
          </a:prstGeom>
        </p:spPr>
        <p:txBody>
          <a:bodyPr lIns="91438" tIns="45719" rIns="91438" bIns="45719" anchor="t"/>
          <a:lstStyle>
            <a:lvl1pPr algn="l">
              <a:lnSpc>
                <a:spcPct val="100000"/>
              </a:lnSpc>
              <a:defRPr sz="1350" b="1" baseline="0">
                <a:solidFill>
                  <a:schemeClr val="tx2"/>
                </a:solidFill>
                <a:latin typeface="Arial" pitchFamily="34" charset="0"/>
                <a:cs typeface="Arial" pitchFamily="34" charset="0"/>
              </a:defRPr>
            </a:lvl1pPr>
          </a:lstStyle>
          <a:p>
            <a:r>
              <a:rPr lang="en-US" noProof="0" dirty="0" smtClean="0"/>
              <a:t>Click to edit Master title style</a:t>
            </a:r>
            <a:endParaRPr lang="en-GB" noProof="0" dirty="0"/>
          </a:p>
        </p:txBody>
      </p:sp>
      <p:sp>
        <p:nvSpPr>
          <p:cNvPr id="4" name="Slide Number Placeholder 5"/>
          <p:cNvSpPr>
            <a:spLocks noGrp="1"/>
          </p:cNvSpPr>
          <p:nvPr>
            <p:ph type="sldNum" sz="quarter" idx="14"/>
          </p:nvPr>
        </p:nvSpPr>
        <p:spPr>
          <a:xfrm>
            <a:off x="222251" y="4882754"/>
            <a:ext cx="396875" cy="161925"/>
          </a:xfrm>
          <a:prstGeom prst="rect">
            <a:avLst/>
          </a:prstGeom>
        </p:spPr>
        <p:txBody>
          <a:bodyPr vert="horz" wrap="square" lIns="0" tIns="0" rIns="0" bIns="0" numCol="1" anchor="t" anchorCtr="0" compatLnSpc="1">
            <a:prstTxWarp prst="textNoShape">
              <a:avLst/>
            </a:prstTxWarp>
          </a:bodyPr>
          <a:lstStyle>
            <a:lvl1pPr eaLnBrk="1" hangingPunct="1">
              <a:defRPr sz="619" b="1">
                <a:solidFill>
                  <a:srgbClr val="000000"/>
                </a:solidFill>
                <a:latin typeface="Arial"/>
                <a:cs typeface="Arial" charset="0"/>
              </a:defRPr>
            </a:lvl1pPr>
          </a:lstStyle>
          <a:p>
            <a:pPr>
              <a:defRPr/>
            </a:pPr>
            <a:fld id="{3A2D7AEE-FD52-4A44-8750-F5162ADA21E6}" type="slidenum">
              <a:rPr lang="en-GB"/>
              <a:pPr>
                <a:defRPr/>
              </a:pPr>
              <a:t>‹#›</a:t>
            </a:fld>
            <a:endParaRPr lang="en-GB"/>
          </a:p>
        </p:txBody>
      </p:sp>
      <p:sp>
        <p:nvSpPr>
          <p:cNvPr id="5" name="Footer Placeholder 4"/>
          <p:cNvSpPr>
            <a:spLocks noGrp="1"/>
          </p:cNvSpPr>
          <p:nvPr>
            <p:ph type="ftr" sz="quarter" idx="15"/>
          </p:nvPr>
        </p:nvSpPr>
        <p:spPr>
          <a:xfrm>
            <a:off x="628653" y="4882754"/>
            <a:ext cx="5795963" cy="161925"/>
          </a:xfrm>
          <a:prstGeom prst="rect">
            <a:avLst/>
          </a:prstGeom>
        </p:spPr>
        <p:txBody>
          <a:bodyPr vert="horz" wrap="square" lIns="0" tIns="0" rIns="0" bIns="0" numCol="1" anchor="t" anchorCtr="0" compatLnSpc="1">
            <a:prstTxWarp prst="textNoShape">
              <a:avLst/>
            </a:prstTxWarp>
          </a:bodyPr>
          <a:lstStyle>
            <a:lvl1pPr eaLnBrk="1" hangingPunct="1">
              <a:defRPr sz="619" b="0">
                <a:solidFill>
                  <a:srgbClr val="000000"/>
                </a:solidFill>
                <a:latin typeface="Arial"/>
                <a:cs typeface="Arial" charset="0"/>
              </a:defRPr>
            </a:lvl1pPr>
          </a:lstStyle>
          <a:p>
            <a:pPr>
              <a:defRPr/>
            </a:pPr>
            <a:endParaRPr lang="en-GB"/>
          </a:p>
        </p:txBody>
      </p:sp>
    </p:spTree>
    <p:extLst>
      <p:ext uri="{BB962C8B-B14F-4D97-AF65-F5344CB8AC3E}">
        <p14:creationId xmlns:p14="http://schemas.microsoft.com/office/powerpoint/2010/main" val="35412206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7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1800"/>
            </a:lvl1pPr>
          </a:lstStyle>
          <a:p>
            <a:r>
              <a:rPr lang="en-US" noProof="0" smtClean="0"/>
              <a:t>Click to edit Master title style</a:t>
            </a:r>
            <a:endParaRPr lang="en-GB" noProof="0" dirty="0"/>
          </a:p>
        </p:txBody>
      </p:sp>
    </p:spTree>
    <p:extLst>
      <p:ext uri="{BB962C8B-B14F-4D97-AF65-F5344CB8AC3E}">
        <p14:creationId xmlns:p14="http://schemas.microsoft.com/office/powerpoint/2010/main" val="302172103"/>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3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1800"/>
            </a:lvl1pPr>
          </a:lstStyle>
          <a:p>
            <a:r>
              <a:rPr lang="en-US" noProof="0" smtClean="0"/>
              <a:t>Click to edit Master title style</a:t>
            </a:r>
            <a:endParaRPr lang="en-GB" noProof="0" dirty="0"/>
          </a:p>
        </p:txBody>
      </p:sp>
      <p:sp>
        <p:nvSpPr>
          <p:cNvPr id="4" name="Rectangle 5"/>
          <p:cNvSpPr>
            <a:spLocks noGrp="1" noChangeArrowheads="1"/>
          </p:cNvSpPr>
          <p:nvPr>
            <p:ph type="ftr" sz="quarter" idx="10"/>
          </p:nvPr>
        </p:nvSpPr>
        <p:spPr bwMode="auto">
          <a:xfrm>
            <a:off x="4173538" y="103587"/>
            <a:ext cx="2900362" cy="1023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9158" eaLnBrk="1" hangingPunct="1">
              <a:spcBef>
                <a:spcPct val="0"/>
              </a:spcBef>
              <a:defRPr sz="450" b="0">
                <a:solidFill>
                  <a:schemeClr val="accent3"/>
                </a:solidFill>
              </a:defRPr>
            </a:lvl1pPr>
          </a:lstStyle>
          <a:p>
            <a:pPr>
              <a:defRPr/>
            </a:pPr>
            <a:r>
              <a:rPr lang="en-GB">
                <a:solidFill>
                  <a:srgbClr val="82786F"/>
                </a:solidFill>
              </a:rPr>
              <a:t>Presentation title</a:t>
            </a:r>
          </a:p>
        </p:txBody>
      </p:sp>
      <p:sp>
        <p:nvSpPr>
          <p:cNvPr id="5" name="Rectangle 81"/>
          <p:cNvSpPr>
            <a:spLocks noGrp="1" noChangeArrowheads="1"/>
          </p:cNvSpPr>
          <p:nvPr>
            <p:ph type="dt" sz="half" idx="11"/>
          </p:nvPr>
        </p:nvSpPr>
        <p:spPr bwMode="auto">
          <a:xfrm>
            <a:off x="7186635" y="103587"/>
            <a:ext cx="1201737" cy="1023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9158" eaLnBrk="1" hangingPunct="1">
              <a:spcBef>
                <a:spcPct val="0"/>
              </a:spcBef>
              <a:defRPr sz="450" b="0">
                <a:solidFill>
                  <a:schemeClr val="accent3"/>
                </a:solidFill>
              </a:defRPr>
            </a:lvl1pPr>
          </a:lstStyle>
          <a:p>
            <a:pPr>
              <a:defRPr/>
            </a:pPr>
            <a:r>
              <a:rPr lang="en-GB">
                <a:solidFill>
                  <a:srgbClr val="82786F"/>
                </a:solidFill>
              </a:rPr>
              <a:t>Date</a:t>
            </a:r>
            <a:endParaRPr lang="en-GB" dirty="0">
              <a:solidFill>
                <a:srgbClr val="82786F"/>
              </a:solidFill>
            </a:endParaRPr>
          </a:p>
        </p:txBody>
      </p:sp>
      <p:sp>
        <p:nvSpPr>
          <p:cNvPr id="7" name="Slide Number Placeholder 23"/>
          <p:cNvSpPr>
            <a:spLocks noGrp="1" noChangeArrowheads="1"/>
          </p:cNvSpPr>
          <p:nvPr>
            <p:ph type="sldNum" sz="quarter" idx="12"/>
          </p:nvPr>
        </p:nvSpPr>
        <p:spPr bwMode="auto">
          <a:xfrm>
            <a:off x="8515350" y="104775"/>
            <a:ext cx="311150" cy="1023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8383" eaLnBrk="1" hangingPunct="1">
              <a:defRPr sz="450" b="0">
                <a:solidFill>
                  <a:schemeClr val="accent3"/>
                </a:solidFill>
              </a:defRPr>
            </a:lvl1pPr>
          </a:lstStyle>
          <a:p>
            <a:pPr>
              <a:defRPr/>
            </a:pPr>
            <a:fld id="{3D270AED-3FB5-47C3-8FA8-C7C7564BF4F7}"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687036521"/>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1800"/>
            </a:lvl1pPr>
          </a:lstStyle>
          <a:p>
            <a:r>
              <a:rPr lang="en-US" noProof="0" smtClean="0"/>
              <a:t>Click to edit Master title style</a:t>
            </a:r>
            <a:endParaRPr lang="en-GB" noProof="0" dirty="0"/>
          </a:p>
        </p:txBody>
      </p:sp>
      <p:sp>
        <p:nvSpPr>
          <p:cNvPr id="4" name="Rectangle 5"/>
          <p:cNvSpPr>
            <a:spLocks noGrp="1" noChangeArrowheads="1"/>
          </p:cNvSpPr>
          <p:nvPr>
            <p:ph type="ftr" sz="quarter" idx="10"/>
          </p:nvPr>
        </p:nvSpPr>
        <p:spPr bwMode="auto">
          <a:xfrm>
            <a:off x="4173538" y="103587"/>
            <a:ext cx="2900362" cy="1023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9158" eaLnBrk="1" hangingPunct="1">
              <a:spcBef>
                <a:spcPct val="0"/>
              </a:spcBef>
              <a:defRPr sz="450" b="0">
                <a:solidFill>
                  <a:schemeClr val="accent3"/>
                </a:solidFill>
              </a:defRPr>
            </a:lvl1pPr>
          </a:lstStyle>
          <a:p>
            <a:pPr>
              <a:defRPr/>
            </a:pPr>
            <a:r>
              <a:rPr lang="en-GB">
                <a:solidFill>
                  <a:srgbClr val="82786F"/>
                </a:solidFill>
              </a:rPr>
              <a:t>Presentation title</a:t>
            </a:r>
          </a:p>
        </p:txBody>
      </p:sp>
      <p:sp>
        <p:nvSpPr>
          <p:cNvPr id="5" name="Rectangle 81"/>
          <p:cNvSpPr>
            <a:spLocks noGrp="1" noChangeArrowheads="1"/>
          </p:cNvSpPr>
          <p:nvPr>
            <p:ph type="dt" sz="half" idx="11"/>
          </p:nvPr>
        </p:nvSpPr>
        <p:spPr bwMode="auto">
          <a:xfrm>
            <a:off x="7186635" y="103587"/>
            <a:ext cx="1201737" cy="1023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9158" eaLnBrk="1" hangingPunct="1">
              <a:spcBef>
                <a:spcPct val="0"/>
              </a:spcBef>
              <a:defRPr sz="450" b="0">
                <a:solidFill>
                  <a:schemeClr val="accent3"/>
                </a:solidFill>
              </a:defRPr>
            </a:lvl1pPr>
          </a:lstStyle>
          <a:p>
            <a:pPr>
              <a:defRPr/>
            </a:pPr>
            <a:r>
              <a:rPr lang="en-GB">
                <a:solidFill>
                  <a:srgbClr val="82786F"/>
                </a:solidFill>
              </a:rPr>
              <a:t>Date</a:t>
            </a:r>
            <a:endParaRPr lang="en-GB" dirty="0">
              <a:solidFill>
                <a:srgbClr val="82786F"/>
              </a:solidFill>
            </a:endParaRPr>
          </a:p>
        </p:txBody>
      </p:sp>
      <p:sp>
        <p:nvSpPr>
          <p:cNvPr id="7" name="Slide Number Placeholder 23"/>
          <p:cNvSpPr>
            <a:spLocks noGrp="1" noChangeArrowheads="1"/>
          </p:cNvSpPr>
          <p:nvPr>
            <p:ph type="sldNum" sz="quarter" idx="12"/>
          </p:nvPr>
        </p:nvSpPr>
        <p:spPr bwMode="auto">
          <a:xfrm>
            <a:off x="8515350" y="104775"/>
            <a:ext cx="311150" cy="1023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8383" eaLnBrk="1" hangingPunct="1">
              <a:defRPr sz="450" b="0">
                <a:solidFill>
                  <a:schemeClr val="accent3"/>
                </a:solidFill>
              </a:defRPr>
            </a:lvl1pPr>
          </a:lstStyle>
          <a:p>
            <a:pPr>
              <a:defRPr/>
            </a:pPr>
            <a:fld id="{C045BB2E-DFBC-42B4-8D39-B0A5DF1835F4}"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177941104"/>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00_Correct Title Slide">
    <p:spTree>
      <p:nvGrpSpPr>
        <p:cNvPr id="1" name=""/>
        <p:cNvGrpSpPr/>
        <p:nvPr/>
      </p:nvGrpSpPr>
      <p:grpSpPr>
        <a:xfrm>
          <a:off x="0" y="0"/>
          <a:ext cx="0" cy="0"/>
          <a:chOff x="0" y="0"/>
          <a:chExt cx="0" cy="0"/>
        </a:xfrm>
      </p:grpSpPr>
      <p:sp>
        <p:nvSpPr>
          <p:cNvPr id="7" name="Rounded Rectangle 6"/>
          <p:cNvSpPr/>
          <p:nvPr userDrawn="1"/>
        </p:nvSpPr>
        <p:spPr bwMode="auto">
          <a:xfrm>
            <a:off x="934606" y="2121035"/>
            <a:ext cx="7741850" cy="1008111"/>
          </a:xfrm>
          <a:prstGeom prst="roundRect">
            <a:avLst/>
          </a:prstGeom>
          <a:solidFill>
            <a:srgbClr val="10357E"/>
          </a:solidFill>
          <a:ln w="28575" cap="flat" cmpd="sng" algn="ctr">
            <a:noFill/>
            <a:prstDash val="solid"/>
            <a:round/>
            <a:headEnd type="none" w="med" len="med"/>
            <a:tailEnd type="none" w="med" len="med"/>
          </a:ln>
          <a:effectLst/>
        </p:spPr>
        <p:txBody>
          <a:bodyPr vert="horz" wrap="none" lIns="71952" tIns="71952" rIns="71952" bIns="71952" numCol="1" rtlCol="0" anchor="ctr" anchorCtr="0" compatLnSpc="1">
            <a:prstTxWarp prst="textNoShape">
              <a:avLst/>
            </a:prstTxWarp>
          </a:bodyPr>
          <a:lstStyle/>
          <a:p>
            <a:pPr algn="ctr" defTabSz="685264" fontAlgn="base">
              <a:spcBef>
                <a:spcPct val="50000"/>
              </a:spcBef>
              <a:spcAft>
                <a:spcPct val="0"/>
              </a:spcAft>
            </a:pPr>
            <a:endParaRPr lang="en-GB" sz="1000" b="1" dirty="0">
              <a:solidFill>
                <a:srgbClr val="001965"/>
              </a:solidFill>
              <a:cs typeface="Arial" pitchFamily="34" charset="0"/>
            </a:endParaRPr>
          </a:p>
        </p:txBody>
      </p:sp>
      <p:sp>
        <p:nvSpPr>
          <p:cNvPr id="8" name="Rounded Rectangle 7"/>
          <p:cNvSpPr/>
          <p:nvPr userDrawn="1"/>
        </p:nvSpPr>
        <p:spPr bwMode="auto">
          <a:xfrm>
            <a:off x="467546" y="1059584"/>
            <a:ext cx="7703319" cy="1368153"/>
          </a:xfrm>
          <a:prstGeom prst="roundRect">
            <a:avLst/>
          </a:prstGeom>
          <a:solidFill>
            <a:schemeClr val="bg1"/>
          </a:solidFill>
          <a:ln w="38100" cap="flat" cmpd="sng" algn="ctr">
            <a:solidFill>
              <a:schemeClr val="tx1"/>
            </a:solidFill>
            <a:prstDash val="solid"/>
            <a:round/>
            <a:headEnd type="none" w="med" len="med"/>
            <a:tailEnd type="none" w="med" len="med"/>
          </a:ln>
          <a:effectLst/>
        </p:spPr>
        <p:txBody>
          <a:bodyPr vert="horz" wrap="none" lIns="71952" tIns="71952" rIns="71952" bIns="71952" numCol="1" rtlCol="0" anchor="ctr" anchorCtr="0" compatLnSpc="1">
            <a:prstTxWarp prst="textNoShape">
              <a:avLst/>
            </a:prstTxWarp>
          </a:bodyPr>
          <a:lstStyle/>
          <a:p>
            <a:pPr algn="ctr" defTabSz="685264" fontAlgn="base">
              <a:spcBef>
                <a:spcPct val="50000"/>
              </a:spcBef>
              <a:spcAft>
                <a:spcPct val="0"/>
              </a:spcAft>
            </a:pPr>
            <a:endParaRPr lang="en-GB" sz="1000" b="1" dirty="0">
              <a:solidFill>
                <a:srgbClr val="001965"/>
              </a:solidFill>
              <a:cs typeface="Arial" pitchFamily="34" charset="0"/>
            </a:endParaRPr>
          </a:p>
        </p:txBody>
      </p:sp>
      <p:sp>
        <p:nvSpPr>
          <p:cNvPr id="5" name="TextBox 4"/>
          <p:cNvSpPr txBox="1"/>
          <p:nvPr userDrawn="1"/>
        </p:nvSpPr>
        <p:spPr>
          <a:xfrm>
            <a:off x="7453323" y="4241832"/>
            <a:ext cx="1435101" cy="715566"/>
          </a:xfrm>
          <a:prstGeom prst="rect">
            <a:avLst/>
          </a:prstGeom>
          <a:solidFill>
            <a:schemeClr val="bg1"/>
          </a:solidFill>
          <a:ln>
            <a:noFill/>
          </a:ln>
        </p:spPr>
        <p:txBody>
          <a:bodyPr lIns="68531" tIns="34283" rIns="68531" bIns="34283">
            <a:spAutoFit/>
          </a:bodyPr>
          <a:lstStyle/>
          <a:p>
            <a:pPr defTabSz="342506" fontAlgn="base">
              <a:spcBef>
                <a:spcPct val="0"/>
              </a:spcBef>
              <a:spcAft>
                <a:spcPct val="0"/>
              </a:spcAft>
              <a:defRPr/>
            </a:pPr>
            <a:endParaRPr lang="en-GB" sz="1400" dirty="0">
              <a:solidFill>
                <a:srgbClr val="002060"/>
              </a:solidFill>
              <a:latin typeface="Arial" charset="0"/>
              <a:ea typeface="ＭＳ Ｐゴシック" pitchFamily="-106" charset="-128"/>
              <a:cs typeface="Arial" pitchFamily="34" charset="0"/>
            </a:endParaRPr>
          </a:p>
          <a:p>
            <a:pPr defTabSz="342506" fontAlgn="base">
              <a:spcBef>
                <a:spcPct val="0"/>
              </a:spcBef>
              <a:spcAft>
                <a:spcPct val="0"/>
              </a:spcAft>
              <a:defRPr/>
            </a:pPr>
            <a:endParaRPr lang="en-GB" sz="1400" dirty="0">
              <a:solidFill>
                <a:srgbClr val="002060"/>
              </a:solidFill>
              <a:latin typeface="Arial" charset="0"/>
              <a:ea typeface="ＭＳ Ｐゴシック" pitchFamily="-106" charset="-128"/>
              <a:cs typeface="Arial" pitchFamily="34" charset="0"/>
            </a:endParaRPr>
          </a:p>
          <a:p>
            <a:pPr defTabSz="342506" fontAlgn="base">
              <a:spcBef>
                <a:spcPct val="0"/>
              </a:spcBef>
              <a:spcAft>
                <a:spcPct val="0"/>
              </a:spcAft>
              <a:defRPr/>
            </a:pPr>
            <a:endParaRPr lang="en-GB" sz="1400" dirty="0">
              <a:solidFill>
                <a:srgbClr val="002060"/>
              </a:solidFill>
              <a:latin typeface="Arial" charset="0"/>
              <a:ea typeface="ＭＳ Ｐゴシック" pitchFamily="-106" charset="-128"/>
              <a:cs typeface="Arial" pitchFamily="34" charset="0"/>
            </a:endParaRPr>
          </a:p>
        </p:txBody>
      </p:sp>
      <p:sp>
        <p:nvSpPr>
          <p:cNvPr id="6" name="Rectangle 7"/>
          <p:cNvSpPr/>
          <p:nvPr userDrawn="1"/>
        </p:nvSpPr>
        <p:spPr>
          <a:xfrm>
            <a:off x="319089" y="141292"/>
            <a:ext cx="8147050" cy="54451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8531" tIns="34283" rIns="68531" bIns="34283" anchor="ctr"/>
          <a:lstStyle/>
          <a:p>
            <a:pPr algn="ctr" defTabSz="685246" fontAlgn="base">
              <a:spcBef>
                <a:spcPct val="0"/>
              </a:spcBef>
              <a:spcAft>
                <a:spcPct val="0"/>
              </a:spcAft>
              <a:defRPr/>
            </a:pPr>
            <a:endParaRPr lang="en-GB" sz="1400" dirty="0">
              <a:solidFill>
                <a:prstClr val="white"/>
              </a:solidFill>
            </a:endParaRPr>
          </a:p>
        </p:txBody>
      </p:sp>
      <p:sp>
        <p:nvSpPr>
          <p:cNvPr id="3" name="Subtitle 2"/>
          <p:cNvSpPr>
            <a:spLocks noGrp="1"/>
          </p:cNvSpPr>
          <p:nvPr>
            <p:ph type="subTitle" idx="1"/>
          </p:nvPr>
        </p:nvSpPr>
        <p:spPr>
          <a:xfrm>
            <a:off x="1286572" y="2416701"/>
            <a:ext cx="7325833" cy="702077"/>
          </a:xfrm>
        </p:spPr>
        <p:txBody>
          <a:bodyPr anchor="ctr">
            <a:noAutofit/>
          </a:bodyPr>
          <a:lstStyle>
            <a:lvl1pPr marL="0" indent="0" algn="l">
              <a:buNone/>
              <a:defRPr sz="1800" b="1">
                <a:solidFill>
                  <a:schemeClr val="bg1"/>
                </a:solidFill>
                <a:latin typeface="Verdana"/>
                <a:cs typeface="Verdana"/>
              </a:defRPr>
            </a:lvl1pPr>
            <a:lvl2pPr marL="342506" indent="0" algn="ctr">
              <a:buNone/>
              <a:defRPr>
                <a:solidFill>
                  <a:schemeClr val="tx1">
                    <a:tint val="75000"/>
                  </a:schemeClr>
                </a:solidFill>
              </a:defRPr>
            </a:lvl2pPr>
            <a:lvl3pPr marL="685041" indent="0" algn="ctr">
              <a:buNone/>
              <a:defRPr>
                <a:solidFill>
                  <a:schemeClr val="tx1">
                    <a:tint val="75000"/>
                  </a:schemeClr>
                </a:solidFill>
              </a:defRPr>
            </a:lvl3pPr>
            <a:lvl4pPr marL="1027560" indent="0" algn="ctr">
              <a:buNone/>
              <a:defRPr>
                <a:solidFill>
                  <a:schemeClr val="tx1">
                    <a:tint val="75000"/>
                  </a:schemeClr>
                </a:solidFill>
              </a:defRPr>
            </a:lvl4pPr>
            <a:lvl5pPr marL="1370083" indent="0" algn="ctr">
              <a:buNone/>
              <a:defRPr>
                <a:solidFill>
                  <a:schemeClr val="tx1">
                    <a:tint val="75000"/>
                  </a:schemeClr>
                </a:solidFill>
              </a:defRPr>
            </a:lvl5pPr>
            <a:lvl6pPr marL="1712615" indent="0" algn="ctr">
              <a:buNone/>
              <a:defRPr>
                <a:solidFill>
                  <a:schemeClr val="tx1">
                    <a:tint val="75000"/>
                  </a:schemeClr>
                </a:solidFill>
              </a:defRPr>
            </a:lvl6pPr>
            <a:lvl7pPr marL="2055122" indent="0" algn="ctr">
              <a:buNone/>
              <a:defRPr>
                <a:solidFill>
                  <a:schemeClr val="tx1">
                    <a:tint val="75000"/>
                  </a:schemeClr>
                </a:solidFill>
              </a:defRPr>
            </a:lvl7pPr>
            <a:lvl8pPr marL="2397629" indent="0" algn="ctr">
              <a:buNone/>
              <a:defRPr>
                <a:solidFill>
                  <a:schemeClr val="tx1">
                    <a:tint val="75000"/>
                  </a:schemeClr>
                </a:solidFill>
              </a:defRPr>
            </a:lvl8pPr>
            <a:lvl9pPr marL="2740136" indent="0" algn="ctr">
              <a:buNone/>
              <a:defRPr>
                <a:solidFill>
                  <a:schemeClr val="tx1">
                    <a:tint val="75000"/>
                  </a:schemeClr>
                </a:solidFill>
              </a:defRPr>
            </a:lvl9pPr>
          </a:lstStyle>
          <a:p>
            <a:r>
              <a:rPr lang="en-US"/>
              <a:t>Click to edit Master subtitle style</a:t>
            </a:r>
            <a:endParaRPr lang="en-US" dirty="0"/>
          </a:p>
        </p:txBody>
      </p:sp>
      <p:sp>
        <p:nvSpPr>
          <p:cNvPr id="9" name="Text Placeholder 8"/>
          <p:cNvSpPr>
            <a:spLocks noGrp="1"/>
          </p:cNvSpPr>
          <p:nvPr>
            <p:ph type="body" idx="10"/>
          </p:nvPr>
        </p:nvSpPr>
        <p:spPr>
          <a:xfrm>
            <a:off x="618091" y="1184555"/>
            <a:ext cx="7230985" cy="723885"/>
          </a:xfrm>
        </p:spPr>
        <p:txBody>
          <a:bodyPr anchor="ctr"/>
          <a:lstStyle>
            <a:lvl1pPr marL="0" indent="0">
              <a:buNone/>
              <a:defRPr sz="2400" b="1">
                <a:solidFill>
                  <a:srgbClr val="003366"/>
                </a:solidFill>
                <a:latin typeface="Verdana"/>
                <a:cs typeface="Verdana"/>
              </a:defRPr>
            </a:lvl1pPr>
            <a:lvl2pPr>
              <a:buFont typeface="Arial"/>
              <a:buChar char="•"/>
              <a:defRPr sz="1100">
                <a:solidFill>
                  <a:srgbClr val="003366"/>
                </a:solidFill>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US" dirty="0"/>
              <a:t>Click to edit Master text styles</a:t>
            </a:r>
          </a:p>
        </p:txBody>
      </p:sp>
    </p:spTree>
    <p:extLst>
      <p:ext uri="{BB962C8B-B14F-4D97-AF65-F5344CB8AC3E}">
        <p14:creationId xmlns:p14="http://schemas.microsoft.com/office/powerpoint/2010/main" val="15354770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006503"/>
            <a:ext cx="8510400" cy="3261515"/>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1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0" y="4213924"/>
            <a:ext cx="8509700" cy="770826"/>
          </a:xfrm>
        </p:spPr>
        <p:txBody>
          <a:bodyPr anchor="b"/>
          <a:lstStyle>
            <a:lvl1pPr marL="0" marR="0" indent="0" algn="l" defTabSz="91440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Please enter footnotes and references here.</a:t>
            </a:r>
          </a:p>
          <a:p>
            <a:r>
              <a:rPr lang="da-DK" dirty="0"/>
              <a:t>[Set to NN Granite grey; Verdana (body) 8pt]</a:t>
            </a:r>
          </a:p>
        </p:txBody>
      </p:sp>
    </p:spTree>
    <p:extLst>
      <p:ext uri="{BB962C8B-B14F-4D97-AF65-F5344CB8AC3E}">
        <p14:creationId xmlns:p14="http://schemas.microsoft.com/office/powerpoint/2010/main" val="3339239418"/>
      </p:ext>
    </p:extLst>
  </p:cSld>
  <p:clrMapOvr>
    <a:masterClrMapping/>
  </p:clrMapOvr>
  <p:transition/>
  <p:extLst mod="1">
    <p:ext uri="{DCECCB84-F9BA-43D5-87BE-67443E8EF086}">
      <p15:sldGuideLst xmlns:p15="http://schemas.microsoft.com/office/powerpoint/2012/main" xmlns="">
        <p15:guide id="1" orient="horz" pos="3140">
          <p15:clr>
            <a:srgbClr val="FBAE40"/>
          </p15:clr>
        </p15:guide>
        <p15:guide id="2" pos="2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77"/>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89" y="3025464"/>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1701585786"/>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097281"/>
            <a:ext cx="8510400" cy="3170732"/>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1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0" y="4213924"/>
            <a:ext cx="8509700" cy="770826"/>
          </a:xfrm>
        </p:spPr>
        <p:txBody>
          <a:bodyPr anchor="b"/>
          <a:lstStyle>
            <a:lvl1pPr marL="0" marR="0" indent="0" algn="l" defTabSz="91440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3556463278"/>
      </p:ext>
    </p:extLst>
  </p:cSld>
  <p:clrMapOvr>
    <a:masterClrMapping/>
  </p:clrMapOvr>
  <p:transition/>
  <p:extLst mod="1">
    <p:ext uri="{DCECCB84-F9BA-43D5-87BE-67443E8EF086}">
      <p15:sldGuideLst xmlns:p15="http://schemas.microsoft.com/office/powerpoint/2012/main" xmlns="">
        <p15:guide id="1" orient="horz" pos="3140">
          <p15:clr>
            <a:srgbClr val="FBAE40"/>
          </p15:clr>
        </p15:guide>
        <p15:guide id="2" pos="28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noChangeArrowheads="1"/>
          </p:cNvSpPr>
          <p:nvPr>
            <p:ph type="dt" sz="half" idx="10"/>
          </p:nvPr>
        </p:nvSpPr>
        <p:spPr>
          <a:xfrm>
            <a:off x="457200" y="4688683"/>
            <a:ext cx="2133600" cy="357188"/>
          </a:xfrm>
          <a:prstGeom prst="rect">
            <a:avLst/>
          </a:prstGeom>
          <a:ln/>
        </p:spPr>
        <p:txBody>
          <a:bodyPr/>
          <a:lstStyle>
            <a:lvl1pPr>
              <a:defRPr/>
            </a:lvl1pPr>
          </a:lstStyle>
          <a:p>
            <a:pPr>
              <a:defRPr/>
            </a:pPr>
            <a:endParaRPr lang="en-US" altLang="en-US" dirty="0">
              <a:solidFill>
                <a:srgbClr val="001965"/>
              </a:solidFill>
            </a:endParaRPr>
          </a:p>
        </p:txBody>
      </p:sp>
      <p:sp>
        <p:nvSpPr>
          <p:cNvPr id="4" name="Rectangle 14"/>
          <p:cNvSpPr>
            <a:spLocks noGrp="1" noChangeArrowheads="1"/>
          </p:cNvSpPr>
          <p:nvPr>
            <p:ph type="ftr" sz="quarter" idx="11"/>
          </p:nvPr>
        </p:nvSpPr>
        <p:spPr>
          <a:xfrm>
            <a:off x="3124200" y="4686301"/>
            <a:ext cx="2895600" cy="357188"/>
          </a:xfrm>
          <a:prstGeom prst="rect">
            <a:avLst/>
          </a:prstGeom>
          <a:ln/>
        </p:spPr>
        <p:txBody>
          <a:bodyPr/>
          <a:lstStyle>
            <a:lvl1pPr>
              <a:defRPr/>
            </a:lvl1pPr>
          </a:lstStyle>
          <a:p>
            <a:pPr>
              <a:defRPr/>
            </a:pPr>
            <a:endParaRPr lang="en-US" altLang="en-US" dirty="0">
              <a:solidFill>
                <a:srgbClr val="001965"/>
              </a:solidFill>
            </a:endParaRPr>
          </a:p>
        </p:txBody>
      </p:sp>
    </p:spTree>
    <p:extLst>
      <p:ext uri="{BB962C8B-B14F-4D97-AF65-F5344CB8AC3E}">
        <p14:creationId xmlns:p14="http://schemas.microsoft.com/office/powerpoint/2010/main" val="6341030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630372" y="1312877"/>
            <a:ext cx="5196828" cy="1531543"/>
          </a:xfrm>
        </p:spPr>
        <p:txBody>
          <a:bodyPr anchor="b"/>
          <a:lstStyle>
            <a:lvl1pPr algn="r">
              <a:lnSpc>
                <a:spcPct val="85000"/>
              </a:lnSpc>
              <a:defRPr sz="3200"/>
            </a:lvl1pPr>
          </a:lstStyle>
          <a:p>
            <a:pPr lvl="0"/>
            <a:r>
              <a:rPr lang="en-US" noProof="0" dirty="0"/>
              <a:t>Click to edit Master title style</a:t>
            </a:r>
            <a:endParaRPr lang="en-GB" noProof="0" dirty="0"/>
          </a:p>
        </p:txBody>
      </p:sp>
      <p:sp>
        <p:nvSpPr>
          <p:cNvPr id="3075" name="Rectangle 3"/>
          <p:cNvSpPr>
            <a:spLocks noGrp="1" noChangeArrowheads="1"/>
          </p:cNvSpPr>
          <p:nvPr>
            <p:ph type="subTitle" idx="1"/>
          </p:nvPr>
        </p:nvSpPr>
        <p:spPr>
          <a:xfrm>
            <a:off x="3629025" y="3025464"/>
            <a:ext cx="5198176"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602474130"/>
      </p:ext>
    </p:extLst>
  </p:cSld>
  <p:clrMapOvr>
    <a:masterClrMapping/>
  </p:clrMapOv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SEM Title">
    <p:spTree>
      <p:nvGrpSpPr>
        <p:cNvPr id="1" name=""/>
        <p:cNvGrpSpPr/>
        <p:nvPr/>
      </p:nvGrpSpPr>
      <p:grpSpPr>
        <a:xfrm>
          <a:off x="0" y="0"/>
          <a:ext cx="0" cy="0"/>
          <a:chOff x="0" y="0"/>
          <a:chExt cx="0" cy="0"/>
        </a:xfrm>
      </p:grpSpPr>
      <p:sp>
        <p:nvSpPr>
          <p:cNvPr id="4" name="Rounded Rectangle 3"/>
          <p:cNvSpPr/>
          <p:nvPr userDrawn="1"/>
        </p:nvSpPr>
        <p:spPr bwMode="auto">
          <a:xfrm>
            <a:off x="934606" y="2121035"/>
            <a:ext cx="7741850" cy="1008111"/>
          </a:xfrm>
          <a:prstGeom prst="roundRect">
            <a:avLst/>
          </a:prstGeom>
          <a:solidFill>
            <a:srgbClr val="10357E"/>
          </a:solidFill>
          <a:ln w="28575"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algn="ctr" defTabSz="685783" fontAlgn="base">
              <a:spcBef>
                <a:spcPct val="50000"/>
              </a:spcBef>
              <a:spcAft>
                <a:spcPct val="0"/>
              </a:spcAft>
            </a:pPr>
            <a:endParaRPr lang="en-GB" sz="1800" b="1" dirty="0">
              <a:solidFill>
                <a:srgbClr val="001965"/>
              </a:solidFill>
            </a:endParaRPr>
          </a:p>
        </p:txBody>
      </p:sp>
      <p:sp>
        <p:nvSpPr>
          <p:cNvPr id="5" name="Rounded Rectangle 4"/>
          <p:cNvSpPr/>
          <p:nvPr userDrawn="1"/>
        </p:nvSpPr>
        <p:spPr bwMode="auto">
          <a:xfrm>
            <a:off x="467553" y="1059583"/>
            <a:ext cx="7703319" cy="1368152"/>
          </a:xfrm>
          <a:prstGeom prst="roundRect">
            <a:avLst/>
          </a:prstGeom>
          <a:solidFill>
            <a:schemeClr val="bg1"/>
          </a:solidFill>
          <a:ln w="38100" cap="flat" cmpd="sng" algn="ctr">
            <a:solidFill>
              <a:schemeClr val="tx1"/>
            </a:solid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algn="ctr" defTabSz="685783" fontAlgn="base">
              <a:spcBef>
                <a:spcPct val="50000"/>
              </a:spcBef>
              <a:spcAft>
                <a:spcPct val="0"/>
              </a:spcAft>
            </a:pPr>
            <a:endParaRPr lang="en-GB" sz="1800" b="1" dirty="0">
              <a:solidFill>
                <a:srgbClr val="001965"/>
              </a:solidFill>
            </a:endParaRPr>
          </a:p>
        </p:txBody>
      </p:sp>
      <p:sp>
        <p:nvSpPr>
          <p:cNvPr id="6" name="Subtitle 2"/>
          <p:cNvSpPr>
            <a:spLocks noGrp="1"/>
          </p:cNvSpPr>
          <p:nvPr>
            <p:ph type="subTitle" idx="1"/>
          </p:nvPr>
        </p:nvSpPr>
        <p:spPr>
          <a:xfrm>
            <a:off x="1286540" y="2416701"/>
            <a:ext cx="7325832" cy="702077"/>
          </a:xfrm>
        </p:spPr>
        <p:txBody>
          <a:bodyPr anchor="ctr">
            <a:noAutofit/>
          </a:bodyPr>
          <a:lstStyle>
            <a:lvl1pPr marL="0" indent="0" algn="l">
              <a:buNone/>
              <a:defRPr sz="1800" b="1">
                <a:solidFill>
                  <a:schemeClr val="bg1"/>
                </a:solidFill>
                <a:latin typeface="Verdana"/>
                <a:cs typeface="Verdana"/>
              </a:defRPr>
            </a:lvl1pPr>
            <a:lvl2pPr marL="342779" indent="0" algn="ctr">
              <a:buNone/>
              <a:defRPr>
                <a:solidFill>
                  <a:schemeClr val="tx1">
                    <a:tint val="75000"/>
                  </a:schemeClr>
                </a:solidFill>
              </a:defRPr>
            </a:lvl2pPr>
            <a:lvl3pPr marL="685561" indent="0" algn="ctr">
              <a:buNone/>
              <a:defRPr>
                <a:solidFill>
                  <a:schemeClr val="tx1">
                    <a:tint val="75000"/>
                  </a:schemeClr>
                </a:solidFill>
              </a:defRPr>
            </a:lvl3pPr>
            <a:lvl4pPr marL="1028340" indent="0" algn="ctr">
              <a:buNone/>
              <a:defRPr>
                <a:solidFill>
                  <a:schemeClr val="tx1">
                    <a:tint val="75000"/>
                  </a:schemeClr>
                </a:solidFill>
              </a:defRPr>
            </a:lvl4pPr>
            <a:lvl5pPr marL="1371120" indent="0" algn="ctr">
              <a:buNone/>
              <a:defRPr>
                <a:solidFill>
                  <a:schemeClr val="tx1">
                    <a:tint val="75000"/>
                  </a:schemeClr>
                </a:solidFill>
              </a:defRPr>
            </a:lvl5pPr>
            <a:lvl6pPr marL="1713902" indent="0" algn="ctr">
              <a:buNone/>
              <a:defRPr>
                <a:solidFill>
                  <a:schemeClr val="tx1">
                    <a:tint val="75000"/>
                  </a:schemeClr>
                </a:solidFill>
              </a:defRPr>
            </a:lvl6pPr>
            <a:lvl7pPr marL="2056681" indent="0" algn="ctr">
              <a:buNone/>
              <a:defRPr>
                <a:solidFill>
                  <a:schemeClr val="tx1">
                    <a:tint val="75000"/>
                  </a:schemeClr>
                </a:solidFill>
              </a:defRPr>
            </a:lvl7pPr>
            <a:lvl8pPr marL="2399460" indent="0" algn="ctr">
              <a:buNone/>
              <a:defRPr>
                <a:solidFill>
                  <a:schemeClr val="tx1">
                    <a:tint val="75000"/>
                  </a:schemeClr>
                </a:solidFill>
              </a:defRPr>
            </a:lvl8pPr>
            <a:lvl9pPr marL="2742239" indent="0" algn="ctr">
              <a:buNone/>
              <a:defRPr>
                <a:solidFill>
                  <a:schemeClr val="tx1">
                    <a:tint val="75000"/>
                  </a:schemeClr>
                </a:solidFill>
              </a:defRPr>
            </a:lvl9pPr>
          </a:lstStyle>
          <a:p>
            <a:r>
              <a:rPr lang="en-US"/>
              <a:t>Click to edit Master subtitle style</a:t>
            </a:r>
            <a:endParaRPr lang="en-US" dirty="0"/>
          </a:p>
        </p:txBody>
      </p:sp>
      <p:sp>
        <p:nvSpPr>
          <p:cNvPr id="7" name="Text Placeholder 8"/>
          <p:cNvSpPr>
            <a:spLocks noGrp="1"/>
          </p:cNvSpPr>
          <p:nvPr>
            <p:ph type="body" idx="10"/>
          </p:nvPr>
        </p:nvSpPr>
        <p:spPr>
          <a:xfrm>
            <a:off x="618064" y="1184553"/>
            <a:ext cx="7552802" cy="1232136"/>
          </a:xfrm>
        </p:spPr>
        <p:txBody>
          <a:bodyPr anchor="ctr"/>
          <a:lstStyle>
            <a:lvl1pPr marL="0" indent="0">
              <a:buNone/>
              <a:defRPr sz="2400" b="1">
                <a:solidFill>
                  <a:srgbClr val="003366"/>
                </a:solidFill>
                <a:latin typeface="Verdana"/>
                <a:cs typeface="Verdana"/>
              </a:defRPr>
            </a:lvl1pPr>
            <a:lvl2pPr>
              <a:buFont typeface="Arial"/>
              <a:buChar char="•"/>
              <a:defRPr sz="1100">
                <a:solidFill>
                  <a:srgbClr val="003366"/>
                </a:solidFill>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US"/>
              <a:t>Click to edit Master text styles</a:t>
            </a:r>
          </a:p>
        </p:txBody>
      </p:sp>
    </p:spTree>
    <p:extLst>
      <p:ext uri="{BB962C8B-B14F-4D97-AF65-F5344CB8AC3E}">
        <p14:creationId xmlns:p14="http://schemas.microsoft.com/office/powerpoint/2010/main" val="3427291989"/>
      </p:ext>
    </p:extLst>
  </p:cSld>
  <p:clrMapOvr>
    <a:masterClrMapping/>
  </p:clrMapOv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normAutofit/>
          </a:bodyPr>
          <a:lstStyle>
            <a:lvl1pPr>
              <a:buClr>
                <a:schemeClr val="accent1"/>
              </a:buClr>
              <a:defRPr sz="1600">
                <a:solidFill>
                  <a:schemeClr val="accent2"/>
                </a:solidFill>
              </a:defRPr>
            </a:lvl1pPr>
            <a:lvl2pPr>
              <a:buClr>
                <a:schemeClr val="tx2"/>
              </a:buClr>
              <a:defRPr sz="1400">
                <a:solidFill>
                  <a:schemeClr val="accent2"/>
                </a:solidFill>
              </a:defRPr>
            </a:lvl2pPr>
            <a:lvl3pPr>
              <a:buClr>
                <a:schemeClr val="accent5"/>
              </a:buClr>
              <a:defRPr sz="1200">
                <a:solidFill>
                  <a:schemeClr val="accent2"/>
                </a:solidFill>
              </a:defRPr>
            </a:lvl3pPr>
            <a:lvl4pPr>
              <a:buClr>
                <a:schemeClr val="accent3"/>
              </a:buClr>
              <a:defRPr sz="1100">
                <a:solidFill>
                  <a:schemeClr val="accent2"/>
                </a:solidFill>
              </a:defRPr>
            </a:lvl4pPr>
            <a:lvl5pPr>
              <a:buClr>
                <a:srgbClr val="001423"/>
              </a:buClr>
              <a:defRPr sz="1050">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lstStyle>
            <a:lvl1pPr>
              <a:defRPr sz="2000"/>
            </a:lvl1pPr>
          </a:lstStyle>
          <a:p>
            <a:r>
              <a:rPr lang="en-US" noProof="0" dirty="0"/>
              <a:t>Click to edit Master title style</a:t>
            </a:r>
            <a:endParaRPr lang="en-GB" noProof="0" dirty="0"/>
          </a:p>
        </p:txBody>
      </p:sp>
      <p:sp>
        <p:nvSpPr>
          <p:cNvPr id="3" name="Content Placeholder 2"/>
          <p:cNvSpPr>
            <a:spLocks noGrp="1"/>
          </p:cNvSpPr>
          <p:nvPr>
            <p:ph sz="quarter" idx="10" hasCustomPrompt="1"/>
          </p:nvPr>
        </p:nvSpPr>
        <p:spPr>
          <a:xfrm>
            <a:off x="316800" y="4673401"/>
            <a:ext cx="8510400" cy="367466"/>
          </a:xfrm>
        </p:spPr>
        <p:txBody>
          <a:bodyPr anchor="b" anchorCtr="0">
            <a:noAutofit/>
          </a:bodyPr>
          <a:lstStyle>
            <a:lvl1pPr marL="0" indent="0">
              <a:spcBef>
                <a:spcPts val="0"/>
              </a:spcBef>
              <a:buNone/>
              <a:defRPr sz="800">
                <a:solidFill>
                  <a:srgbClr val="82786F"/>
                </a:solidFill>
              </a:defRPr>
            </a:lvl1pPr>
            <a:lvl2pPr marL="265100" indent="0">
              <a:buNone/>
              <a:defRPr sz="800"/>
            </a:lvl2pPr>
            <a:lvl3pPr marL="536548" indent="0">
              <a:buNone/>
              <a:defRPr sz="800"/>
            </a:lvl3pPr>
            <a:lvl4pPr marL="807998" indent="0">
              <a:buNone/>
              <a:defRPr sz="800"/>
            </a:lvl4pPr>
            <a:lvl5pPr marL="1073096" indent="0">
              <a:buNone/>
              <a:defRPr sz="800"/>
            </a:lvl5pPr>
          </a:lstStyle>
          <a:p>
            <a:pPr lvl="0"/>
            <a:r>
              <a:rPr lang="en-US" dirty="0"/>
              <a:t>Click to add text</a:t>
            </a:r>
          </a:p>
        </p:txBody>
      </p:sp>
    </p:spTree>
    <p:extLst>
      <p:ext uri="{BB962C8B-B14F-4D97-AF65-F5344CB8AC3E}">
        <p14:creationId xmlns:p14="http://schemas.microsoft.com/office/powerpoint/2010/main" val="1450526294"/>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Tree>
    <p:extLst>
      <p:ext uri="{BB962C8B-B14F-4D97-AF65-F5344CB8AC3E}">
        <p14:creationId xmlns:p14="http://schemas.microsoft.com/office/powerpoint/2010/main" val="291665761"/>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085500620"/>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006533"/>
            <a:ext cx="8510400" cy="3261515"/>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800"/>
            </a:lvl1pPr>
          </a:lstStyle>
          <a:p>
            <a:r>
              <a:rPr lang="en-US" noProof="0" dirty="0"/>
              <a:t>Click to edit Master title style</a:t>
            </a:r>
            <a:endParaRPr lang="en-GB" noProof="0" dirty="0"/>
          </a:p>
        </p:txBody>
      </p:sp>
      <p:sp>
        <p:nvSpPr>
          <p:cNvPr id="5" name="Text Placeholder 2"/>
          <p:cNvSpPr>
            <a:spLocks noGrp="1"/>
          </p:cNvSpPr>
          <p:nvPr>
            <p:ph type="body" sz="quarter" idx="10" hasCustomPrompt="1"/>
          </p:nvPr>
        </p:nvSpPr>
        <p:spPr>
          <a:xfrm>
            <a:off x="316800" y="4746460"/>
            <a:ext cx="8509700" cy="238292"/>
          </a:xfrm>
        </p:spPr>
        <p:txBody>
          <a:bodyPr anchor="b"/>
          <a:lstStyle>
            <a:lvl1pPr marL="0" marR="0" indent="0" algn="l" defTabSz="91377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4268305941"/>
      </p:ext>
    </p:extLst>
  </p:cSld>
  <p:clrMapOvr>
    <a:masterClrMapping/>
  </p:clrMapOvr>
  <p:transition/>
  <p:extLst mod="1">
    <p:ext uri="{DCECCB84-F9BA-43D5-87BE-67443E8EF086}">
      <p15:sldGuideLst xmlns:p15="http://schemas.microsoft.com/office/powerpoint/2012/main" xmlns="">
        <p15:guide id="1" orient="horz" pos="314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80"/>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lstStyle>
            <a:lvl1pPr>
              <a:defRPr sz="2000"/>
            </a:lvl1pPr>
          </a:lstStyle>
          <a:p>
            <a:r>
              <a:rPr lang="en-US" noProof="0" dirty="0"/>
              <a:t>Click to edit Master title style</a:t>
            </a:r>
            <a:endParaRPr lang="en-GB" noProof="0" dirty="0"/>
          </a:p>
        </p:txBody>
      </p:sp>
      <p:sp>
        <p:nvSpPr>
          <p:cNvPr id="7" name="Rectangle 5"/>
          <p:cNvSpPr>
            <a:spLocks noGrp="1" noChangeArrowheads="1"/>
          </p:cNvSpPr>
          <p:nvPr>
            <p:ph type="ftr" sz="quarter" idx="3"/>
          </p:nvPr>
        </p:nvSpPr>
        <p:spPr bwMode="auto">
          <a:xfrm>
            <a:off x="4172988"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305" eaLnBrk="1" hangingPunct="1">
              <a:spcBef>
                <a:spcPct val="0"/>
              </a:spcBef>
              <a:defRPr sz="600" b="0">
                <a:solidFill>
                  <a:schemeClr val="accent3"/>
                </a:solidFill>
              </a:defRPr>
            </a:lvl1pPr>
          </a:lstStyle>
          <a:p>
            <a:pPr fontAlgn="base">
              <a:spcAft>
                <a:spcPct val="0"/>
              </a:spcAft>
              <a:defRPr/>
            </a:pPr>
            <a:r>
              <a:rPr lang="en-GB" dirty="0">
                <a:solidFill>
                  <a:srgbClr val="82786F"/>
                </a:solidFill>
                <a:cs typeface="Arial" pitchFamily="34" charset="0"/>
              </a:rPr>
              <a:t>Date of preparation: June 2014</a:t>
            </a:r>
          </a:p>
        </p:txBody>
      </p:sp>
      <p:sp>
        <p:nvSpPr>
          <p:cNvPr id="8"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305" eaLnBrk="1" hangingPunct="1">
              <a:spcBef>
                <a:spcPct val="0"/>
              </a:spcBef>
              <a:defRPr sz="600" b="0">
                <a:solidFill>
                  <a:schemeClr val="accent3"/>
                </a:solidFill>
              </a:defRPr>
            </a:lvl1pPr>
          </a:lstStyle>
          <a:p>
            <a:pPr fontAlgn="base">
              <a:spcAft>
                <a:spcPct val="0"/>
              </a:spcAft>
              <a:defRPr/>
            </a:pPr>
            <a:r>
              <a:rPr lang="en-US" dirty="0">
                <a:solidFill>
                  <a:srgbClr val="82786F"/>
                </a:solidFill>
                <a:cs typeface="Arial" pitchFamily="34" charset="0"/>
              </a:rPr>
              <a:t>Date</a:t>
            </a:r>
            <a:endParaRPr lang="en-GB" dirty="0">
              <a:solidFill>
                <a:srgbClr val="82786F"/>
              </a:solidFill>
              <a:cs typeface="Arial" pitchFamily="34" charset="0"/>
            </a:endParaRPr>
          </a:p>
        </p:txBody>
      </p:sp>
      <p:sp>
        <p:nvSpPr>
          <p:cNvPr id="9"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272" eaLnBrk="1" hangingPunct="1">
              <a:defRPr sz="600" b="0" smtClean="0">
                <a:solidFill>
                  <a:schemeClr val="accent3"/>
                </a:solidFill>
              </a:defRPr>
            </a:lvl1pPr>
          </a:lstStyle>
          <a:p>
            <a:pPr fontAlgn="base">
              <a:spcBef>
                <a:spcPct val="0"/>
              </a:spcBef>
              <a:spcAft>
                <a:spcPct val="0"/>
              </a:spcAft>
              <a:defRPr/>
            </a:pPr>
            <a:fld id="{4B01E8EF-57E8-4F85-90EB-163CEE512F88}" type="slidenum">
              <a:rPr lang="en-GB">
                <a:solidFill>
                  <a:srgbClr val="82786F"/>
                </a:solidFill>
                <a:cs typeface="Arial" pitchFamily="34" charset="0"/>
              </a:rPr>
              <a:pPr fontAlgn="base">
                <a:spcBef>
                  <a:spcPct val="0"/>
                </a:spcBef>
                <a:spcAft>
                  <a:spcPct val="0"/>
                </a:spcAft>
                <a:defRPr/>
              </a:pPr>
              <a:t>‹#›</a:t>
            </a:fld>
            <a:endParaRPr lang="en-GB" dirty="0">
              <a:solidFill>
                <a:srgbClr val="82786F"/>
              </a:solidFill>
              <a:cs typeface="Arial" pitchFamily="34" charset="0"/>
            </a:endParaRPr>
          </a:p>
        </p:txBody>
      </p:sp>
      <p:sp>
        <p:nvSpPr>
          <p:cNvPr id="10" name="Text Placeholder 2"/>
          <p:cNvSpPr>
            <a:spLocks noGrp="1"/>
          </p:cNvSpPr>
          <p:nvPr>
            <p:ph type="body" sz="quarter" idx="10"/>
          </p:nvPr>
        </p:nvSpPr>
        <p:spPr>
          <a:xfrm>
            <a:off x="316801" y="42793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332102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ext Placeholder 2"/>
          <p:cNvSpPr>
            <a:spLocks noGrp="1"/>
          </p:cNvSpPr>
          <p:nvPr>
            <p:ph type="body" sz="quarter" idx="11" hasCustomPrompt="1"/>
          </p:nvPr>
        </p:nvSpPr>
        <p:spPr>
          <a:xfrm>
            <a:off x="316800" y="4746460"/>
            <a:ext cx="8509700" cy="238292"/>
          </a:xfrm>
        </p:spPr>
        <p:txBody>
          <a:bodyPr anchor="b"/>
          <a:lstStyle>
            <a:lvl1pPr marL="0" marR="0" indent="0" algn="l" defTabSz="91377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1381747348"/>
      </p:ext>
    </p:extLst>
  </p:cSld>
  <p:clrMapOvr>
    <a:masterClrMapping/>
  </p:clrMapOvr>
  <p:transition/>
  <p:extLst mod="1">
    <p:ext uri="{DCECCB84-F9BA-43D5-87BE-67443E8EF086}">
      <p15:sldGuideLst xmlns:p15="http://schemas.microsoft.com/office/powerpoint/2012/main" xmlns="">
        <p15:guide id="1" orient="horz" pos="1620">
          <p15:clr>
            <a:srgbClr val="FBAE40"/>
          </p15:clr>
        </p15:guide>
        <p15:guide id="2" pos="2880">
          <p15:clr>
            <a:srgbClr val="FBAE40"/>
          </p15:clr>
        </p15:guide>
        <p15:guide id="3" orient="horz" pos="31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1_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910"/>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922" y="3025464"/>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1038268871"/>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006526"/>
            <a:ext cx="8510400" cy="3469221"/>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 name="Text Placeholder 2"/>
          <p:cNvSpPr>
            <a:spLocks noGrp="1"/>
          </p:cNvSpPr>
          <p:nvPr>
            <p:ph type="body" sz="quarter" idx="10" hasCustomPrompt="1"/>
          </p:nvPr>
        </p:nvSpPr>
        <p:spPr>
          <a:xfrm>
            <a:off x="316800" y="4746460"/>
            <a:ext cx="8509700" cy="238292"/>
          </a:xfrm>
        </p:spPr>
        <p:txBody>
          <a:bodyPr anchor="b"/>
          <a:lstStyle>
            <a:lvl1pPr marL="0" marR="0" indent="0" algn="l" defTabSz="91377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3428106383"/>
      </p:ext>
    </p:extLst>
  </p:cSld>
  <p:clrMapOvr>
    <a:masterClrMapping/>
  </p:clrMapOvr>
  <p:transition/>
  <p:extLst mod="1">
    <p:ext uri="{DCECCB84-F9BA-43D5-87BE-67443E8EF086}">
      <p15:sldGuideLst xmlns:p15="http://schemas.microsoft.com/office/powerpoint/2012/main" xmlns="">
        <p15:guide id="1" pos="288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ext Placeholder 2"/>
          <p:cNvSpPr>
            <a:spLocks noGrp="1"/>
          </p:cNvSpPr>
          <p:nvPr>
            <p:ph type="body" sz="quarter" idx="11" hasCustomPrompt="1"/>
          </p:nvPr>
        </p:nvSpPr>
        <p:spPr>
          <a:xfrm>
            <a:off x="316800" y="4746460"/>
            <a:ext cx="8509700" cy="238292"/>
          </a:xfrm>
        </p:spPr>
        <p:txBody>
          <a:bodyPr anchor="b"/>
          <a:lstStyle>
            <a:lvl1pPr marL="0" marR="0" indent="0" algn="l" defTabSz="91377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3523193324"/>
      </p:ext>
    </p:extLst>
  </p:cSld>
  <p:clrMapOvr>
    <a:masterClrMapping/>
  </p:clrMapOvr>
  <p:transition/>
  <p:extLst mod="1">
    <p:ext uri="{DCECCB84-F9BA-43D5-87BE-67443E8EF086}">
      <p15:sldGuideLst xmlns:p15="http://schemas.microsoft.com/office/powerpoint/2012/main" xmlns="">
        <p15:guide id="1" orient="horz" pos="1620">
          <p15:clr>
            <a:srgbClr val="FBAE40"/>
          </p15:clr>
        </p15:guide>
        <p15:guide id="2" pos="2880">
          <p15:clr>
            <a:srgbClr val="FBAE40"/>
          </p15:clr>
        </p15:guide>
        <p15:guide id="3" orient="horz" pos="31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000"/>
            </a:lvl1pPr>
          </a:lstStyle>
          <a:p>
            <a:r>
              <a:rPr lang="en-US" noProof="0" dirty="0"/>
              <a:t>Click to edit Master title style</a:t>
            </a:r>
            <a:endParaRPr lang="en-GB" noProof="0" dirty="0"/>
          </a:p>
        </p:txBody>
      </p:sp>
      <p:sp>
        <p:nvSpPr>
          <p:cNvPr id="36" name="Content Placeholder 2"/>
          <p:cNvSpPr>
            <a:spLocks noGrp="1"/>
          </p:cNvSpPr>
          <p:nvPr>
            <p:ph idx="1"/>
          </p:nvPr>
        </p:nvSpPr>
        <p:spPr>
          <a:xfrm>
            <a:off x="316803" y="1303562"/>
            <a:ext cx="2636908"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3131496" y="1303562"/>
            <a:ext cx="2636908"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Content Placeholder 2"/>
          <p:cNvSpPr>
            <a:spLocks noGrp="1"/>
          </p:cNvSpPr>
          <p:nvPr>
            <p:ph idx="12"/>
          </p:nvPr>
        </p:nvSpPr>
        <p:spPr>
          <a:xfrm>
            <a:off x="5946192" y="1303562"/>
            <a:ext cx="2636908"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7" name="Text Placeholder 2"/>
          <p:cNvSpPr>
            <a:spLocks noGrp="1"/>
          </p:cNvSpPr>
          <p:nvPr>
            <p:ph type="body" sz="quarter" idx="13" hasCustomPrompt="1"/>
          </p:nvPr>
        </p:nvSpPr>
        <p:spPr>
          <a:xfrm>
            <a:off x="316800" y="4746460"/>
            <a:ext cx="8509700" cy="238292"/>
          </a:xfrm>
        </p:spPr>
        <p:txBody>
          <a:bodyPr anchor="b"/>
          <a:lstStyle>
            <a:lvl1pPr marL="0" marR="0" indent="0" algn="l" defTabSz="913770"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da-DK" dirty="0"/>
              <a:t>Footnotes</a:t>
            </a:r>
          </a:p>
          <a:p>
            <a:r>
              <a:rPr lang="da-DK" dirty="0"/>
              <a:t>Reference</a:t>
            </a:r>
          </a:p>
        </p:txBody>
      </p:sp>
    </p:spTree>
    <p:extLst>
      <p:ext uri="{BB962C8B-B14F-4D97-AF65-F5344CB8AC3E}">
        <p14:creationId xmlns:p14="http://schemas.microsoft.com/office/powerpoint/2010/main" val="2212921689"/>
      </p:ext>
    </p:extLst>
  </p:cSld>
  <p:clrMapOvr>
    <a:masterClrMapping/>
  </p:clrMapOvr>
  <p:transition/>
  <p:extLst mod="1">
    <p:ext uri="{DCECCB84-F9BA-43D5-87BE-67443E8EF086}">
      <p15:sldGuideLst xmlns:p15="http://schemas.microsoft.com/office/powerpoint/2012/main" xmlns="">
        <p15:guide id="1" orient="horz" pos="1620">
          <p15:clr>
            <a:srgbClr val="FBAE40"/>
          </p15:clr>
        </p15:guide>
        <p15:guide id="2" pos="28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GSEM Title">
    <p:spTree>
      <p:nvGrpSpPr>
        <p:cNvPr id="1" name=""/>
        <p:cNvGrpSpPr/>
        <p:nvPr/>
      </p:nvGrpSpPr>
      <p:grpSpPr>
        <a:xfrm>
          <a:off x="0" y="0"/>
          <a:ext cx="0" cy="0"/>
          <a:chOff x="0" y="0"/>
          <a:chExt cx="0" cy="0"/>
        </a:xfrm>
      </p:grpSpPr>
      <p:sp>
        <p:nvSpPr>
          <p:cNvPr id="4" name="Rounded Rectangle 3"/>
          <p:cNvSpPr/>
          <p:nvPr userDrawn="1"/>
        </p:nvSpPr>
        <p:spPr bwMode="auto">
          <a:xfrm>
            <a:off x="934606" y="2121035"/>
            <a:ext cx="7741850" cy="1008111"/>
          </a:xfrm>
          <a:prstGeom prst="roundRect">
            <a:avLst/>
          </a:prstGeom>
          <a:solidFill>
            <a:srgbClr val="10357E"/>
          </a:solidFill>
          <a:ln w="28575"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algn="ctr" fontAlgn="base">
              <a:spcBef>
                <a:spcPct val="50000"/>
              </a:spcBef>
              <a:spcAft>
                <a:spcPct val="0"/>
              </a:spcAft>
            </a:pPr>
            <a:endParaRPr lang="en-GB" sz="1800" b="1" dirty="0">
              <a:solidFill>
                <a:srgbClr val="001965"/>
              </a:solidFill>
            </a:endParaRPr>
          </a:p>
        </p:txBody>
      </p:sp>
      <p:sp>
        <p:nvSpPr>
          <p:cNvPr id="5" name="Rounded Rectangle 4"/>
          <p:cNvSpPr/>
          <p:nvPr userDrawn="1"/>
        </p:nvSpPr>
        <p:spPr bwMode="auto">
          <a:xfrm>
            <a:off x="467548" y="1059583"/>
            <a:ext cx="7703319" cy="1368152"/>
          </a:xfrm>
          <a:prstGeom prst="roundRect">
            <a:avLst/>
          </a:prstGeom>
          <a:solidFill>
            <a:schemeClr val="bg1"/>
          </a:solidFill>
          <a:ln w="38100" cap="flat" cmpd="sng" algn="ctr">
            <a:solidFill>
              <a:schemeClr val="tx1"/>
            </a:solid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algn="ctr" fontAlgn="base">
              <a:spcBef>
                <a:spcPct val="50000"/>
              </a:spcBef>
              <a:spcAft>
                <a:spcPct val="0"/>
              </a:spcAft>
            </a:pPr>
            <a:endParaRPr lang="en-GB" sz="1800" b="1" dirty="0">
              <a:solidFill>
                <a:srgbClr val="001965"/>
              </a:solidFill>
            </a:endParaRPr>
          </a:p>
        </p:txBody>
      </p:sp>
      <p:sp>
        <p:nvSpPr>
          <p:cNvPr id="6" name="Subtitle 2"/>
          <p:cNvSpPr>
            <a:spLocks noGrp="1"/>
          </p:cNvSpPr>
          <p:nvPr>
            <p:ph type="subTitle" idx="1"/>
          </p:nvPr>
        </p:nvSpPr>
        <p:spPr>
          <a:xfrm>
            <a:off x="1286540" y="2416701"/>
            <a:ext cx="7325832" cy="702077"/>
          </a:xfrm>
        </p:spPr>
        <p:txBody>
          <a:bodyPr anchor="ctr">
            <a:noAutofit/>
          </a:bodyPr>
          <a:lstStyle>
            <a:lvl1pPr marL="0" indent="0" algn="l">
              <a:buNone/>
              <a:defRPr sz="1800" b="1">
                <a:solidFill>
                  <a:schemeClr val="bg1"/>
                </a:solidFill>
                <a:latin typeface="Verdana"/>
                <a:cs typeface="Verdana"/>
              </a:defRPr>
            </a:lvl1pPr>
            <a:lvl2pPr marL="342788" indent="0" algn="ctr">
              <a:buNone/>
              <a:defRPr>
                <a:solidFill>
                  <a:schemeClr val="tx1">
                    <a:tint val="75000"/>
                  </a:schemeClr>
                </a:solidFill>
              </a:defRPr>
            </a:lvl2pPr>
            <a:lvl3pPr marL="685578" indent="0" algn="ctr">
              <a:buNone/>
              <a:defRPr>
                <a:solidFill>
                  <a:schemeClr val="tx1">
                    <a:tint val="75000"/>
                  </a:schemeClr>
                </a:solidFill>
              </a:defRPr>
            </a:lvl3pPr>
            <a:lvl4pPr marL="1028366" indent="0" algn="ctr">
              <a:buNone/>
              <a:defRPr>
                <a:solidFill>
                  <a:schemeClr val="tx1">
                    <a:tint val="75000"/>
                  </a:schemeClr>
                </a:solidFill>
              </a:defRPr>
            </a:lvl4pPr>
            <a:lvl5pPr marL="1371154" indent="0" algn="ctr">
              <a:buNone/>
              <a:defRPr>
                <a:solidFill>
                  <a:schemeClr val="tx1">
                    <a:tint val="75000"/>
                  </a:schemeClr>
                </a:solidFill>
              </a:defRPr>
            </a:lvl5pPr>
            <a:lvl6pPr marL="1713944" indent="0" algn="ctr">
              <a:buNone/>
              <a:defRPr>
                <a:solidFill>
                  <a:schemeClr val="tx1">
                    <a:tint val="75000"/>
                  </a:schemeClr>
                </a:solidFill>
              </a:defRPr>
            </a:lvl6pPr>
            <a:lvl7pPr marL="2056732" indent="0" algn="ctr">
              <a:buNone/>
              <a:defRPr>
                <a:solidFill>
                  <a:schemeClr val="tx1">
                    <a:tint val="75000"/>
                  </a:schemeClr>
                </a:solidFill>
              </a:defRPr>
            </a:lvl7pPr>
            <a:lvl8pPr marL="2399520" indent="0" algn="ctr">
              <a:buNone/>
              <a:defRPr>
                <a:solidFill>
                  <a:schemeClr val="tx1">
                    <a:tint val="75000"/>
                  </a:schemeClr>
                </a:solidFill>
              </a:defRPr>
            </a:lvl8pPr>
            <a:lvl9pPr marL="2742308" indent="0" algn="ctr">
              <a:buNone/>
              <a:defRPr>
                <a:solidFill>
                  <a:schemeClr val="tx1">
                    <a:tint val="75000"/>
                  </a:schemeClr>
                </a:solidFill>
              </a:defRPr>
            </a:lvl9pPr>
          </a:lstStyle>
          <a:p>
            <a:r>
              <a:rPr lang="en-US"/>
              <a:t>Click to edit Master subtitle style</a:t>
            </a:r>
            <a:endParaRPr lang="en-US" dirty="0"/>
          </a:p>
        </p:txBody>
      </p:sp>
      <p:sp>
        <p:nvSpPr>
          <p:cNvPr id="7" name="Text Placeholder 8"/>
          <p:cNvSpPr>
            <a:spLocks noGrp="1"/>
          </p:cNvSpPr>
          <p:nvPr>
            <p:ph type="body" idx="10"/>
          </p:nvPr>
        </p:nvSpPr>
        <p:spPr>
          <a:xfrm>
            <a:off x="618064" y="1184553"/>
            <a:ext cx="7552802" cy="1232136"/>
          </a:xfrm>
        </p:spPr>
        <p:txBody>
          <a:bodyPr anchor="ctr"/>
          <a:lstStyle>
            <a:lvl1pPr marL="0" indent="0">
              <a:buNone/>
              <a:defRPr sz="2400" b="1">
                <a:solidFill>
                  <a:srgbClr val="003366"/>
                </a:solidFill>
                <a:latin typeface="Verdana"/>
                <a:cs typeface="Verdana"/>
              </a:defRPr>
            </a:lvl1pPr>
            <a:lvl2pPr>
              <a:buFont typeface="Arial"/>
              <a:buChar char="•"/>
              <a:defRPr sz="1100">
                <a:solidFill>
                  <a:srgbClr val="003366"/>
                </a:solidFill>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US"/>
              <a:t>Click to edit Master text styles</a:t>
            </a:r>
          </a:p>
        </p:txBody>
      </p:sp>
    </p:spTree>
    <p:extLst>
      <p:ext uri="{BB962C8B-B14F-4D97-AF65-F5344CB8AC3E}">
        <p14:creationId xmlns:p14="http://schemas.microsoft.com/office/powerpoint/2010/main" val="304600734"/>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Section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77"/>
            <a:ext cx="3542400" cy="1531543"/>
          </a:xfrm>
        </p:spPr>
        <p:txBody>
          <a:bodyPr anchor="b"/>
          <a:lstStyle>
            <a:lvl1pPr algn="r">
              <a:lnSpc>
                <a:spcPct val="85000"/>
              </a:lnSpc>
              <a:defRPr sz="32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5283889" y="3025464"/>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smtClean="0"/>
              <a:t>Click to edit Master subtitle style</a:t>
            </a:r>
            <a:endParaRPr lang="en-GB" noProof="0" dirty="0" smtClean="0"/>
          </a:p>
        </p:txBody>
      </p:sp>
    </p:spTree>
    <p:extLst>
      <p:ext uri="{BB962C8B-B14F-4D97-AF65-F5344CB8AC3E}">
        <p14:creationId xmlns:p14="http://schemas.microsoft.com/office/powerpoint/2010/main" val="2829037543"/>
      </p:ext>
    </p:extLst>
  </p:cSld>
  <p:clrMapOvr>
    <a:masterClrMapping/>
  </p:clrMapOv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 Content | Footer">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2"/>
            <a:ext cx="8510400" cy="391412"/>
          </a:xfrm>
        </p:spPr>
        <p:txBody>
          <a:bodyPr/>
          <a:lstStyle>
            <a:lvl1pPr>
              <a:defRPr sz="2000"/>
            </a:lvl1pPr>
          </a:lstStyle>
          <a:p>
            <a:r>
              <a:rPr lang="en-US" noProof="0" dirty="0" smtClean="0"/>
              <a:t>Click to edit Master title style</a:t>
            </a:r>
            <a:endParaRPr lang="en-GB" noProof="0" dirty="0"/>
          </a:p>
        </p:txBody>
      </p:sp>
      <p:sp>
        <p:nvSpPr>
          <p:cNvPr id="3" name="Text Placeholder 2"/>
          <p:cNvSpPr>
            <a:spLocks noGrp="1"/>
          </p:cNvSpPr>
          <p:nvPr>
            <p:ph type="body" sz="quarter" idx="10" hasCustomPrompt="1"/>
          </p:nvPr>
        </p:nvSpPr>
        <p:spPr>
          <a:xfrm>
            <a:off x="316801" y="4738417"/>
            <a:ext cx="8509700" cy="272850"/>
          </a:xfrm>
        </p:spPr>
        <p:txBody>
          <a:bodyPr anchor="b"/>
          <a:lstStyle>
            <a:lvl1pPr marL="0" marR="0" indent="0" algn="l" defTabSz="914378"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en-GB" noProof="0" dirty="0" smtClean="0"/>
              <a:t>Footnotes</a:t>
            </a:r>
          </a:p>
          <a:p>
            <a:r>
              <a:rPr lang="en-GB" noProof="0" dirty="0" smtClean="0"/>
              <a:t>Reference</a:t>
            </a:r>
          </a:p>
        </p:txBody>
      </p:sp>
      <p:sp>
        <p:nvSpPr>
          <p:cNvPr id="5" name="Content Placeholder 2"/>
          <p:cNvSpPr>
            <a:spLocks noGrp="1"/>
          </p:cNvSpPr>
          <p:nvPr>
            <p:ph idx="1"/>
          </p:nvPr>
        </p:nvSpPr>
        <p:spPr>
          <a:xfrm>
            <a:off x="316800" y="1309533"/>
            <a:ext cx="8510400" cy="307381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lvl1pPr>
              <a:lnSpc>
                <a:spcPct val="100000"/>
              </a:lnSpc>
              <a:spcBef>
                <a:spcPts val="432"/>
              </a:spcBef>
              <a:spcAft>
                <a:spcPts val="300"/>
              </a:spcAft>
              <a:defRPr lang="en-US" sz="1800" noProof="0" dirty="0" smtClean="0"/>
            </a:lvl1pPr>
            <a:lvl2pPr>
              <a:lnSpc>
                <a:spcPct val="100000"/>
              </a:lnSpc>
              <a:spcBef>
                <a:spcPts val="432"/>
              </a:spcBef>
              <a:spcAft>
                <a:spcPts val="300"/>
              </a:spcAft>
              <a:defRPr lang="en-US" sz="1600" noProof="0" dirty="0" smtClean="0"/>
            </a:lvl2pPr>
            <a:lvl3pPr>
              <a:lnSpc>
                <a:spcPct val="100000"/>
              </a:lnSpc>
              <a:spcBef>
                <a:spcPts val="432"/>
              </a:spcBef>
              <a:spcAft>
                <a:spcPts val="300"/>
              </a:spcAft>
              <a:defRPr lang="en-US" sz="1400" noProof="0" dirty="0" smtClean="0"/>
            </a:lvl3pPr>
            <a:lvl4pPr>
              <a:lnSpc>
                <a:spcPct val="100000"/>
              </a:lnSpc>
              <a:spcBef>
                <a:spcPts val="432"/>
              </a:spcBef>
              <a:spcAft>
                <a:spcPts val="300"/>
              </a:spcAft>
              <a:defRPr lang="en-US" sz="1200" noProof="0" dirty="0" smtClean="0"/>
            </a:lvl4pPr>
            <a:lvl5pPr>
              <a:lnSpc>
                <a:spcPct val="100000"/>
              </a:lnSpc>
              <a:spcBef>
                <a:spcPts val="432"/>
              </a:spcBef>
              <a:spcAft>
                <a:spcPts val="300"/>
              </a:spcAft>
              <a:defRPr lang="en-GB" sz="1100" noProof="0" dirty="0"/>
            </a:lvl5pPr>
          </a:lstStyle>
          <a:p>
            <a:pPr lvl="0">
              <a:spcBef>
                <a:spcPts val="450"/>
              </a:spcBef>
              <a:spcAft>
                <a:spcPts val="450"/>
              </a:spcAft>
            </a:pPr>
            <a:r>
              <a:rPr lang="en-GB" noProof="0" dirty="0" smtClean="0"/>
              <a:t>Click to edit Master text styles</a:t>
            </a:r>
          </a:p>
          <a:p>
            <a:pPr lvl="1">
              <a:spcBef>
                <a:spcPts val="450"/>
              </a:spcBef>
              <a:spcAft>
                <a:spcPts val="450"/>
              </a:spcAft>
            </a:pPr>
            <a:r>
              <a:rPr lang="en-GB" noProof="0" dirty="0" smtClean="0"/>
              <a:t>Second level</a:t>
            </a:r>
          </a:p>
          <a:p>
            <a:pPr lvl="2">
              <a:spcBef>
                <a:spcPts val="450"/>
              </a:spcBef>
              <a:spcAft>
                <a:spcPts val="450"/>
              </a:spcAft>
              <a:buClr>
                <a:schemeClr val="accent5"/>
              </a:buClr>
            </a:pPr>
            <a:r>
              <a:rPr lang="en-GB" noProof="0" dirty="0" smtClean="0"/>
              <a:t>Third level</a:t>
            </a:r>
          </a:p>
          <a:p>
            <a:pPr lvl="3">
              <a:spcBef>
                <a:spcPts val="450"/>
              </a:spcBef>
              <a:spcAft>
                <a:spcPts val="450"/>
              </a:spcAft>
              <a:buClr>
                <a:schemeClr val="accent3"/>
              </a:buClr>
            </a:pPr>
            <a:r>
              <a:rPr lang="en-GB" noProof="0" dirty="0" smtClean="0"/>
              <a:t>Fourth level</a:t>
            </a:r>
          </a:p>
          <a:p>
            <a:pPr lvl="4">
              <a:spcBef>
                <a:spcPts val="450"/>
              </a:spcBef>
              <a:spcAft>
                <a:spcPts val="450"/>
              </a:spcAft>
            </a:pPr>
            <a:r>
              <a:rPr lang="en-GB" noProof="0" dirty="0" smtClean="0"/>
              <a:t>Fifth level</a:t>
            </a:r>
            <a:endParaRPr lang="en-GB" noProof="0" dirty="0"/>
          </a:p>
        </p:txBody>
      </p:sp>
    </p:spTree>
    <p:extLst>
      <p:ext uri="{BB962C8B-B14F-4D97-AF65-F5344CB8AC3E}">
        <p14:creationId xmlns:p14="http://schemas.microsoft.com/office/powerpoint/2010/main" val="40475808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xmlns="">
        <p15:guide id="1" orient="horz" pos="317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Subtitle | Content | Foot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01298"/>
            <a:ext cx="8510400" cy="3073817"/>
          </a:xfrm>
        </p:spPr>
        <p:txBody>
          <a:bodyPr/>
          <a:lstStyle>
            <a:lvl1pPr>
              <a:spcBef>
                <a:spcPts val="450"/>
              </a:spcBef>
              <a:spcAft>
                <a:spcPts val="450"/>
              </a:spcAft>
              <a:buClr>
                <a:schemeClr val="accent1"/>
              </a:buClr>
              <a:defRPr sz="1800">
                <a:solidFill>
                  <a:schemeClr val="accent2"/>
                </a:solidFill>
              </a:defRPr>
            </a:lvl1pPr>
            <a:lvl2pPr>
              <a:spcBef>
                <a:spcPts val="450"/>
              </a:spcBef>
              <a:spcAft>
                <a:spcPts val="450"/>
              </a:spcAft>
              <a:buClr>
                <a:schemeClr val="tx2"/>
              </a:buClr>
              <a:defRPr sz="1600">
                <a:solidFill>
                  <a:schemeClr val="accent2"/>
                </a:solidFill>
              </a:defRPr>
            </a:lvl2pPr>
            <a:lvl3pPr>
              <a:spcBef>
                <a:spcPts val="450"/>
              </a:spcBef>
              <a:spcAft>
                <a:spcPts val="450"/>
              </a:spcAft>
              <a:buClr>
                <a:schemeClr val="accent5"/>
              </a:buClr>
              <a:defRPr sz="1400">
                <a:solidFill>
                  <a:schemeClr val="accent2"/>
                </a:solidFill>
              </a:defRPr>
            </a:lvl3pPr>
            <a:lvl4pPr>
              <a:spcBef>
                <a:spcPts val="450"/>
              </a:spcBef>
              <a:spcAft>
                <a:spcPts val="450"/>
              </a:spcAft>
              <a:buClr>
                <a:schemeClr val="accent3"/>
              </a:buClr>
              <a:defRPr sz="1200">
                <a:solidFill>
                  <a:schemeClr val="accent2"/>
                </a:solidFill>
              </a:defRPr>
            </a:lvl4pPr>
            <a:lvl5pPr>
              <a:spcBef>
                <a:spcPts val="450"/>
              </a:spcBef>
              <a:spcAft>
                <a:spcPts val="450"/>
              </a:spcAft>
              <a:buClr>
                <a:srgbClr val="001423"/>
              </a:buClr>
              <a:defRPr sz="1100">
                <a:solidFill>
                  <a:schemeClr val="accent2"/>
                </a:solidFill>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5" name="Text Placeholder 4"/>
          <p:cNvSpPr>
            <a:spLocks noGrp="1"/>
          </p:cNvSpPr>
          <p:nvPr>
            <p:ph type="body" sz="quarter" idx="11" hasCustomPrompt="1"/>
          </p:nvPr>
        </p:nvSpPr>
        <p:spPr>
          <a:xfrm>
            <a:off x="316707" y="856079"/>
            <a:ext cx="8509397" cy="222647"/>
          </a:xfrm>
        </p:spPr>
        <p:txBody>
          <a:bodyPr/>
          <a:lstStyle>
            <a:lvl1pPr marL="0" indent="0">
              <a:buNone/>
              <a:defRPr sz="1400" b="1">
                <a:solidFill>
                  <a:srgbClr val="009FDA"/>
                </a:solidFill>
              </a:defRPr>
            </a:lvl1pPr>
            <a:lvl2pPr marL="265105" indent="0">
              <a:buNone/>
              <a:defRPr sz="1050" b="1">
                <a:solidFill>
                  <a:srgbClr val="009FDA"/>
                </a:solidFill>
              </a:defRPr>
            </a:lvl2pPr>
            <a:lvl3pPr marL="536561" indent="0">
              <a:buNone/>
              <a:defRPr sz="1050" b="1">
                <a:solidFill>
                  <a:srgbClr val="009FDA"/>
                </a:solidFill>
              </a:defRPr>
            </a:lvl3pPr>
            <a:lvl4pPr marL="808018" indent="0">
              <a:buNone/>
              <a:defRPr sz="1050" b="1">
                <a:solidFill>
                  <a:srgbClr val="009FDA"/>
                </a:solidFill>
              </a:defRPr>
            </a:lvl4pPr>
            <a:lvl5pPr marL="1073123" indent="0">
              <a:buNone/>
              <a:defRPr sz="1050" b="1">
                <a:solidFill>
                  <a:srgbClr val="009FDA"/>
                </a:solidFill>
              </a:defRPr>
            </a:lvl5pPr>
          </a:lstStyle>
          <a:p>
            <a:pPr lvl="0"/>
            <a:r>
              <a:rPr lang="en-GB" noProof="0" dirty="0" smtClean="0"/>
              <a:t>Enter subtitle here in </a:t>
            </a:r>
            <a:r>
              <a:rPr lang="en-GB" noProof="0" dirty="0" err="1" smtClean="0"/>
              <a:t>verdana</a:t>
            </a:r>
            <a:r>
              <a:rPr lang="en-GB" noProof="0" dirty="0" smtClean="0"/>
              <a:t>, </a:t>
            </a:r>
            <a:r>
              <a:rPr lang="en-GB" noProof="0" dirty="0" err="1" smtClean="0"/>
              <a:t>nn</a:t>
            </a:r>
            <a:r>
              <a:rPr lang="en-GB" noProof="0" dirty="0" smtClean="0"/>
              <a:t> light blue, 14 </a:t>
            </a:r>
            <a:r>
              <a:rPr lang="en-GB" noProof="0" dirty="0" err="1" smtClean="0"/>
              <a:t>pt</a:t>
            </a:r>
            <a:endParaRPr lang="en-GB" noProof="0" dirty="0"/>
          </a:p>
        </p:txBody>
      </p:sp>
      <p:sp>
        <p:nvSpPr>
          <p:cNvPr id="7" name="Text Placeholder 2"/>
          <p:cNvSpPr>
            <a:spLocks noGrp="1"/>
          </p:cNvSpPr>
          <p:nvPr>
            <p:ph type="body" sz="quarter" idx="12" hasCustomPrompt="1"/>
          </p:nvPr>
        </p:nvSpPr>
        <p:spPr>
          <a:xfrm>
            <a:off x="316801" y="4738417"/>
            <a:ext cx="8509700" cy="272850"/>
          </a:xfrm>
        </p:spPr>
        <p:txBody>
          <a:bodyPr anchor="b"/>
          <a:lstStyle>
            <a:lvl1pPr marL="0" marR="0" indent="0" algn="l" defTabSz="914378" rtl="0" eaLnBrk="1" fontAlgn="base" latinLnBrk="0" hangingPunct="1">
              <a:lnSpc>
                <a:spcPct val="100000"/>
              </a:lnSpc>
              <a:spcBef>
                <a:spcPts val="0"/>
              </a:spcBef>
              <a:spcAft>
                <a:spcPts val="0"/>
              </a:spcAft>
              <a:buClr>
                <a:schemeClr val="accent1"/>
              </a:buClr>
              <a:buSzTx/>
              <a:buFont typeface="Verdana" pitchFamily="34" charset="0"/>
              <a:buNone/>
              <a:tabLst/>
              <a:defRPr sz="800" baseline="0">
                <a:solidFill>
                  <a:srgbClr val="82786F"/>
                </a:solidFill>
              </a:defRPr>
            </a:lvl1pPr>
          </a:lstStyle>
          <a:p>
            <a:r>
              <a:rPr lang="en-GB" noProof="0" dirty="0" smtClean="0"/>
              <a:t>Footnotes</a:t>
            </a:r>
          </a:p>
          <a:p>
            <a:r>
              <a:rPr lang="en-GB" noProof="0" dirty="0" smtClean="0"/>
              <a:t>Reference</a:t>
            </a:r>
          </a:p>
        </p:txBody>
      </p:sp>
    </p:spTree>
    <p:extLst>
      <p:ext uri="{BB962C8B-B14F-4D97-AF65-F5344CB8AC3E}">
        <p14:creationId xmlns:p14="http://schemas.microsoft.com/office/powerpoint/2010/main" val="670755840"/>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xmlns="">
        <p15:guide id="1" orient="horz" pos="317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lstStyle>
            <a:lvl1pPr>
              <a:defRPr sz="2000"/>
            </a:lvl1pPr>
          </a:lstStyle>
          <a:p>
            <a:r>
              <a:rPr lang="en-US" noProof="0"/>
              <a:t>Click to edit Master title style</a:t>
            </a:r>
            <a:endParaRPr lang="en-GB" noProof="0" dirty="0"/>
          </a:p>
        </p:txBody>
      </p:sp>
      <p:sp>
        <p:nvSpPr>
          <p:cNvPr id="3" name="Content Placeholder 2"/>
          <p:cNvSpPr>
            <a:spLocks noGrp="1"/>
          </p:cNvSpPr>
          <p:nvPr>
            <p:ph sz="quarter" idx="10" hasCustomPrompt="1"/>
          </p:nvPr>
        </p:nvSpPr>
        <p:spPr>
          <a:xfrm>
            <a:off x="316800" y="4586307"/>
            <a:ext cx="8510400" cy="454579"/>
          </a:xfrm>
        </p:spPr>
        <p:txBody>
          <a:bodyPr rIns="0" anchor="b" anchorCtr="0">
            <a:noAutofit/>
          </a:bodyPr>
          <a:lstStyle>
            <a:lvl1pPr marL="0" indent="0">
              <a:spcBef>
                <a:spcPts val="0"/>
              </a:spcBef>
              <a:buNone/>
              <a:defRPr sz="800">
                <a:solidFill>
                  <a:srgbClr val="82786F"/>
                </a:solidFill>
              </a:defRPr>
            </a:lvl1pPr>
            <a:lvl2pPr marL="265106" indent="0">
              <a:buNone/>
              <a:defRPr sz="800"/>
            </a:lvl2pPr>
            <a:lvl3pPr marL="536561" indent="0">
              <a:buNone/>
              <a:defRPr sz="800"/>
            </a:lvl3pPr>
            <a:lvl4pPr marL="808018" indent="0">
              <a:buNone/>
              <a:defRPr sz="800"/>
            </a:lvl4pPr>
            <a:lvl5pPr marL="1073123" indent="0">
              <a:buNone/>
              <a:defRPr sz="800"/>
            </a:lvl5pPr>
          </a:lstStyle>
          <a:p>
            <a:pPr lvl="0"/>
            <a:r>
              <a:rPr lang="en-US" dirty="0"/>
              <a:t>Click to add text</a:t>
            </a:r>
          </a:p>
        </p:txBody>
      </p:sp>
    </p:spTree>
    <p:extLst>
      <p:ext uri="{BB962C8B-B14F-4D97-AF65-F5344CB8AC3E}">
        <p14:creationId xmlns:p14="http://schemas.microsoft.com/office/powerpoint/2010/main" val="2146689393"/>
      </p:ext>
    </p:extLst>
  </p:cSld>
  <p:clrMapOvr>
    <a:masterClrMapping/>
  </p:clrMapOvr>
  <p:transition/>
  <p:extLst mod="1">
    <p:ext uri="{DCECCB84-F9BA-43D5-87BE-67443E8EF086}">
      <p15:sldGuideLst xmlns:p15="http://schemas.microsoft.com/office/powerpoint/2012/main" xmlns=""/>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dirty="0"/>
              <a:t>Click to edit Master title style</a:t>
            </a:r>
            <a:endParaRPr lang="da-DK" dirty="0"/>
          </a:p>
        </p:txBody>
      </p:sp>
      <p:sp>
        <p:nvSpPr>
          <p:cNvPr id="3" name="Text Placeholder 2"/>
          <p:cNvSpPr>
            <a:spLocks noGrp="1"/>
          </p:cNvSpPr>
          <p:nvPr>
            <p:ph type="body" sz="quarter" idx="10"/>
          </p:nvPr>
        </p:nvSpPr>
        <p:spPr>
          <a:xfrm>
            <a:off x="316801" y="4279300"/>
            <a:ext cx="8509700" cy="734250"/>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15012571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mod="1">
    <p:ext uri="{DCECCB84-F9BA-43D5-87BE-67443E8EF086}">
      <p15:sldGuideLst xmlns:p15="http://schemas.microsoft.com/office/powerpoint/2012/main" xmlns="">
        <p15:guide id="1" orient="horz" pos="1620">
          <p15:clr>
            <a:srgbClr val="FBAE40"/>
          </p15:clr>
        </p15:guide>
        <p15:guide id="2" pos="2880">
          <p15:clr>
            <a:srgbClr val="FBAE40"/>
          </p15:clr>
        </p15:guide>
        <p15:guide id="3" orient="horz" pos="31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1" y="774126"/>
            <a:ext cx="8510400" cy="277439"/>
          </a:xfrm>
          <a:extLst>
            <a:ext uri="{909E8E84-426E-40DD-AFC4-6F175D3DCCD1}">
              <a14:hiddenFill xmlns:a14="http://schemas.microsoft.com/office/drawing/2010/main">
                <a:solidFill>
                  <a:schemeClr val="accent1"/>
                </a:solidFill>
              </a14:hiddenFill>
            </a:ext>
          </a:extLst>
        </p:spPr>
        <p:txBody>
          <a:bodyPr wrap="none" lIns="18000" anchor="t" anchorCtr="0">
            <a:normAutofit/>
          </a:bodyPr>
          <a:lstStyle>
            <a:lvl1pPr marL="0" indent="0" algn="l">
              <a:buFontTx/>
              <a:buNone/>
              <a:defRPr sz="1300" b="1" baseline="0">
                <a:solidFill>
                  <a:srgbClr val="009FDA"/>
                </a:solidFill>
              </a:defRPr>
            </a:lvl1pPr>
          </a:lstStyle>
          <a:p>
            <a:pPr lvl="0"/>
            <a:r>
              <a:rPr lang="en-GB" noProof="0" dirty="0"/>
              <a:t>Insert subtitle</a:t>
            </a:r>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1"/>
          <p:cNvSpPr>
            <a:spLocks noGrp="1"/>
          </p:cNvSpPr>
          <p:nvPr>
            <p:ph type="body" sz="quarter" idx="10" hasCustomPrompt="1"/>
          </p:nvPr>
        </p:nvSpPr>
        <p:spPr>
          <a:xfrm>
            <a:off x="316801" y="4586400"/>
            <a:ext cx="8509700" cy="453600"/>
          </a:xfrm>
        </p:spPr>
        <p:txBody>
          <a:bodyPr rIns="0" anchor="b" anchorCtr="0">
            <a:noAutofit/>
          </a:bodyPr>
          <a:lstStyle>
            <a:lvl1pPr marL="0" indent="0">
              <a:spcBef>
                <a:spcPts val="0"/>
              </a:spcBef>
              <a:spcAft>
                <a:spcPts val="0"/>
              </a:spcAft>
              <a:buNone/>
              <a:defRPr sz="800">
                <a:solidFill>
                  <a:srgbClr val="82786F"/>
                </a:solidFill>
              </a:defRPr>
            </a:lvl1pPr>
            <a:lvl2pPr marL="265112" indent="0">
              <a:buNone/>
              <a:defRPr sz="800">
                <a:solidFill>
                  <a:srgbClr val="82786F"/>
                </a:solidFill>
              </a:defRPr>
            </a:lvl2pPr>
            <a:lvl3pPr>
              <a:defRPr sz="800">
                <a:solidFill>
                  <a:srgbClr val="82786F"/>
                </a:solidFill>
              </a:defRPr>
            </a:lvl3pPr>
            <a:lvl4pPr>
              <a:defRPr sz="800">
                <a:solidFill>
                  <a:srgbClr val="82786F"/>
                </a:solidFill>
              </a:defRPr>
            </a:lvl4pPr>
            <a:lvl5pPr>
              <a:defRPr sz="800">
                <a:solidFill>
                  <a:srgbClr val="82786F"/>
                </a:solidFill>
              </a:defRPr>
            </a:lvl5pPr>
          </a:lstStyle>
          <a:p>
            <a:pPr lvl="0"/>
            <a:r>
              <a:rPr lang="en-US" dirty="0"/>
              <a:t>Click to insert text</a:t>
            </a:r>
            <a:endParaRPr lang="en-GB" dirty="0"/>
          </a:p>
        </p:txBody>
      </p:sp>
      <p:sp>
        <p:nvSpPr>
          <p:cNvPr id="12" name="Title 1"/>
          <p:cNvSpPr>
            <a:spLocks noGrp="1"/>
          </p:cNvSpPr>
          <p:nvPr>
            <p:ph type="title"/>
          </p:nvPr>
        </p:nvSpPr>
        <p:spPr>
          <a:xfrm>
            <a:off x="316800" y="401122"/>
            <a:ext cx="8510400" cy="391412"/>
          </a:xfrm>
        </p:spPr>
        <p:txBody>
          <a:bodyPr anchor="ctr" anchorCtr="0"/>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1594865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2"/>
            <a:ext cx="9144000" cy="1895475"/>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8" name="Content Placeholder 2"/>
          <p:cNvSpPr>
            <a:spLocks noGrp="1"/>
          </p:cNvSpPr>
          <p:nvPr>
            <p:ph idx="25"/>
          </p:nvPr>
        </p:nvSpPr>
        <p:spPr>
          <a:xfrm>
            <a:off x="316800" y="2873517"/>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Rectangle 5"/>
          <p:cNvSpPr>
            <a:spLocks noGrp="1" noChangeArrowheads="1"/>
          </p:cNvSpPr>
          <p:nvPr>
            <p:ph type="ftr" sz="quarter" idx="3"/>
          </p:nvPr>
        </p:nvSpPr>
        <p:spPr bwMode="auto">
          <a:xfrm>
            <a:off x="4172995" y="103909"/>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a:defRPr/>
            </a:pPr>
            <a:endParaRPr lang="en-GB" dirty="0">
              <a:solidFill>
                <a:srgbClr val="FFFFFF"/>
              </a:solidFill>
            </a:endParaRPr>
          </a:p>
        </p:txBody>
      </p:sp>
      <p:sp>
        <p:nvSpPr>
          <p:cNvPr id="14" name="Rectangle 81"/>
          <p:cNvSpPr>
            <a:spLocks noGrp="1" noChangeArrowheads="1"/>
          </p:cNvSpPr>
          <p:nvPr>
            <p:ph type="dt" sz="half" idx="2"/>
          </p:nvPr>
        </p:nvSpPr>
        <p:spPr bwMode="auto">
          <a:xfrm>
            <a:off x="7187154" y="103909"/>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085" eaLnBrk="1" hangingPunct="1">
              <a:spcBef>
                <a:spcPct val="0"/>
              </a:spcBef>
              <a:defRPr sz="600" b="0">
                <a:solidFill>
                  <a:schemeClr val="bg1"/>
                </a:solidFill>
              </a:defRPr>
            </a:lvl1pPr>
          </a:lstStyle>
          <a:p>
            <a:pPr>
              <a:defRPr/>
            </a:pPr>
            <a:endParaRPr lang="en-GB" dirty="0">
              <a:solidFill>
                <a:srgbClr val="FFFFFF"/>
              </a:solidFill>
            </a:endParaRPr>
          </a:p>
        </p:txBody>
      </p:sp>
      <p:sp>
        <p:nvSpPr>
          <p:cNvPr id="15" name="Slide Number Placeholder 23"/>
          <p:cNvSpPr>
            <a:spLocks noGrp="1" noChangeArrowheads="1"/>
          </p:cNvSpPr>
          <p:nvPr>
            <p:ph type="sldNum" sz="quarter" idx="4"/>
          </p:nvPr>
        </p:nvSpPr>
        <p:spPr bwMode="auto">
          <a:xfrm>
            <a:off x="8514822" y="105052"/>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052" eaLnBrk="1" hangingPunct="1">
              <a:defRPr sz="600" b="0" smtClean="0">
                <a:solidFill>
                  <a:schemeClr val="bg1"/>
                </a:solidFill>
              </a:defRPr>
            </a:lvl1pPr>
          </a:lstStyle>
          <a:p>
            <a:pPr>
              <a:defRPr/>
            </a:pPr>
            <a:fld id="{4B01E8EF-57E8-4F85-90EB-163CEE512F8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46208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Tree>
    <p:extLst>
      <p:ext uri="{BB962C8B-B14F-4D97-AF65-F5344CB8AC3E}">
        <p14:creationId xmlns:p14="http://schemas.microsoft.com/office/powerpoint/2010/main" val="1819545146"/>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Rectangle 1"/>
          <p:cNvSpPr/>
          <p:nvPr userDrawn="1"/>
        </p:nvSpPr>
        <p:spPr>
          <a:xfrm>
            <a:off x="7868653" y="4018549"/>
            <a:ext cx="1267326" cy="111693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 name="Text Placeholder 2"/>
          <p:cNvSpPr>
            <a:spLocks noGrp="1"/>
          </p:cNvSpPr>
          <p:nvPr>
            <p:ph type="body" sz="quarter" idx="13" hasCustomPrompt="1"/>
          </p:nvPr>
        </p:nvSpPr>
        <p:spPr>
          <a:xfrm>
            <a:off x="317501" y="4888997"/>
            <a:ext cx="8518850" cy="137569"/>
          </a:xfrm>
        </p:spPr>
        <p:txBody>
          <a:bodyPr anchor="b" anchorCtr="0">
            <a:noAutofit/>
          </a:bodyPr>
          <a:lstStyle>
            <a:lvl1pPr marL="0" indent="0">
              <a:spcBef>
                <a:spcPts val="0"/>
              </a:spcBef>
              <a:buNone/>
              <a:defRPr sz="800" baseline="0">
                <a:solidFill>
                  <a:srgbClr val="82786F"/>
                </a:solidFill>
              </a:defRPr>
            </a:lvl1pPr>
            <a:lvl2pPr marL="265112" indent="0">
              <a:buNone/>
              <a:defRPr sz="800">
                <a:solidFill>
                  <a:srgbClr val="82786F"/>
                </a:solidFill>
              </a:defRPr>
            </a:lvl2pPr>
            <a:lvl3pPr marL="536575" indent="0">
              <a:buNone/>
              <a:defRPr sz="800">
                <a:solidFill>
                  <a:srgbClr val="82786F"/>
                </a:solidFill>
              </a:defRPr>
            </a:lvl3pPr>
            <a:lvl4pPr marL="808038" indent="0">
              <a:buNone/>
              <a:defRPr sz="800">
                <a:solidFill>
                  <a:srgbClr val="82786F"/>
                </a:solidFill>
              </a:defRPr>
            </a:lvl4pPr>
            <a:lvl5pPr marL="1073150" indent="0">
              <a:buNone/>
              <a:defRPr sz="800">
                <a:solidFill>
                  <a:srgbClr val="82786F"/>
                </a:solidFill>
              </a:defRPr>
            </a:lvl5pPr>
          </a:lstStyle>
          <a:p>
            <a:pPr lvl="0"/>
            <a:r>
              <a:rPr lang="en-US" dirty="0"/>
              <a:t>Click to enter text</a:t>
            </a:r>
            <a:endParaRPr lang="en-GB" dirty="0"/>
          </a:p>
        </p:txBody>
      </p:sp>
    </p:spTree>
    <p:extLst>
      <p:ext uri="{BB962C8B-B14F-4D97-AF65-F5344CB8AC3E}">
        <p14:creationId xmlns:p14="http://schemas.microsoft.com/office/powerpoint/2010/main" val="772252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spcBef>
                <a:spcPts val="600"/>
              </a:spcBef>
              <a:spcAft>
                <a:spcPts val="600"/>
              </a:spcAft>
              <a:buClr>
                <a:schemeClr val="accent1"/>
              </a:buClr>
              <a:defRPr>
                <a:solidFill>
                  <a:schemeClr val="accent2"/>
                </a:solidFill>
              </a:defRPr>
            </a:lvl1pPr>
            <a:lvl2pPr>
              <a:spcBef>
                <a:spcPts val="0"/>
              </a:spcBef>
              <a:spcAft>
                <a:spcPts val="0"/>
              </a:spcAft>
              <a:buClr>
                <a:schemeClr val="tx2"/>
              </a:buClr>
              <a:defRPr>
                <a:solidFill>
                  <a:schemeClr val="accent2"/>
                </a:solidFill>
              </a:defRPr>
            </a:lvl2pPr>
            <a:lvl3pPr>
              <a:spcBef>
                <a:spcPts val="0"/>
              </a:spcBef>
              <a:spcAft>
                <a:spcPts val="0"/>
              </a:spcAft>
              <a:buClr>
                <a:schemeClr val="accent5"/>
              </a:buClr>
              <a:defRPr>
                <a:solidFill>
                  <a:schemeClr val="accent2"/>
                </a:solidFill>
              </a:defRPr>
            </a:lvl3pPr>
            <a:lvl4pPr>
              <a:spcBef>
                <a:spcPts val="0"/>
              </a:spcBef>
              <a:spcAft>
                <a:spcPts val="0"/>
              </a:spcAft>
              <a:buClr>
                <a:schemeClr val="accent3"/>
              </a:buClr>
              <a:defRPr>
                <a:solidFill>
                  <a:schemeClr val="accent2"/>
                </a:solidFill>
              </a:defRPr>
            </a:lvl4pPr>
            <a:lvl5pPr>
              <a:spcBef>
                <a:spcPts val="0"/>
              </a:spcBef>
              <a:spcAft>
                <a:spcPts val="0"/>
              </a:spcAft>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100"/>
            </a:lvl1pPr>
          </a:lstStyle>
          <a:p>
            <a:r>
              <a:rPr lang="en-US" noProof="0"/>
              <a:t>Click to edit Master title style</a:t>
            </a:r>
            <a:endParaRPr lang="en-GB" noProof="0" dirty="0"/>
          </a:p>
        </p:txBody>
      </p:sp>
      <p:sp>
        <p:nvSpPr>
          <p:cNvPr id="3" name="Text Placeholder 2"/>
          <p:cNvSpPr>
            <a:spLocks noGrp="1"/>
          </p:cNvSpPr>
          <p:nvPr>
            <p:ph type="body" sz="quarter" idx="10" hasCustomPrompt="1"/>
          </p:nvPr>
        </p:nvSpPr>
        <p:spPr>
          <a:xfrm>
            <a:off x="316801" y="4242724"/>
            <a:ext cx="8509700" cy="770826"/>
          </a:xfrm>
        </p:spPr>
        <p:txBody>
          <a:bodyPr anchor="b"/>
          <a:lstStyle>
            <a:lvl1pPr marL="0" indent="0">
              <a:spcBef>
                <a:spcPts val="0"/>
              </a:spcBef>
              <a:spcAft>
                <a:spcPts val="0"/>
              </a:spcAft>
              <a:buNone/>
              <a:defRPr sz="800">
                <a:solidFill>
                  <a:srgbClr val="82786F"/>
                </a:solidFill>
              </a:defRPr>
            </a:lvl1pPr>
          </a:lstStyle>
          <a:p>
            <a:r>
              <a:rPr lang="en-GB" dirty="0"/>
              <a:t>Mathieu C et al. </a:t>
            </a:r>
            <a:r>
              <a:rPr lang="en-GB" i="1" dirty="0"/>
              <a:t>[Journal]. </a:t>
            </a:r>
            <a:r>
              <a:rPr lang="en-GB" dirty="0"/>
              <a:t>2016;[TBC].</a:t>
            </a:r>
            <a:endParaRPr lang="da-DK" dirty="0"/>
          </a:p>
        </p:txBody>
      </p:sp>
    </p:spTree>
    <p:extLst>
      <p:ext uri="{BB962C8B-B14F-4D97-AF65-F5344CB8AC3E}">
        <p14:creationId xmlns:p14="http://schemas.microsoft.com/office/powerpoint/2010/main" val="944291534"/>
      </p:ext>
    </p:extLst>
  </p:cSld>
  <p:clrMapOvr>
    <a:masterClrMapping/>
  </p:clrMapOvr>
  <p:transition/>
  <p:extLst mod="1">
    <p:ext uri="{DCECCB84-F9BA-43D5-87BE-67443E8EF086}">
      <p15:sldGuideLst xmlns:p15="http://schemas.microsoft.com/office/powerpoint/2012/main" xmlns="">
        <p15:guide id="1" orient="horz" pos="2355">
          <p15:clr>
            <a:srgbClr val="FBAE40"/>
          </p15:clr>
        </p15:guide>
        <p15:guide id="2"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0"/>
          </p:nvPr>
        </p:nvSpPr>
        <p:spPr>
          <a:xfrm>
            <a:off x="8515351" y="104827"/>
            <a:ext cx="311150" cy="101600"/>
          </a:xfrm>
          <a:prstGeom prst="rect">
            <a:avLst/>
          </a:prstGeom>
          <a:ln/>
        </p:spPr>
        <p:txBody>
          <a:bodyPr/>
          <a:lstStyle>
            <a:lvl1pPr>
              <a:defRPr/>
            </a:lvl1pPr>
          </a:lstStyle>
          <a:p>
            <a:pPr>
              <a:defRPr/>
            </a:pPr>
            <a:fld id="{33F88168-32D9-492F-A309-CE58EECA041F}" type="slidenum">
              <a:rPr lang="en-GB"/>
              <a:pPr>
                <a:defRPr/>
              </a:pPr>
              <a:t>‹#›</a:t>
            </a:fld>
            <a:endParaRPr lang="en-GB"/>
          </a:p>
        </p:txBody>
      </p:sp>
      <p:sp>
        <p:nvSpPr>
          <p:cNvPr id="5" name="Rectangle 5"/>
          <p:cNvSpPr>
            <a:spLocks noGrp="1" noChangeArrowheads="1"/>
          </p:cNvSpPr>
          <p:nvPr>
            <p:ph type="ftr" sz="quarter" idx="11"/>
          </p:nvPr>
        </p:nvSpPr>
        <p:spPr>
          <a:xfrm>
            <a:off x="4173540" y="103240"/>
            <a:ext cx="2900362" cy="101600"/>
          </a:xfrm>
          <a:prstGeom prst="rect">
            <a:avLst/>
          </a:prstGeom>
          <a:ln/>
        </p:spPr>
        <p:txBody>
          <a:bodyPr/>
          <a:lstStyle>
            <a:lvl1pPr>
              <a:defRPr/>
            </a:lvl1pPr>
          </a:lstStyle>
          <a:p>
            <a:pPr>
              <a:defRPr/>
            </a:pPr>
            <a:r>
              <a:rPr lang="en-GB"/>
              <a:t>Presentation title</a:t>
            </a:r>
          </a:p>
        </p:txBody>
      </p:sp>
      <p:sp>
        <p:nvSpPr>
          <p:cNvPr id="7" name="Rectangle 81"/>
          <p:cNvSpPr>
            <a:spLocks noGrp="1" noChangeArrowheads="1"/>
          </p:cNvSpPr>
          <p:nvPr>
            <p:ph type="dt" sz="half" idx="12"/>
          </p:nvPr>
        </p:nvSpPr>
        <p:spPr>
          <a:xfrm>
            <a:off x="7186658" y="103240"/>
            <a:ext cx="1201737" cy="101600"/>
          </a:xfrm>
          <a:prstGeom prst="rect">
            <a:avLst/>
          </a:prstGeom>
          <a:ln/>
        </p:spPr>
        <p:txBody>
          <a:bodyPr/>
          <a:lstStyle>
            <a:lvl1pPr>
              <a:defRPr/>
            </a:lvl1pPr>
          </a:lstStyle>
          <a:p>
            <a:pPr>
              <a:defRPr/>
            </a:pPr>
            <a:r>
              <a:rPr lang="en-GB"/>
              <a:t>Date</a:t>
            </a:r>
          </a:p>
        </p:txBody>
      </p:sp>
    </p:spTree>
    <p:extLst>
      <p:ext uri="{BB962C8B-B14F-4D97-AF65-F5344CB8AC3E}">
        <p14:creationId xmlns:p14="http://schemas.microsoft.com/office/powerpoint/2010/main" val="1343024833"/>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Zástupný symbol pro obsah 2"/>
          <p:cNvSpPr>
            <a:spLocks noGrp="1"/>
          </p:cNvSpPr>
          <p:nvPr>
            <p:ph idx="1"/>
          </p:nvPr>
        </p:nvSpPr>
        <p:spPr/>
        <p:txBody>
          <a:body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datum 3"/>
          <p:cNvSpPr>
            <a:spLocks noGrp="1"/>
          </p:cNvSpPr>
          <p:nvPr>
            <p:ph type="dt" sz="half" idx="10"/>
          </p:nvPr>
        </p:nvSpPr>
        <p:spPr>
          <a:xfrm>
            <a:off x="7186616" y="103192"/>
            <a:ext cx="1201737" cy="101600"/>
          </a:xfrm>
          <a:prstGeom prst="rect">
            <a:avLst/>
          </a:prstGeom>
        </p:spPr>
        <p:txBody>
          <a:bodyPr/>
          <a:lstStyle/>
          <a:p>
            <a:fld id="{AC59983F-A000-4EFC-803B-696105BEACB1}" type="datetimeFigureOut">
              <a:rPr lang="cs-CZ"/>
              <a:pPr/>
              <a:t>20.1.2018</a:t>
            </a:fld>
            <a:endParaRPr lang="cs-CZ"/>
          </a:p>
        </p:txBody>
      </p:sp>
      <p:sp>
        <p:nvSpPr>
          <p:cNvPr id="5" name="Zástupný symbol pro zápatí 4"/>
          <p:cNvSpPr>
            <a:spLocks noGrp="1"/>
          </p:cNvSpPr>
          <p:nvPr>
            <p:ph type="ftr" sz="quarter" idx="11"/>
          </p:nvPr>
        </p:nvSpPr>
        <p:spPr>
          <a:xfrm>
            <a:off x="4173540" y="103192"/>
            <a:ext cx="2900362" cy="101600"/>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515351" y="104779"/>
            <a:ext cx="311150" cy="101600"/>
          </a:xfrm>
          <a:prstGeom prst="rect">
            <a:avLst/>
          </a:prstGeom>
        </p:spPr>
        <p:txBody>
          <a:bodyPr/>
          <a:lstStyle/>
          <a:p>
            <a:fld id="{F72DC854-AC7E-4A70-9135-88A361CFB378}" type="slidenum">
              <a:rPr lang="cs-CZ"/>
              <a:pPr/>
              <a:t>‹#›</a:t>
            </a:fld>
            <a:endParaRPr lang="cs-CZ"/>
          </a:p>
        </p:txBody>
      </p:sp>
    </p:spTree>
    <p:extLst>
      <p:ext uri="{BB962C8B-B14F-4D97-AF65-F5344CB8AC3E}">
        <p14:creationId xmlns:p14="http://schemas.microsoft.com/office/powerpoint/2010/main" val="25054424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685800" y="1597915"/>
            <a:ext cx="7772400" cy="1102519"/>
          </a:xfrm>
        </p:spPr>
        <p:txBody>
          <a:bodyPr/>
          <a:lstStyle/>
          <a:p>
            <a:r>
              <a:rPr lang="cs-CZ" smtClean="0"/>
              <a:t>Kliknutím lze upravit styl.</a:t>
            </a:r>
            <a:endParaRPr lang="cs-CZ"/>
          </a:p>
        </p:txBody>
      </p:sp>
      <p:sp>
        <p:nvSpPr>
          <p:cNvPr id="3" name="Podnadpis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cs-CZ" smtClean="0"/>
              <a:t>Kliknutím lze upravit styl předlohy.</a:t>
            </a:r>
            <a:endParaRPr lang="cs-CZ"/>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95730E7-AC95-4AD6-B2C4-5737054F3B00}"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3767006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iknutím lze upravit styl.</a:t>
            </a:r>
            <a:endParaRPr lang="cs-CZ"/>
          </a:p>
        </p:txBody>
      </p:sp>
      <p:sp>
        <p:nvSpPr>
          <p:cNvPr id="3" name="Zástupný symbol pro obsah 2"/>
          <p:cNvSpPr>
            <a:spLocks noGrp="1"/>
          </p:cNvSpPr>
          <p:nvPr>
            <p:ph idx="1"/>
          </p:nvPr>
        </p:nvSpPr>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C59A594-017E-4D56-9449-A7BEDACED142}"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83019502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722313" y="3305229"/>
            <a:ext cx="7772400" cy="1021556"/>
          </a:xfrm>
        </p:spPr>
        <p:txBody>
          <a:bodyPr anchor="t"/>
          <a:lstStyle>
            <a:lvl1pPr algn="l">
              <a:defRPr sz="4000" b="1" cap="all"/>
            </a:lvl1pPr>
          </a:lstStyle>
          <a:p>
            <a:r>
              <a:rPr lang="cs-CZ" smtClean="0"/>
              <a:t>Kliknutím lze upravit styl.</a:t>
            </a:r>
            <a:endParaRPr lang="cs-CZ"/>
          </a:p>
        </p:txBody>
      </p:sp>
      <p:sp>
        <p:nvSpPr>
          <p:cNvPr id="3" name="Zástupný symbol pro text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smtClean="0"/>
              <a:t>Kliknutím lze upravit styly předlohy textu.</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F204B6D-8144-4F42-82B9-D43EFB7DD05A}"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7917214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21" Type="http://schemas.openxmlformats.org/officeDocument/2006/relationships/theme" Target="../theme/theme1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image" Target="../media/image1.emf"/><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oleObject" Target="../embeddings/oleObject7.bin"/><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tags" Target="../tags/tag8.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vmlDrawing" Target="../drawings/vmlDrawing7.vml"/></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180.xml"/><Relationship Id="rId7" Type="http://schemas.openxmlformats.org/officeDocument/2006/relationships/tags" Target="../tags/tag10.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vmlDrawing" Target="../drawings/vmlDrawing9.vml"/><Relationship Id="rId5" Type="http://schemas.openxmlformats.org/officeDocument/2006/relationships/theme" Target="../theme/theme11.xml"/><Relationship Id="rId4" Type="http://schemas.openxmlformats.org/officeDocument/2006/relationships/slideLayout" Target="../slideLayouts/slideLayout181.xml"/><Relationship Id="rId9"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slideLayout" Target="../slideLayouts/slideLayout207.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slideLayout" Target="../slideLayouts/slideLayout210.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32" Type="http://schemas.openxmlformats.org/officeDocument/2006/relationships/theme" Target="../theme/theme1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slideLayout" Target="../slideLayouts/slideLayout209.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31" Type="http://schemas.openxmlformats.org/officeDocument/2006/relationships/slideLayout" Target="../slideLayouts/slideLayout212.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slideLayout" Target="../slideLayouts/slideLayout208.xml"/><Relationship Id="rId30" Type="http://schemas.openxmlformats.org/officeDocument/2006/relationships/slideLayout" Target="../slideLayouts/slideLayout2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theme" Target="../theme/theme13.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2" Type="http://schemas.openxmlformats.org/officeDocument/2006/relationships/slideLayout" Target="../slideLayouts/slideLayout233.xml"/><Relationship Id="rId16" Type="http://schemas.openxmlformats.org/officeDocument/2006/relationships/theme" Target="../theme/theme14.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theme" Target="../theme/theme2.xml"/><Relationship Id="rId3" Type="http://schemas.openxmlformats.org/officeDocument/2006/relationships/slideLayout" Target="../slideLayouts/slideLayout55.xml"/><Relationship Id="rId21" Type="http://schemas.openxmlformats.org/officeDocument/2006/relationships/oleObject" Target="../embeddings/oleObject2.bin"/><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ags" Target="../tags/tag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vmlDrawing" Target="../drawings/vmlDrawing2.v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image" Target="NUL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72.xml"/><Relationship Id="rId7" Type="http://schemas.openxmlformats.org/officeDocument/2006/relationships/tags" Target="../tags/tag4.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7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heme" Target="../theme/theme4.xml"/><Relationship Id="rId5" Type="http://schemas.openxmlformats.org/officeDocument/2006/relationships/slideLayout" Target="../slideLayouts/slideLayout78.xml"/><Relationship Id="rId4"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image" Target="../media/image1.emf"/><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oleObject" Target="../embeddings/oleObject4.bin"/><Relationship Id="rId5" Type="http://schemas.openxmlformats.org/officeDocument/2006/relationships/slideLayout" Target="../slideLayouts/slideLayout83.xml"/><Relationship Id="rId10" Type="http://schemas.openxmlformats.org/officeDocument/2006/relationships/tags" Target="../tags/tag5.xml"/><Relationship Id="rId4" Type="http://schemas.openxmlformats.org/officeDocument/2006/relationships/slideLayout" Target="../slideLayouts/slideLayout82.xml"/><Relationship Id="rId9"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vmlDrawing" Target="../drawings/vmlDrawing5.v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6.xml"/><Relationship Id="rId2" Type="http://schemas.openxmlformats.org/officeDocument/2006/relationships/slideLayout" Target="../slideLayouts/slideLayout87.xml"/><Relationship Id="rId16" Type="http://schemas.openxmlformats.org/officeDocument/2006/relationships/image" Target="../media/image1.emf"/><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oleObject" Target="../embeddings/oleObject5.bin"/><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2" Type="http://schemas.openxmlformats.org/officeDocument/2006/relationships/slideLayout" Target="../slideLayouts/slideLayout98.xml"/><Relationship Id="rId16" Type="http://schemas.openxmlformats.org/officeDocument/2006/relationships/theme" Target="../theme/theme7.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2.png"/><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theme" Target="../theme/theme9.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5"/>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6551" name="think-cell Slide" r:id="rId56" imgW="270" imgH="270" progId="">
                  <p:embed/>
                </p:oleObj>
              </mc:Choice>
              <mc:Fallback>
                <p:oleObj name="think-cell Slide" r:id="rId56" imgW="270" imgH="270" progId="">
                  <p:embed/>
                  <p:pic>
                    <p:nvPicPr>
                      <p:cNvPr id="0" name=""/>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Text Placeholder 2"/>
          <p:cNvSpPr>
            <a:spLocks noGrp="1"/>
          </p:cNvSpPr>
          <p:nvPr>
            <p:ph type="body" idx="1"/>
          </p:nvPr>
        </p:nvSpPr>
        <p:spPr bwMode="auto">
          <a:xfrm>
            <a:off x="317502" y="1312904"/>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578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28" name="Title Placeholder 1"/>
          <p:cNvSpPr>
            <a:spLocks noGrp="1"/>
          </p:cNvSpPr>
          <p:nvPr>
            <p:ph type="title"/>
          </p:nvPr>
        </p:nvSpPr>
        <p:spPr bwMode="auto">
          <a:xfrm>
            <a:off x="317502" y="515939"/>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3992253215"/>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4"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 id="2147484055" r:id="rId30"/>
    <p:sldLayoutId id="2147484056" r:id="rId31"/>
    <p:sldLayoutId id="2147484057" r:id="rId32"/>
    <p:sldLayoutId id="2147484058" r:id="rId33"/>
    <p:sldLayoutId id="2147484059" r:id="rId34"/>
    <p:sldLayoutId id="2147484060" r:id="rId35"/>
    <p:sldLayoutId id="2147484061" r:id="rId36"/>
    <p:sldLayoutId id="2147484062" r:id="rId37"/>
    <p:sldLayoutId id="2147484063" r:id="rId38"/>
    <p:sldLayoutId id="2147484064" r:id="rId39"/>
    <p:sldLayoutId id="2147484065" r:id="rId40"/>
    <p:sldLayoutId id="2147484066" r:id="rId41"/>
    <p:sldLayoutId id="2147484067" r:id="rId42"/>
    <p:sldLayoutId id="2147484068" r:id="rId43"/>
    <p:sldLayoutId id="2147484069" r:id="rId44"/>
    <p:sldLayoutId id="2147484070" r:id="rId45"/>
    <p:sldLayoutId id="2147484071" r:id="rId46"/>
    <p:sldLayoutId id="2147484072" r:id="rId47"/>
    <p:sldLayoutId id="2147484073" r:id="rId48"/>
    <p:sldLayoutId id="2147484074" r:id="rId49"/>
    <p:sldLayoutId id="2147484075" r:id="rId50"/>
    <p:sldLayoutId id="2147484076" r:id="rId51"/>
    <p:sldLayoutId id="2147484077" r:id="rId52"/>
  </p:sldLayoutIdLst>
  <p:transition/>
  <p:hf hdr="0"/>
  <p:txStyles>
    <p:titleStyle>
      <a:lvl1pPr algn="l" rtl="0" fontAlgn="base">
        <a:spcBef>
          <a:spcPct val="0"/>
        </a:spcBef>
        <a:spcAft>
          <a:spcPct val="0"/>
        </a:spcAft>
        <a:defRPr sz="28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6758" algn="l" rtl="0" fontAlgn="base">
        <a:spcBef>
          <a:spcPct val="0"/>
        </a:spcBef>
        <a:spcAft>
          <a:spcPct val="0"/>
        </a:spcAft>
        <a:defRPr sz="2400" b="1">
          <a:solidFill>
            <a:schemeClr val="accent2"/>
          </a:solidFill>
          <a:latin typeface="Verdana" pitchFamily="34" charset="0"/>
        </a:defRPr>
      </a:lvl6pPr>
      <a:lvl7pPr marL="913568" algn="l" rtl="0" fontAlgn="base">
        <a:spcBef>
          <a:spcPct val="0"/>
        </a:spcBef>
        <a:spcAft>
          <a:spcPct val="0"/>
        </a:spcAft>
        <a:defRPr sz="2400" b="1">
          <a:solidFill>
            <a:schemeClr val="accent2"/>
          </a:solidFill>
          <a:latin typeface="Verdana" pitchFamily="34" charset="0"/>
        </a:defRPr>
      </a:lvl7pPr>
      <a:lvl8pPr marL="1370342" algn="l" rtl="0" fontAlgn="base">
        <a:spcBef>
          <a:spcPct val="0"/>
        </a:spcBef>
        <a:spcAft>
          <a:spcPct val="0"/>
        </a:spcAft>
        <a:defRPr sz="2400" b="1">
          <a:solidFill>
            <a:schemeClr val="accent2"/>
          </a:solidFill>
          <a:latin typeface="Verdana" pitchFamily="34" charset="0"/>
        </a:defRPr>
      </a:lvl8pPr>
      <a:lvl9pPr marL="1827134" algn="l" rtl="0" fontAlgn="base">
        <a:spcBef>
          <a:spcPct val="0"/>
        </a:spcBef>
        <a:spcAft>
          <a:spcPct val="0"/>
        </a:spcAft>
        <a:defRPr sz="2400" b="1">
          <a:solidFill>
            <a:schemeClr val="accent2"/>
          </a:solidFill>
          <a:latin typeface="Verdana" pitchFamily="34" charset="0"/>
        </a:defRPr>
      </a:lvl9pPr>
    </p:titleStyle>
    <p:bodyStyle>
      <a:lvl1pPr marL="264890" indent="-264890" algn="l" rtl="0" fontAlgn="base">
        <a:spcBef>
          <a:spcPct val="20000"/>
        </a:spcBef>
        <a:spcAft>
          <a:spcPts val="300"/>
        </a:spcAft>
        <a:buClr>
          <a:schemeClr val="accent1"/>
        </a:buClr>
        <a:buFont typeface="Verdana" pitchFamily="34" charset="0"/>
        <a:buChar char="•"/>
        <a:defRPr kern="1200">
          <a:solidFill>
            <a:schemeClr val="accent2"/>
          </a:solidFill>
          <a:latin typeface="+mn-lt"/>
          <a:ea typeface="+mn-ea"/>
          <a:cs typeface="+mn-cs"/>
        </a:defRPr>
      </a:lvl1pPr>
      <a:lvl2pPr marL="536075" indent="-271241" algn="l" rtl="0" fontAlgn="base">
        <a:spcBef>
          <a:spcPct val="20000"/>
        </a:spcBef>
        <a:spcAft>
          <a:spcPts val="300"/>
        </a:spcAft>
        <a:buClr>
          <a:schemeClr val="tx2"/>
        </a:buClr>
        <a:buFont typeface="Verdana" pitchFamily="34" charset="0"/>
        <a:buChar char="•"/>
        <a:defRPr sz="1600" kern="1200">
          <a:solidFill>
            <a:schemeClr val="accent2"/>
          </a:solidFill>
          <a:latin typeface="+mn-lt"/>
          <a:ea typeface="+mn-ea"/>
          <a:cs typeface="+mn-cs"/>
        </a:defRPr>
      </a:lvl2pPr>
      <a:lvl3pPr marL="807298" indent="-271241" algn="l" rtl="0" fontAlgn="base">
        <a:spcBef>
          <a:spcPct val="20000"/>
        </a:spcBef>
        <a:spcAft>
          <a:spcPts val="300"/>
        </a:spcAft>
        <a:buClr>
          <a:srgbClr val="E64A0E"/>
        </a:buClr>
        <a:buFont typeface="Verdana" pitchFamily="34" charset="0"/>
        <a:buChar char="•"/>
        <a:defRPr sz="1400" kern="1200">
          <a:solidFill>
            <a:schemeClr val="accent2"/>
          </a:solidFill>
          <a:latin typeface="+mn-lt"/>
          <a:ea typeface="+mn-ea"/>
          <a:cs typeface="+mn-cs"/>
        </a:defRPr>
      </a:lvl3pPr>
      <a:lvl4pPr marL="984950" indent="-177634" algn="l" rtl="0" fontAlgn="base">
        <a:spcBef>
          <a:spcPct val="20000"/>
        </a:spcBef>
        <a:spcAft>
          <a:spcPts val="300"/>
        </a:spcAft>
        <a:buClr>
          <a:srgbClr val="82786F"/>
        </a:buClr>
        <a:buFont typeface="Verdana" pitchFamily="34" charset="0"/>
        <a:buChar char="•"/>
        <a:defRPr sz="1200" kern="1200">
          <a:solidFill>
            <a:schemeClr val="accent2"/>
          </a:solidFill>
          <a:latin typeface="+mn-lt"/>
          <a:ea typeface="+mn-ea"/>
          <a:cs typeface="+mn-cs"/>
        </a:defRPr>
      </a:lvl4pPr>
      <a:lvl5pPr marL="1256135" indent="-183983" algn="l" rtl="0" fontAlgn="base">
        <a:spcBef>
          <a:spcPct val="20000"/>
        </a:spcBef>
        <a:spcAft>
          <a:spcPts val="300"/>
        </a:spcAft>
        <a:buClr>
          <a:srgbClr val="001423"/>
        </a:buClr>
        <a:buFont typeface="Verdana" pitchFamily="34" charset="0"/>
        <a:buChar char="•"/>
        <a:defRPr sz="1100" kern="1200">
          <a:solidFill>
            <a:schemeClr val="accent2"/>
          </a:solidFill>
          <a:latin typeface="+mn-lt"/>
          <a:ea typeface="+mn-ea"/>
          <a:cs typeface="+mn-cs"/>
        </a:defRPr>
      </a:lvl5pPr>
      <a:lvl6pPr marL="2512269" indent="-228378" algn="l" defTabSz="9135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062" indent="-228378" algn="l" defTabSz="9135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837" indent="-228378" algn="l" defTabSz="9135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611" indent="-228378" algn="l" defTabSz="91356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68" rtl="0" eaLnBrk="1" latinLnBrk="0" hangingPunct="1">
        <a:defRPr sz="1800" kern="1200">
          <a:solidFill>
            <a:schemeClr val="tx1"/>
          </a:solidFill>
          <a:latin typeface="+mn-lt"/>
          <a:ea typeface="+mn-ea"/>
          <a:cs typeface="+mn-cs"/>
        </a:defRPr>
      </a:lvl1pPr>
      <a:lvl2pPr marL="456758" algn="l" defTabSz="913568" rtl="0" eaLnBrk="1" latinLnBrk="0" hangingPunct="1">
        <a:defRPr sz="1800" kern="1200">
          <a:solidFill>
            <a:schemeClr val="tx1"/>
          </a:solidFill>
          <a:latin typeface="+mn-lt"/>
          <a:ea typeface="+mn-ea"/>
          <a:cs typeface="+mn-cs"/>
        </a:defRPr>
      </a:lvl2pPr>
      <a:lvl3pPr marL="913568" algn="l" defTabSz="913568" rtl="0" eaLnBrk="1" latinLnBrk="0" hangingPunct="1">
        <a:defRPr sz="1800" kern="1200">
          <a:solidFill>
            <a:schemeClr val="tx1"/>
          </a:solidFill>
          <a:latin typeface="+mn-lt"/>
          <a:ea typeface="+mn-ea"/>
          <a:cs typeface="+mn-cs"/>
        </a:defRPr>
      </a:lvl3pPr>
      <a:lvl4pPr marL="1370342" algn="l" defTabSz="913568" rtl="0" eaLnBrk="1" latinLnBrk="0" hangingPunct="1">
        <a:defRPr sz="1800" kern="1200">
          <a:solidFill>
            <a:schemeClr val="tx1"/>
          </a:solidFill>
          <a:latin typeface="+mn-lt"/>
          <a:ea typeface="+mn-ea"/>
          <a:cs typeface="+mn-cs"/>
        </a:defRPr>
      </a:lvl4pPr>
      <a:lvl5pPr marL="1827134" algn="l" defTabSz="913568" rtl="0" eaLnBrk="1" latinLnBrk="0" hangingPunct="1">
        <a:defRPr sz="1800" kern="1200">
          <a:solidFill>
            <a:schemeClr val="tx1"/>
          </a:solidFill>
          <a:latin typeface="+mn-lt"/>
          <a:ea typeface="+mn-ea"/>
          <a:cs typeface="+mn-cs"/>
        </a:defRPr>
      </a:lvl5pPr>
      <a:lvl6pPr marL="2283891" algn="l" defTabSz="913568" rtl="0" eaLnBrk="1" latinLnBrk="0" hangingPunct="1">
        <a:defRPr sz="1800" kern="1200">
          <a:solidFill>
            <a:schemeClr val="tx1"/>
          </a:solidFill>
          <a:latin typeface="+mn-lt"/>
          <a:ea typeface="+mn-ea"/>
          <a:cs typeface="+mn-cs"/>
        </a:defRPr>
      </a:lvl6pPr>
      <a:lvl7pPr marL="2740649" algn="l" defTabSz="913568" rtl="0" eaLnBrk="1" latinLnBrk="0" hangingPunct="1">
        <a:defRPr sz="1800" kern="1200">
          <a:solidFill>
            <a:schemeClr val="tx1"/>
          </a:solidFill>
          <a:latin typeface="+mn-lt"/>
          <a:ea typeface="+mn-ea"/>
          <a:cs typeface="+mn-cs"/>
        </a:defRPr>
      </a:lvl7pPr>
      <a:lvl8pPr marL="3197440" algn="l" defTabSz="913568" rtl="0" eaLnBrk="1" latinLnBrk="0" hangingPunct="1">
        <a:defRPr sz="1800" kern="1200">
          <a:solidFill>
            <a:schemeClr val="tx1"/>
          </a:solidFill>
          <a:latin typeface="+mn-lt"/>
          <a:ea typeface="+mn-ea"/>
          <a:cs typeface="+mn-cs"/>
        </a:defRPr>
      </a:lvl8pPr>
      <a:lvl9pPr marL="3654219" algn="l" defTabSz="91356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extLst/>
          </p:nvPr>
        </p:nvGraphicFramePr>
        <p:xfrm>
          <a:off x="1591" y="1598"/>
          <a:ext cx="1587" cy="1587"/>
        </p:xfrm>
        <a:graphic>
          <a:graphicData uri="http://schemas.openxmlformats.org/presentationml/2006/ole">
            <mc:AlternateContent xmlns:mc="http://schemas.openxmlformats.org/markup-compatibility/2006">
              <mc:Choice xmlns:v="urn:schemas-microsoft-com:vml" Requires="v">
                <p:oleObj spid="_x0000_s8706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598"/>
                        <a:ext cx="1587" cy="1587"/>
                      </a:xfrm>
                      <a:prstGeom prst="rect">
                        <a:avLst/>
                      </a:prstGeom>
                    </p:spPr>
                  </p:pic>
                </p:oleObj>
              </mc:Fallback>
            </mc:AlternateContent>
          </a:graphicData>
        </a:graphic>
      </p:graphicFrame>
      <p:sp>
        <p:nvSpPr>
          <p:cNvPr id="1027" name="Text Placeholder 2"/>
          <p:cNvSpPr>
            <a:spLocks noGrp="1"/>
          </p:cNvSpPr>
          <p:nvPr>
            <p:ph type="body" idx="1"/>
          </p:nvPr>
        </p:nvSpPr>
        <p:spPr bwMode="auto">
          <a:xfrm>
            <a:off x="317502" y="1312889"/>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5862"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1028" name="Title Placeholder 1"/>
          <p:cNvSpPr>
            <a:spLocks noGrp="1"/>
          </p:cNvSpPr>
          <p:nvPr>
            <p:ph type="title"/>
          </p:nvPr>
        </p:nvSpPr>
        <p:spPr bwMode="auto">
          <a:xfrm>
            <a:off x="317502" y="515948"/>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smtClean="0"/>
              <a:t>Click to edit Master title style</a:t>
            </a:r>
            <a:endParaRPr lang="en-GB" dirty="0" smtClean="0"/>
          </a:p>
        </p:txBody>
      </p:sp>
    </p:spTree>
    <p:extLst>
      <p:ext uri="{BB962C8B-B14F-4D97-AF65-F5344CB8AC3E}">
        <p14:creationId xmlns:p14="http://schemas.microsoft.com/office/powerpoint/2010/main" val="956817981"/>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 id="2147484321" r:id="rId11"/>
    <p:sldLayoutId id="2147484322" r:id="rId12"/>
    <p:sldLayoutId id="2147484323" r:id="rId13"/>
    <p:sldLayoutId id="2147484324" r:id="rId14"/>
    <p:sldLayoutId id="2147484325" r:id="rId15"/>
    <p:sldLayoutId id="2147484326" r:id="rId16"/>
    <p:sldLayoutId id="2147484327" r:id="rId17"/>
    <p:sldLayoutId id="2147484328" r:id="rId18"/>
    <p:sldLayoutId id="2147484329" r:id="rId19"/>
    <p:sldLayoutId id="2147484330" r:id="rId20"/>
  </p:sldLayoutIdLst>
  <p:transition/>
  <p:timing>
    <p:tnLst>
      <p:par>
        <p:cTn id="1" dur="indefinite" restart="never" nodeType="tmRoot"/>
      </p:par>
    </p:tnLst>
  </p:timing>
  <p:hf hdr="0" dt="0"/>
  <p:txStyles>
    <p:titleStyle>
      <a:lvl1pPr algn="l" rtl="0" fontAlgn="base">
        <a:spcBef>
          <a:spcPct val="0"/>
        </a:spcBef>
        <a:spcAft>
          <a:spcPct val="0"/>
        </a:spcAft>
        <a:defRPr sz="24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6908" algn="l" rtl="0" fontAlgn="base">
        <a:spcBef>
          <a:spcPct val="0"/>
        </a:spcBef>
        <a:spcAft>
          <a:spcPct val="0"/>
        </a:spcAft>
        <a:defRPr sz="2400" b="1">
          <a:solidFill>
            <a:schemeClr val="accent2"/>
          </a:solidFill>
          <a:latin typeface="Verdana" pitchFamily="34" charset="0"/>
        </a:defRPr>
      </a:lvl6pPr>
      <a:lvl7pPr marL="913817" algn="l" rtl="0" fontAlgn="base">
        <a:spcBef>
          <a:spcPct val="0"/>
        </a:spcBef>
        <a:spcAft>
          <a:spcPct val="0"/>
        </a:spcAft>
        <a:defRPr sz="2400" b="1">
          <a:solidFill>
            <a:schemeClr val="accent2"/>
          </a:solidFill>
          <a:latin typeface="Verdana" pitchFamily="34" charset="0"/>
        </a:defRPr>
      </a:lvl7pPr>
      <a:lvl8pPr marL="1370721" algn="l" rtl="0" fontAlgn="base">
        <a:spcBef>
          <a:spcPct val="0"/>
        </a:spcBef>
        <a:spcAft>
          <a:spcPct val="0"/>
        </a:spcAft>
        <a:defRPr sz="2400" b="1">
          <a:solidFill>
            <a:schemeClr val="accent2"/>
          </a:solidFill>
          <a:latin typeface="Verdana" pitchFamily="34" charset="0"/>
        </a:defRPr>
      </a:lvl8pPr>
      <a:lvl9pPr marL="1827630" algn="l" rtl="0" fontAlgn="base">
        <a:spcBef>
          <a:spcPct val="0"/>
        </a:spcBef>
        <a:spcAft>
          <a:spcPct val="0"/>
        </a:spcAft>
        <a:defRPr sz="2400" b="1">
          <a:solidFill>
            <a:schemeClr val="accent2"/>
          </a:solidFill>
          <a:latin typeface="Verdana" pitchFamily="34" charset="0"/>
        </a:defRPr>
      </a:lvl9pPr>
    </p:titleStyle>
    <p:bodyStyle>
      <a:lvl1pPr marL="264943" indent="-264943" algn="l" rtl="0" fontAlgn="base">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536232" indent="-271289" algn="l" rtl="0" fontAlgn="base">
        <a:spcBef>
          <a:spcPct val="20000"/>
        </a:spcBef>
        <a:spcAft>
          <a:spcPct val="0"/>
        </a:spcAft>
        <a:buClr>
          <a:schemeClr val="tx2"/>
        </a:buClr>
        <a:buFont typeface="Verdana" pitchFamily="34" charset="0"/>
        <a:buChar char="•"/>
        <a:defRPr sz="1600" kern="1200">
          <a:solidFill>
            <a:schemeClr val="accent2"/>
          </a:solidFill>
          <a:latin typeface="+mn-lt"/>
          <a:ea typeface="+mn-ea"/>
          <a:cs typeface="+mn-cs"/>
        </a:defRPr>
      </a:lvl2pPr>
      <a:lvl3pPr marL="807519" indent="-271289" algn="l" rtl="0" fontAlgn="base">
        <a:spcBef>
          <a:spcPct val="20000"/>
        </a:spcBef>
        <a:spcAft>
          <a:spcPct val="0"/>
        </a:spcAft>
        <a:buClr>
          <a:srgbClr val="E64A0E"/>
        </a:buClr>
        <a:buFont typeface="Verdana" pitchFamily="34" charset="0"/>
        <a:buChar char="•"/>
        <a:defRPr sz="1400" kern="1200">
          <a:solidFill>
            <a:schemeClr val="accent2"/>
          </a:solidFill>
          <a:latin typeface="+mn-lt"/>
          <a:ea typeface="+mn-ea"/>
          <a:cs typeface="+mn-cs"/>
        </a:defRPr>
      </a:lvl3pPr>
      <a:lvl4pPr marL="985208" indent="-177685" algn="l" rtl="0" fontAlgn="base">
        <a:spcBef>
          <a:spcPct val="20000"/>
        </a:spcBef>
        <a:spcAft>
          <a:spcPct val="0"/>
        </a:spcAft>
        <a:buClr>
          <a:srgbClr val="82786F"/>
        </a:buClr>
        <a:buFont typeface="Verdana" pitchFamily="34" charset="0"/>
        <a:buChar char="•"/>
        <a:defRPr sz="1200" kern="1200">
          <a:solidFill>
            <a:schemeClr val="accent2"/>
          </a:solidFill>
          <a:latin typeface="+mn-lt"/>
          <a:ea typeface="+mn-ea"/>
          <a:cs typeface="+mn-cs"/>
        </a:defRPr>
      </a:lvl4pPr>
      <a:lvl5pPr marL="1256493" indent="-184033" algn="l" rtl="0" fontAlgn="base">
        <a:spcBef>
          <a:spcPct val="20000"/>
        </a:spcBef>
        <a:spcAft>
          <a:spcPct val="0"/>
        </a:spcAft>
        <a:buClr>
          <a:srgbClr val="001423"/>
        </a:buClr>
        <a:buFont typeface="Verdana" pitchFamily="34" charset="0"/>
        <a:buChar char="•"/>
        <a:defRPr sz="1100" kern="1200">
          <a:solidFill>
            <a:schemeClr val="accent2"/>
          </a:solidFill>
          <a:latin typeface="+mn-lt"/>
          <a:ea typeface="+mn-ea"/>
          <a:cs typeface="+mn-cs"/>
        </a:defRPr>
      </a:lvl5pPr>
      <a:lvl6pPr marL="2512990" indent="-228451" algn="l" defTabSz="91381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900" indent="-228451" algn="l" defTabSz="91381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808" indent="-228451" algn="l" defTabSz="91381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713" indent="-228451" algn="l" defTabSz="91381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817" rtl="0" eaLnBrk="1" latinLnBrk="0" hangingPunct="1">
        <a:defRPr sz="1800" kern="1200">
          <a:solidFill>
            <a:schemeClr val="tx1"/>
          </a:solidFill>
          <a:latin typeface="+mn-lt"/>
          <a:ea typeface="+mn-ea"/>
          <a:cs typeface="+mn-cs"/>
        </a:defRPr>
      </a:lvl1pPr>
      <a:lvl2pPr marL="456908" algn="l" defTabSz="913817" rtl="0" eaLnBrk="1" latinLnBrk="0" hangingPunct="1">
        <a:defRPr sz="1800" kern="1200">
          <a:solidFill>
            <a:schemeClr val="tx1"/>
          </a:solidFill>
          <a:latin typeface="+mn-lt"/>
          <a:ea typeface="+mn-ea"/>
          <a:cs typeface="+mn-cs"/>
        </a:defRPr>
      </a:lvl2pPr>
      <a:lvl3pPr marL="913817" algn="l" defTabSz="913817" rtl="0" eaLnBrk="1" latinLnBrk="0" hangingPunct="1">
        <a:defRPr sz="1800" kern="1200">
          <a:solidFill>
            <a:schemeClr val="tx1"/>
          </a:solidFill>
          <a:latin typeface="+mn-lt"/>
          <a:ea typeface="+mn-ea"/>
          <a:cs typeface="+mn-cs"/>
        </a:defRPr>
      </a:lvl3pPr>
      <a:lvl4pPr marL="1370721" algn="l" defTabSz="913817" rtl="0" eaLnBrk="1" latinLnBrk="0" hangingPunct="1">
        <a:defRPr sz="1800" kern="1200">
          <a:solidFill>
            <a:schemeClr val="tx1"/>
          </a:solidFill>
          <a:latin typeface="+mn-lt"/>
          <a:ea typeface="+mn-ea"/>
          <a:cs typeface="+mn-cs"/>
        </a:defRPr>
      </a:lvl4pPr>
      <a:lvl5pPr marL="1827630" algn="l" defTabSz="913817" rtl="0" eaLnBrk="1" latinLnBrk="0" hangingPunct="1">
        <a:defRPr sz="1800" kern="1200">
          <a:solidFill>
            <a:schemeClr val="tx1"/>
          </a:solidFill>
          <a:latin typeface="+mn-lt"/>
          <a:ea typeface="+mn-ea"/>
          <a:cs typeface="+mn-cs"/>
        </a:defRPr>
      </a:lvl5pPr>
      <a:lvl6pPr marL="2284539" algn="l" defTabSz="913817" rtl="0" eaLnBrk="1" latinLnBrk="0" hangingPunct="1">
        <a:defRPr sz="1800" kern="1200">
          <a:solidFill>
            <a:schemeClr val="tx1"/>
          </a:solidFill>
          <a:latin typeface="+mn-lt"/>
          <a:ea typeface="+mn-ea"/>
          <a:cs typeface="+mn-cs"/>
        </a:defRPr>
      </a:lvl6pPr>
      <a:lvl7pPr marL="2741443" algn="l" defTabSz="913817" rtl="0" eaLnBrk="1" latinLnBrk="0" hangingPunct="1">
        <a:defRPr sz="1800" kern="1200">
          <a:solidFill>
            <a:schemeClr val="tx1"/>
          </a:solidFill>
          <a:latin typeface="+mn-lt"/>
          <a:ea typeface="+mn-ea"/>
          <a:cs typeface="+mn-cs"/>
        </a:defRPr>
      </a:lvl7pPr>
      <a:lvl8pPr marL="3198352" algn="l" defTabSz="913817" rtl="0" eaLnBrk="1" latinLnBrk="0" hangingPunct="1">
        <a:defRPr sz="1800" kern="1200">
          <a:solidFill>
            <a:schemeClr val="tx1"/>
          </a:solidFill>
          <a:latin typeface="+mn-lt"/>
          <a:ea typeface="+mn-ea"/>
          <a:cs typeface="+mn-cs"/>
        </a:defRPr>
      </a:lvl8pPr>
      <a:lvl9pPr marL="3655260" algn="l" defTabSz="91381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8911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589"/>
                        <a:ext cx="1587" cy="1587"/>
                      </a:xfrm>
                      <a:prstGeom prst="rect">
                        <a:avLst/>
                      </a:prstGeom>
                    </p:spPr>
                  </p:pic>
                </p:oleObj>
              </mc:Fallback>
            </mc:AlternateContent>
          </a:graphicData>
        </a:graphic>
      </p:graphicFrame>
      <p:sp>
        <p:nvSpPr>
          <p:cNvPr id="1027" name="Text Placeholder 2"/>
          <p:cNvSpPr>
            <a:spLocks noGrp="1"/>
          </p:cNvSpPr>
          <p:nvPr>
            <p:ph type="body" idx="1"/>
          </p:nvPr>
        </p:nvSpPr>
        <p:spPr bwMode="auto">
          <a:xfrm>
            <a:off x="317502" y="1312874"/>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28" name="Title Placeholder 1"/>
          <p:cNvSpPr>
            <a:spLocks noGrp="1"/>
          </p:cNvSpPr>
          <p:nvPr>
            <p:ph type="title"/>
          </p:nvPr>
        </p:nvSpPr>
        <p:spPr bwMode="auto">
          <a:xfrm>
            <a:off x="317502" y="515939"/>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59203651"/>
      </p:ext>
    </p:extLst>
  </p:cSld>
  <p:clrMap bg1="lt1" tx1="dk1" bg2="lt2" tx2="dk2" accent1="accent1" accent2="accent2" accent3="accent3" accent4="accent4" accent5="accent5" accent6="accent6" hlink="hlink" folHlink="folHlink"/>
  <p:sldLayoutIdLst>
    <p:sldLayoutId id="2147484332" r:id="rId1"/>
    <p:sldLayoutId id="2147484333" r:id="rId2"/>
    <p:sldLayoutId id="2147484334" r:id="rId3"/>
    <p:sldLayoutId id="2147484335" r:id="rId4"/>
  </p:sldLayoutIdLst>
  <p:transition/>
  <p:hf hdr="0" dt="0"/>
  <p:txStyles>
    <p:titleStyle>
      <a:lvl1pPr algn="l" rtl="0" fontAlgn="base">
        <a:spcBef>
          <a:spcPct val="0"/>
        </a:spcBef>
        <a:spcAft>
          <a:spcPct val="0"/>
        </a:spcAft>
        <a:defRPr sz="21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p:titleStyle>
    <p:bodyStyle>
      <a:lvl1pPr marL="265113" indent="-265113" algn="l" rtl="0" fontAlgn="base">
        <a:spcBef>
          <a:spcPct val="20000"/>
        </a:spcBef>
        <a:spcAft>
          <a:spcPts val="300"/>
        </a:spcAft>
        <a:buClr>
          <a:schemeClr val="accent1"/>
        </a:buClr>
        <a:buFont typeface="Verdana" pitchFamily="34" charset="0"/>
        <a:buChar char="•"/>
        <a:defRPr kern="1200">
          <a:solidFill>
            <a:schemeClr val="accent2"/>
          </a:solidFill>
          <a:latin typeface="+mn-lt"/>
          <a:ea typeface="+mn-ea"/>
          <a:cs typeface="+mn-cs"/>
        </a:defRPr>
      </a:lvl1pPr>
      <a:lvl2pPr marL="536575" indent="-271463" algn="l" rtl="0" fontAlgn="base">
        <a:spcBef>
          <a:spcPct val="20000"/>
        </a:spcBef>
        <a:spcAft>
          <a:spcPts val="300"/>
        </a:spcAft>
        <a:buClr>
          <a:schemeClr val="tx2"/>
        </a:buClr>
        <a:buFont typeface="Verdana" pitchFamily="34" charset="0"/>
        <a:buChar char="•"/>
        <a:defRPr sz="1600" kern="1200">
          <a:solidFill>
            <a:schemeClr val="accent2"/>
          </a:solidFill>
          <a:latin typeface="+mn-lt"/>
          <a:ea typeface="+mn-ea"/>
          <a:cs typeface="+mn-cs"/>
        </a:defRPr>
      </a:lvl2pPr>
      <a:lvl3pPr marL="808038" indent="-271463" algn="l" rtl="0" fontAlgn="base">
        <a:spcBef>
          <a:spcPct val="20000"/>
        </a:spcBef>
        <a:spcAft>
          <a:spcPts val="300"/>
        </a:spcAft>
        <a:buClr>
          <a:srgbClr val="E64A0E"/>
        </a:buClr>
        <a:buFont typeface="Verdana" pitchFamily="34" charset="0"/>
        <a:buChar char="•"/>
        <a:defRPr sz="1400" kern="1200">
          <a:solidFill>
            <a:schemeClr val="accent2"/>
          </a:solidFill>
          <a:latin typeface="+mn-lt"/>
          <a:ea typeface="+mn-ea"/>
          <a:cs typeface="+mn-cs"/>
        </a:defRPr>
      </a:lvl3pPr>
      <a:lvl4pPr marL="985838" indent="-177800" algn="l" rtl="0" fontAlgn="base">
        <a:spcBef>
          <a:spcPct val="20000"/>
        </a:spcBef>
        <a:spcAft>
          <a:spcPts val="300"/>
        </a:spcAft>
        <a:buClr>
          <a:srgbClr val="82786F"/>
        </a:buClr>
        <a:buFont typeface="Verdana" pitchFamily="34" charset="0"/>
        <a:buChar char="•"/>
        <a:defRPr sz="1200" kern="1200">
          <a:solidFill>
            <a:schemeClr val="accent2"/>
          </a:solidFill>
          <a:latin typeface="+mn-lt"/>
          <a:ea typeface="+mn-ea"/>
          <a:cs typeface="+mn-cs"/>
        </a:defRPr>
      </a:lvl4pPr>
      <a:lvl5pPr marL="1257300" indent="-184150" algn="l" rtl="0" fontAlgn="base">
        <a:spcBef>
          <a:spcPct val="20000"/>
        </a:spcBef>
        <a:spcAft>
          <a:spcPts val="300"/>
        </a:spcAft>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23"/>
          <p:cNvSpPr>
            <a:spLocks noGrp="1" noChangeArrowheads="1"/>
          </p:cNvSpPr>
          <p:nvPr>
            <p:ph type="sldNum" sz="quarter" idx="4"/>
          </p:nvPr>
        </p:nvSpPr>
        <p:spPr bwMode="auto">
          <a:xfrm>
            <a:off x="8515351" y="104827"/>
            <a:ext cx="311150" cy="101600"/>
          </a:xfrm>
          <a:prstGeom prst="rect">
            <a:avLst/>
          </a:prstGeom>
          <a:noFill/>
          <a:ln>
            <a:noFill/>
          </a:ln>
          <a:effectLst/>
          <a:extLst/>
        </p:spPr>
        <p:txBody>
          <a:bodyPr vert="horz" wrap="square" lIns="0" tIns="0" rIns="0" bIns="0" numCol="1" anchor="ctr" anchorCtr="0" compatLnSpc="1">
            <a:prstTxWarp prst="textNoShape">
              <a:avLst/>
            </a:prstTxWarp>
          </a:bodyPr>
          <a:lstStyle>
            <a:lvl1pPr algn="r">
              <a:defRPr sz="600">
                <a:solidFill>
                  <a:srgbClr val="82786F"/>
                </a:solidFill>
              </a:defRPr>
            </a:lvl1pPr>
          </a:lstStyle>
          <a:p>
            <a:pPr defTabSz="914400" fontAlgn="base">
              <a:spcBef>
                <a:spcPct val="0"/>
              </a:spcBef>
              <a:spcAft>
                <a:spcPct val="0"/>
              </a:spcAft>
              <a:defRPr/>
            </a:pPr>
            <a:fld id="{97380121-1901-40F5-ACB4-E0EAFB197633}" type="slidenum">
              <a:rPr lang="en-GB">
                <a:ea typeface="ＭＳ Ｐゴシック" pitchFamily="34" charset="-128"/>
              </a:rPr>
              <a:pPr defTabSz="914400" fontAlgn="base">
                <a:spcBef>
                  <a:spcPct val="0"/>
                </a:spcBef>
                <a:spcAft>
                  <a:spcPct val="0"/>
                </a:spcAft>
                <a:defRPr/>
              </a:pPr>
              <a:t>‹#›</a:t>
            </a:fld>
            <a:endParaRPr lang="en-GB">
              <a:ea typeface="ＭＳ Ｐゴシック" pitchFamily="34" charset="-128"/>
            </a:endParaRPr>
          </a:p>
        </p:txBody>
      </p:sp>
      <p:sp>
        <p:nvSpPr>
          <p:cNvPr id="1027" name="Text Placeholder 2"/>
          <p:cNvSpPr>
            <a:spLocks noGrp="1"/>
          </p:cNvSpPr>
          <p:nvPr>
            <p:ph type="body" idx="1"/>
          </p:nvPr>
        </p:nvSpPr>
        <p:spPr bwMode="auto">
          <a:xfrm>
            <a:off x="317502" y="1312874"/>
            <a:ext cx="8509000" cy="2955925"/>
          </a:xfrm>
          <a:prstGeom prst="rect">
            <a:avLst/>
          </a:prstGeom>
          <a:noFill/>
          <a:ln w="9525">
            <a:noFill/>
            <a:miter lim="800000"/>
            <a:headEnd/>
            <a:tailEnd/>
          </a:ln>
        </p:spPr>
        <p:txBody>
          <a:bodyPr vert="horz" wrap="square" lIns="0" tIns="0" rIns="21600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1028" name="Title Placeholder 1"/>
          <p:cNvSpPr>
            <a:spLocks noGrp="1"/>
          </p:cNvSpPr>
          <p:nvPr>
            <p:ph type="title"/>
          </p:nvPr>
        </p:nvSpPr>
        <p:spPr bwMode="auto">
          <a:xfrm>
            <a:off x="317502" y="515939"/>
            <a:ext cx="8509000" cy="3905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GB" smtClean="0"/>
          </a:p>
        </p:txBody>
      </p:sp>
      <p:sp>
        <p:nvSpPr>
          <p:cNvPr id="13" name="Rectangle 5"/>
          <p:cNvSpPr>
            <a:spLocks noGrp="1" noChangeArrowheads="1"/>
          </p:cNvSpPr>
          <p:nvPr>
            <p:ph type="ftr" sz="quarter" idx="3"/>
          </p:nvPr>
        </p:nvSpPr>
        <p:spPr bwMode="auto">
          <a:xfrm>
            <a:off x="4173540" y="103240"/>
            <a:ext cx="2900362" cy="101600"/>
          </a:xfrm>
          <a:prstGeom prst="rect">
            <a:avLst/>
          </a:prstGeom>
          <a:noFill/>
          <a:ln>
            <a:noFill/>
          </a:ln>
          <a:effectLst/>
          <a:extLst/>
        </p:spPr>
        <p:txBody>
          <a:bodyPr vert="horz" wrap="square" lIns="0" tIns="0" rIns="0" bIns="0" numCol="1" anchor="ctr" anchorCtr="0" compatLnSpc="1">
            <a:prstTxWarp prst="textNoShape">
              <a:avLst/>
            </a:prstTxWarp>
          </a:bodyPr>
          <a:lstStyle>
            <a:lvl1pPr algn="r">
              <a:defRPr sz="600">
                <a:solidFill>
                  <a:srgbClr val="82786F"/>
                </a:solidFill>
              </a:defRPr>
            </a:lvl1pPr>
          </a:lstStyle>
          <a:p>
            <a:pPr defTabSz="914400" fontAlgn="base">
              <a:spcBef>
                <a:spcPct val="0"/>
              </a:spcBef>
              <a:spcAft>
                <a:spcPct val="0"/>
              </a:spcAft>
              <a:defRPr/>
            </a:pPr>
            <a:r>
              <a:rPr lang="en-GB">
                <a:ea typeface="ＭＳ Ｐゴシック" pitchFamily="34" charset="-128"/>
              </a:rPr>
              <a:t>Presentation title</a:t>
            </a:r>
          </a:p>
        </p:txBody>
      </p:sp>
      <p:sp>
        <p:nvSpPr>
          <p:cNvPr id="15" name="Rectangle 81"/>
          <p:cNvSpPr>
            <a:spLocks noGrp="1" noChangeArrowheads="1"/>
          </p:cNvSpPr>
          <p:nvPr>
            <p:ph type="dt" sz="half" idx="2"/>
          </p:nvPr>
        </p:nvSpPr>
        <p:spPr bwMode="auto">
          <a:xfrm>
            <a:off x="7186658" y="103240"/>
            <a:ext cx="1201737" cy="101600"/>
          </a:xfrm>
          <a:prstGeom prst="rect">
            <a:avLst/>
          </a:prstGeom>
          <a:noFill/>
          <a:ln>
            <a:noFill/>
          </a:ln>
          <a:effectLst/>
          <a:extLst/>
        </p:spPr>
        <p:txBody>
          <a:bodyPr vert="horz" wrap="square" lIns="0" tIns="0" rIns="0" bIns="0" numCol="1" anchor="ctr" anchorCtr="0" compatLnSpc="1">
            <a:prstTxWarp prst="textNoShape">
              <a:avLst/>
            </a:prstTxWarp>
          </a:bodyPr>
          <a:lstStyle>
            <a:lvl1pPr algn="r">
              <a:defRPr sz="600">
                <a:solidFill>
                  <a:srgbClr val="82786F"/>
                </a:solidFill>
              </a:defRPr>
            </a:lvl1pPr>
          </a:lstStyle>
          <a:p>
            <a:pPr defTabSz="914400" fontAlgn="base">
              <a:spcBef>
                <a:spcPct val="0"/>
              </a:spcBef>
              <a:spcAft>
                <a:spcPct val="0"/>
              </a:spcAft>
              <a:defRPr/>
            </a:pPr>
            <a:r>
              <a:rPr lang="en-GB">
                <a:ea typeface="ＭＳ Ｐゴシック" pitchFamily="34" charset="-128"/>
              </a:rPr>
              <a:t>Date</a:t>
            </a:r>
          </a:p>
        </p:txBody>
      </p:sp>
    </p:spTree>
    <p:extLst>
      <p:ext uri="{BB962C8B-B14F-4D97-AF65-F5344CB8AC3E}">
        <p14:creationId xmlns:p14="http://schemas.microsoft.com/office/powerpoint/2010/main" val="3561954386"/>
      </p:ext>
    </p:extLst>
  </p:cSld>
  <p:clrMap bg1="lt1" tx1="dk1" bg2="lt2" tx2="dk2" accent1="accent1" accent2="accent2" accent3="accent3" accent4="accent4" accent5="accent5" accent6="accent6" hlink="hlink" folHlink="folHlink"/>
  <p:sldLayoutIdLst>
    <p:sldLayoutId id="2147484393" r:id="rId1"/>
    <p:sldLayoutId id="2147484394" r:id="rId2"/>
    <p:sldLayoutId id="2147484395" r:id="rId3"/>
    <p:sldLayoutId id="2147484396" r:id="rId4"/>
    <p:sldLayoutId id="2147484397" r:id="rId5"/>
    <p:sldLayoutId id="2147484398" r:id="rId6"/>
    <p:sldLayoutId id="2147484399" r:id="rId7"/>
    <p:sldLayoutId id="2147484400" r:id="rId8"/>
    <p:sldLayoutId id="2147484401" r:id="rId9"/>
    <p:sldLayoutId id="2147484402" r:id="rId10"/>
    <p:sldLayoutId id="2147484403" r:id="rId11"/>
    <p:sldLayoutId id="2147484404" r:id="rId12"/>
    <p:sldLayoutId id="2147484405" r:id="rId13"/>
    <p:sldLayoutId id="2147484406" r:id="rId14"/>
    <p:sldLayoutId id="2147484407" r:id="rId15"/>
    <p:sldLayoutId id="2147484408" r:id="rId16"/>
    <p:sldLayoutId id="2147484409" r:id="rId17"/>
    <p:sldLayoutId id="2147484410" r:id="rId18"/>
    <p:sldLayoutId id="2147484411" r:id="rId19"/>
    <p:sldLayoutId id="2147484412" r:id="rId20"/>
    <p:sldLayoutId id="2147484413" r:id="rId21"/>
    <p:sldLayoutId id="2147484414" r:id="rId22"/>
    <p:sldLayoutId id="2147484415" r:id="rId23"/>
    <p:sldLayoutId id="2147484416" r:id="rId24"/>
    <p:sldLayoutId id="2147484417" r:id="rId25"/>
    <p:sldLayoutId id="2147484418" r:id="rId26"/>
    <p:sldLayoutId id="2147484419" r:id="rId27"/>
    <p:sldLayoutId id="2147484420" r:id="rId28"/>
    <p:sldLayoutId id="2147484421" r:id="rId29"/>
    <p:sldLayoutId id="2147484422" r:id="rId30"/>
    <p:sldLayoutId id="2147484423" r:id="rId31"/>
  </p:sldLayoutIdLst>
  <p:transition/>
  <p:timing>
    <p:tnLst>
      <p:par>
        <p:cTn id="1" dur="indefinite" restart="never" nodeType="tmRoot"/>
      </p:par>
    </p:tnLst>
  </p:timing>
  <p:hf hdr="0"/>
  <p:txStyles>
    <p:title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Verdana" pitchFamily="34" charset="0"/>
        </a:defRPr>
      </a:lvl2pPr>
      <a:lvl3pPr algn="l" rtl="0" eaLnBrk="0" fontAlgn="base" hangingPunct="0">
        <a:spcBef>
          <a:spcPct val="0"/>
        </a:spcBef>
        <a:spcAft>
          <a:spcPct val="0"/>
        </a:spcAft>
        <a:defRPr sz="2400" b="1">
          <a:solidFill>
            <a:schemeClr val="accent2"/>
          </a:solidFill>
          <a:latin typeface="Verdana" pitchFamily="34" charset="0"/>
        </a:defRPr>
      </a:lvl3pPr>
      <a:lvl4pPr algn="l" rtl="0" eaLnBrk="0" fontAlgn="base" hangingPunct="0">
        <a:spcBef>
          <a:spcPct val="0"/>
        </a:spcBef>
        <a:spcAft>
          <a:spcPct val="0"/>
        </a:spcAft>
        <a:defRPr sz="2400" b="1">
          <a:solidFill>
            <a:schemeClr val="accent2"/>
          </a:solidFill>
          <a:latin typeface="Verdana" pitchFamily="34" charset="0"/>
        </a:defRPr>
      </a:lvl4pPr>
      <a:lvl5pPr algn="l" rtl="0" eaLnBrk="0" fontAlgn="base" hangingPunct="0">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p:titleStyle>
    <p:bodyStyle>
      <a:lvl1pPr marL="265113" indent="-265113" algn="l" rtl="0" eaLnBrk="0" fontAlgn="base" hangingPunct="0">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536575" indent="-271463" algn="l" rtl="0" eaLnBrk="0" fontAlgn="base" hangingPunct="0">
        <a:spcBef>
          <a:spcPct val="20000"/>
        </a:spcBef>
        <a:spcAft>
          <a:spcPct val="0"/>
        </a:spcAft>
        <a:buClr>
          <a:schemeClr val="tx2"/>
        </a:buClr>
        <a:buFont typeface="Verdana" pitchFamily="34" charset="0"/>
        <a:buChar char="•"/>
        <a:defRPr sz="1600" kern="1200">
          <a:solidFill>
            <a:schemeClr val="accent2"/>
          </a:solidFill>
          <a:latin typeface="+mn-lt"/>
          <a:ea typeface="+mn-ea"/>
          <a:cs typeface="+mn-cs"/>
        </a:defRPr>
      </a:lvl2pPr>
      <a:lvl3pPr marL="808038" indent="-271463" algn="l" rtl="0" eaLnBrk="0" fontAlgn="base" hangingPunct="0">
        <a:spcBef>
          <a:spcPct val="20000"/>
        </a:spcBef>
        <a:spcAft>
          <a:spcPct val="0"/>
        </a:spcAft>
        <a:buClr>
          <a:srgbClr val="E64A0E"/>
        </a:buClr>
        <a:buFont typeface="Verdana" pitchFamily="34" charset="0"/>
        <a:buChar char="•"/>
        <a:defRPr sz="1400" kern="1200">
          <a:solidFill>
            <a:schemeClr val="accent2"/>
          </a:solidFill>
          <a:latin typeface="+mn-lt"/>
          <a:ea typeface="+mn-ea"/>
          <a:cs typeface="+mn-cs"/>
        </a:defRPr>
      </a:lvl3pPr>
      <a:lvl4pPr marL="985838" indent="-177800" algn="l" rtl="0" eaLnBrk="0" fontAlgn="base" hangingPunct="0">
        <a:spcBef>
          <a:spcPct val="20000"/>
        </a:spcBef>
        <a:spcAft>
          <a:spcPct val="0"/>
        </a:spcAft>
        <a:buClr>
          <a:srgbClr val="82786F"/>
        </a:buClr>
        <a:buFont typeface="Verdana" pitchFamily="34" charset="0"/>
        <a:buChar char="•"/>
        <a:defRPr sz="1200" kern="1200">
          <a:solidFill>
            <a:schemeClr val="accent2"/>
          </a:solidFill>
          <a:latin typeface="+mn-lt"/>
          <a:ea typeface="+mn-ea"/>
          <a:cs typeface="+mn-cs"/>
        </a:defRPr>
      </a:lvl4pPr>
      <a:lvl5pPr marL="1257300" indent="-184150" algn="l" rtl="0" eaLnBrk="0" fontAlgn="base" hangingPunct="0">
        <a:spcBef>
          <a:spcPct val="20000"/>
        </a:spcBef>
        <a:spcAft>
          <a:spcPct val="0"/>
        </a:spcAft>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Title Placeholder 1"/>
          <p:cNvSpPr>
            <a:spLocks noGrp="1"/>
          </p:cNvSpPr>
          <p:nvPr>
            <p:ph type="title"/>
          </p:nvPr>
        </p:nvSpPr>
        <p:spPr bwMode="auto">
          <a:xfrm>
            <a:off x="457200" y="205978"/>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cs-CZ" smtClean="0"/>
              <a:t>Click to edit Master title style</a:t>
            </a:r>
          </a:p>
        </p:txBody>
      </p:sp>
      <p:sp>
        <p:nvSpPr>
          <p:cNvPr id="5123" name="Text Placeholder 2"/>
          <p:cNvSpPr>
            <a:spLocks noGrp="1"/>
          </p:cNvSpPr>
          <p:nvPr>
            <p:ph type="body" idx="1"/>
          </p:nvPr>
        </p:nvSpPr>
        <p:spPr bwMode="auto">
          <a:xfrm>
            <a:off x="457200" y="1200151"/>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cs-CZ" smtClean="0"/>
              <a:t>Click to edit Master text styles</a:t>
            </a:r>
          </a:p>
          <a:p>
            <a:pPr lvl="1"/>
            <a:r>
              <a:rPr lang="en-US" altLang="cs-CZ" smtClean="0"/>
              <a:t>Second level</a:t>
            </a:r>
          </a:p>
          <a:p>
            <a:pPr lvl="2"/>
            <a:r>
              <a:rPr lang="en-US" altLang="cs-CZ" smtClean="0"/>
              <a:t>Third level</a:t>
            </a:r>
          </a:p>
          <a:p>
            <a:pPr lvl="3"/>
            <a:r>
              <a:rPr lang="en-US" altLang="cs-CZ" smtClean="0"/>
              <a:t>Fourth level</a:t>
            </a:r>
          </a:p>
          <a:p>
            <a:pPr lvl="4"/>
            <a:r>
              <a:rPr lang="en-US" altLang="cs-CZ" smtClean="0"/>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defTabSz="914400" eaLnBrk="0" fontAlgn="base" hangingPunct="0">
              <a:spcBef>
                <a:spcPct val="0"/>
              </a:spcBef>
              <a:spcAft>
                <a:spcPct val="0"/>
              </a:spcAft>
              <a:defRPr/>
            </a:pPr>
            <a:fld id="{D324FF8F-2DFB-4DEA-8C1D-655DBAF62A37}" type="datetimeFigureOut">
              <a:rPr lang="en-US" altLang="cs-CZ">
                <a:latin typeface="Verdana" pitchFamily="34" charset="0"/>
                <a:cs typeface="Arial" pitchFamily="34" charset="0"/>
              </a:rPr>
              <a:pPr defTabSz="914400" eaLnBrk="0" fontAlgn="base" hangingPunct="0">
                <a:spcBef>
                  <a:spcPct val="0"/>
                </a:spcBef>
                <a:spcAft>
                  <a:spcPct val="0"/>
                </a:spcAft>
                <a:defRPr/>
              </a:pPr>
              <a:t>1/20/2018</a:t>
            </a:fld>
            <a:endParaRPr lang="en-US" altLang="cs-CZ" dirty="0">
              <a:latin typeface="Verdana" pitchFamily="34" charset="0"/>
              <a:cs typeface="Arial" pitchFamily="34" charset="0"/>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mn-lt"/>
                <a:ea typeface="+mn-ea"/>
              </a:defRPr>
            </a:lvl1pPr>
          </a:lstStyle>
          <a:p>
            <a:pPr defTabSz="914400" eaLnBrk="0" hangingPunct="0">
              <a:defRPr/>
            </a:pPr>
            <a:endParaRPr lang="en-US">
              <a:cs typeface="Arial" pitchFamily="34" charset="0"/>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defTabSz="914400" eaLnBrk="0" fontAlgn="base" hangingPunct="0">
              <a:spcBef>
                <a:spcPct val="0"/>
              </a:spcBef>
              <a:spcAft>
                <a:spcPct val="0"/>
              </a:spcAft>
            </a:pPr>
            <a:fld id="{B3FF00C7-8B7B-44FD-997F-12B2274BC482}" type="slidenum">
              <a:rPr lang="en-US" altLang="cs-CZ">
                <a:latin typeface="Verdana" pitchFamily="34" charset="0"/>
                <a:cs typeface="Arial" pitchFamily="34" charset="0"/>
              </a:rPr>
              <a:pPr defTabSz="914400" eaLnBrk="0" fontAlgn="base" hangingPunct="0">
                <a:spcBef>
                  <a:spcPct val="0"/>
                </a:spcBef>
                <a:spcAft>
                  <a:spcPct val="0"/>
                </a:spcAft>
              </a:pPr>
              <a:t>‹#›</a:t>
            </a:fld>
            <a:endParaRPr lang="en-US" altLang="cs-CZ">
              <a:latin typeface="Verdana" pitchFamily="34" charset="0"/>
              <a:cs typeface="Arial" pitchFamily="34" charset="0"/>
            </a:endParaRPr>
          </a:p>
        </p:txBody>
      </p:sp>
    </p:spTree>
    <p:extLst>
      <p:ext uri="{BB962C8B-B14F-4D97-AF65-F5344CB8AC3E}">
        <p14:creationId xmlns:p14="http://schemas.microsoft.com/office/powerpoint/2010/main" val="3804689883"/>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 id="2147484434" r:id="rId8"/>
    <p:sldLayoutId id="2147484435" r:id="rId9"/>
    <p:sldLayoutId id="2147484436" r:id="rId10"/>
    <p:sldLayoutId id="2147484437" r:id="rId11"/>
    <p:sldLayoutId id="2147484438" r:id="rId12"/>
    <p:sldLayoutId id="2147484439" r:id="rId13"/>
    <p:sldLayoutId id="2147484440" r:id="rId14"/>
    <p:sldLayoutId id="2147484441" r:id="rId15"/>
    <p:sldLayoutId id="2147484442" r:id="rId16"/>
    <p:sldLayoutId id="2147484443" r:id="rId17"/>
    <p:sldLayoutId id="2147484444" r:id="rId18"/>
    <p:sldLayoutId id="2147484445" r:id="rId19"/>
  </p:sldLayoutIdLst>
  <p:transition/>
  <p:timing>
    <p:tnLst>
      <p:par>
        <p:cTn id="1" dur="indefinite" restart="never" nodeType="tmRoot"/>
      </p:par>
    </p:tnLst>
  </p:timing>
  <p:txStyles>
    <p:titleStyle>
      <a:lvl1pPr algn="l" rtl="0" eaLnBrk="0" fontAlgn="base" hangingPunct="0">
        <a:spcBef>
          <a:spcPct val="0"/>
        </a:spcBef>
        <a:spcAft>
          <a:spcPct val="0"/>
        </a:spcAft>
        <a:defRPr sz="3600" kern="1200">
          <a:solidFill>
            <a:schemeClr val="tx1"/>
          </a:solidFill>
          <a:latin typeface="Arial" pitchFamily="34" charset="0"/>
          <a:ea typeface="ＭＳ Ｐゴシック" pitchFamily="34" charset="-128"/>
          <a:cs typeface="Arial" pitchFamily="34" charset="0"/>
        </a:defRPr>
      </a:lvl1pPr>
      <a:lvl2pPr algn="l" rtl="0" eaLnBrk="0" fontAlgn="base" hangingPunct="0">
        <a:spcBef>
          <a:spcPct val="0"/>
        </a:spcBef>
        <a:spcAft>
          <a:spcPct val="0"/>
        </a:spcAft>
        <a:defRPr sz="3600">
          <a:solidFill>
            <a:schemeClr val="tx1"/>
          </a:solidFill>
          <a:latin typeface="Arial" pitchFamily="34" charset="0"/>
          <a:ea typeface="ＭＳ Ｐゴシック" pitchFamily="34" charset="-128"/>
          <a:cs typeface="Arial" pitchFamily="34" charset="0"/>
        </a:defRPr>
      </a:lvl2pPr>
      <a:lvl3pPr algn="l" rtl="0" eaLnBrk="0" fontAlgn="base" hangingPunct="0">
        <a:spcBef>
          <a:spcPct val="0"/>
        </a:spcBef>
        <a:spcAft>
          <a:spcPct val="0"/>
        </a:spcAft>
        <a:defRPr sz="3600">
          <a:solidFill>
            <a:schemeClr val="tx1"/>
          </a:solidFill>
          <a:latin typeface="Arial" pitchFamily="34" charset="0"/>
          <a:ea typeface="ＭＳ Ｐゴシック" pitchFamily="34" charset="-128"/>
          <a:cs typeface="Arial" pitchFamily="34" charset="0"/>
        </a:defRPr>
      </a:lvl3pPr>
      <a:lvl4pPr algn="l" rtl="0" eaLnBrk="0" fontAlgn="base" hangingPunct="0">
        <a:spcBef>
          <a:spcPct val="0"/>
        </a:spcBef>
        <a:spcAft>
          <a:spcPct val="0"/>
        </a:spcAft>
        <a:defRPr sz="3600">
          <a:solidFill>
            <a:schemeClr val="tx1"/>
          </a:solidFill>
          <a:latin typeface="Arial" pitchFamily="34" charset="0"/>
          <a:ea typeface="ＭＳ Ｐゴシック" pitchFamily="34" charset="-128"/>
          <a:cs typeface="Arial" pitchFamily="34" charset="0"/>
        </a:defRPr>
      </a:lvl4pPr>
      <a:lvl5pPr algn="l" rtl="0" eaLnBrk="0" fontAlgn="base" hangingPunct="0">
        <a:spcBef>
          <a:spcPct val="0"/>
        </a:spcBef>
        <a:spcAft>
          <a:spcPct val="0"/>
        </a:spcAft>
        <a:defRPr sz="3600">
          <a:solidFill>
            <a:schemeClr val="tx1"/>
          </a:solidFill>
          <a:latin typeface="Arial" pitchFamily="34" charset="0"/>
          <a:ea typeface="ＭＳ Ｐゴシック" pitchFamily="34" charset="-128"/>
          <a:cs typeface="Arial" pitchFamily="34" charset="0"/>
        </a:defRPr>
      </a:lvl5pPr>
      <a:lvl6pPr marL="457200" algn="l" rtl="0" fontAlgn="base">
        <a:spcBef>
          <a:spcPct val="0"/>
        </a:spcBef>
        <a:spcAft>
          <a:spcPct val="0"/>
        </a:spcAft>
        <a:defRPr sz="3600">
          <a:solidFill>
            <a:schemeClr val="tx1"/>
          </a:solidFill>
          <a:latin typeface="Arial" pitchFamily="34" charset="0"/>
          <a:ea typeface="ＭＳ Ｐゴシック" pitchFamily="34" charset="-128"/>
        </a:defRPr>
      </a:lvl6pPr>
      <a:lvl7pPr marL="914400" algn="l" rtl="0" fontAlgn="base">
        <a:spcBef>
          <a:spcPct val="0"/>
        </a:spcBef>
        <a:spcAft>
          <a:spcPct val="0"/>
        </a:spcAft>
        <a:defRPr sz="3600">
          <a:solidFill>
            <a:schemeClr val="tx1"/>
          </a:solidFill>
          <a:latin typeface="Arial" pitchFamily="34" charset="0"/>
          <a:ea typeface="ＭＳ Ｐゴシック" pitchFamily="34" charset="-128"/>
        </a:defRPr>
      </a:lvl7pPr>
      <a:lvl8pPr marL="1371600" algn="l" rtl="0" fontAlgn="base">
        <a:spcBef>
          <a:spcPct val="0"/>
        </a:spcBef>
        <a:spcAft>
          <a:spcPct val="0"/>
        </a:spcAft>
        <a:defRPr sz="3600">
          <a:solidFill>
            <a:schemeClr val="tx1"/>
          </a:solidFill>
          <a:latin typeface="Arial" pitchFamily="34" charset="0"/>
          <a:ea typeface="ＭＳ Ｐゴシック" pitchFamily="34" charset="-128"/>
        </a:defRPr>
      </a:lvl8pPr>
      <a:lvl9pPr marL="1828800" algn="l" rtl="0" fontAlgn="base">
        <a:spcBef>
          <a:spcPct val="0"/>
        </a:spcBef>
        <a:spcAft>
          <a:spcPct val="0"/>
        </a:spcAft>
        <a:defRPr sz="3600">
          <a:solidFill>
            <a:schemeClr val="tx1"/>
          </a:solidFill>
          <a:latin typeface="Arial" pitchFamily="34" charset="0"/>
          <a:ea typeface="ＭＳ Ｐゴシック" pitchFamily="34" charset="-128"/>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pitchFamily="34" charset="0"/>
          <a:ea typeface="ＭＳ Ｐゴシック" pitchFamily="34" charset="-128"/>
          <a:cs typeface="Arial" pitchFamily="34"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pitchFamily="34" charset="0"/>
          <a:ea typeface="ＭＳ Ｐゴシック" pitchFamily="34" charset="-128"/>
          <a:cs typeface="Arial" pitchFamily="34"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ＭＳ Ｐゴシック" pitchFamily="34" charset="-128"/>
          <a:cs typeface="Arial" pitchFamily="34"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ＭＳ Ｐゴシック" pitchFamily="34" charset="-128"/>
          <a:cs typeface="Arial" pitchFamily="34"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ＭＳ Ｐゴシック" pitchFamily="3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05978"/>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cs-CZ" altLang="cs-CZ" smtClean="0"/>
              <a:t>Klepnutím lze upravit styl předlohy nadpisů.</a:t>
            </a:r>
          </a:p>
        </p:txBody>
      </p:sp>
      <p:sp>
        <p:nvSpPr>
          <p:cNvPr id="1027" name="Rectangle 3"/>
          <p:cNvSpPr>
            <a:spLocks noGrp="1" noChangeArrowheads="1"/>
          </p:cNvSpPr>
          <p:nvPr>
            <p:ph type="body" idx="1"/>
          </p:nvPr>
        </p:nvSpPr>
        <p:spPr bwMode="auto">
          <a:xfrm>
            <a:off x="457200" y="1200151"/>
            <a:ext cx="8229600" cy="33944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cs-CZ" altLang="cs-CZ" smtClean="0"/>
              <a:t>Klepnutím lze upravit styly předlohy textu.</a:t>
            </a:r>
          </a:p>
          <a:p>
            <a:pPr lvl="1"/>
            <a:r>
              <a:rPr lang="cs-CZ" altLang="cs-CZ" smtClean="0"/>
              <a:t>Druhá úroveň</a:t>
            </a:r>
          </a:p>
          <a:p>
            <a:pPr lvl="2"/>
            <a:r>
              <a:rPr lang="cs-CZ" altLang="cs-CZ" smtClean="0"/>
              <a:t>Třetí úroveň</a:t>
            </a:r>
          </a:p>
          <a:p>
            <a:pPr lvl="3"/>
            <a:r>
              <a:rPr lang="cs-CZ" altLang="cs-CZ" smtClean="0"/>
              <a:t>Čtvrtá úroveň</a:t>
            </a:r>
          </a:p>
          <a:p>
            <a:pPr lvl="4"/>
            <a:r>
              <a:rPr lang="cs-CZ" altLang="cs-CZ" smtClean="0"/>
              <a:t>Pátá úroveň</a:t>
            </a:r>
          </a:p>
        </p:txBody>
      </p:sp>
      <p:sp>
        <p:nvSpPr>
          <p:cNvPr id="193540" name="Rectangle 4"/>
          <p:cNvSpPr>
            <a:spLocks noGrp="1" noChangeArrowheads="1"/>
          </p:cNvSpPr>
          <p:nvPr>
            <p:ph type="dt" sz="half" idx="2"/>
          </p:nvPr>
        </p:nvSpPr>
        <p:spPr bwMode="auto">
          <a:xfrm>
            <a:off x="457200" y="4683919"/>
            <a:ext cx="2133600" cy="3571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400">
                <a:latin typeface="Arial" pitchFamily="34" charset="0"/>
              </a:defRPr>
            </a:lvl1pPr>
          </a:lstStyle>
          <a:p>
            <a:pPr defTabSz="914400" fontAlgn="base">
              <a:spcBef>
                <a:spcPct val="0"/>
              </a:spcBef>
              <a:spcAft>
                <a:spcPct val="0"/>
              </a:spcAft>
              <a:defRPr/>
            </a:pPr>
            <a:endParaRPr lang="cs-CZ" altLang="cs-CZ">
              <a:solidFill>
                <a:srgbClr val="000000"/>
              </a:solidFill>
            </a:endParaRPr>
          </a:p>
        </p:txBody>
      </p:sp>
      <p:sp>
        <p:nvSpPr>
          <p:cNvPr id="193541" name="Rectangle 5"/>
          <p:cNvSpPr>
            <a:spLocks noGrp="1" noChangeArrowheads="1"/>
          </p:cNvSpPr>
          <p:nvPr>
            <p:ph type="ftr" sz="quarter" idx="3"/>
          </p:nvPr>
        </p:nvSpPr>
        <p:spPr bwMode="auto">
          <a:xfrm>
            <a:off x="3124200" y="4683919"/>
            <a:ext cx="2895600" cy="3571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a:latin typeface="Arial" pitchFamily="34" charset="0"/>
              </a:defRPr>
            </a:lvl1pPr>
          </a:lstStyle>
          <a:p>
            <a:pPr defTabSz="914400" fontAlgn="base">
              <a:spcBef>
                <a:spcPct val="0"/>
              </a:spcBef>
              <a:spcAft>
                <a:spcPct val="0"/>
              </a:spcAft>
              <a:defRPr/>
            </a:pPr>
            <a:endParaRPr lang="cs-CZ" altLang="cs-CZ">
              <a:solidFill>
                <a:srgbClr val="000000"/>
              </a:solidFill>
            </a:endParaRPr>
          </a:p>
        </p:txBody>
      </p:sp>
      <p:sp>
        <p:nvSpPr>
          <p:cNvPr id="193542" name="Rectangle 6"/>
          <p:cNvSpPr>
            <a:spLocks noGrp="1" noChangeArrowheads="1"/>
          </p:cNvSpPr>
          <p:nvPr>
            <p:ph type="sldNum" sz="quarter" idx="4"/>
          </p:nvPr>
        </p:nvSpPr>
        <p:spPr bwMode="auto">
          <a:xfrm>
            <a:off x="6553200" y="4683919"/>
            <a:ext cx="2133600" cy="3571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a:latin typeface="Arial" pitchFamily="34" charset="0"/>
              </a:defRPr>
            </a:lvl1pPr>
          </a:lstStyle>
          <a:p>
            <a:pPr defTabSz="914400" fontAlgn="base">
              <a:spcBef>
                <a:spcPct val="0"/>
              </a:spcBef>
              <a:spcAft>
                <a:spcPct val="0"/>
              </a:spcAft>
              <a:defRPr/>
            </a:pPr>
            <a:fld id="{6E938BB5-649B-4870-BE61-FB84DAF1B150}" type="slidenum">
              <a:rPr lang="cs-CZ" altLang="cs-CZ">
                <a:solidFill>
                  <a:srgbClr val="000000"/>
                </a:solidFill>
              </a:rPr>
              <a:pPr defTabSz="914400" fontAlgn="base">
                <a:spcBef>
                  <a:spcPct val="0"/>
                </a:spcBef>
                <a:spcAft>
                  <a:spcPct val="0"/>
                </a:spcAft>
                <a:defRPr/>
              </a:pPr>
              <a:t>‹#›</a:t>
            </a:fld>
            <a:endParaRPr lang="cs-CZ" altLang="cs-CZ">
              <a:solidFill>
                <a:srgbClr val="000000"/>
              </a:solidFill>
            </a:endParaRPr>
          </a:p>
        </p:txBody>
      </p:sp>
    </p:spTree>
    <p:extLst>
      <p:ext uri="{BB962C8B-B14F-4D97-AF65-F5344CB8AC3E}">
        <p14:creationId xmlns:p14="http://schemas.microsoft.com/office/powerpoint/2010/main" val="2033879889"/>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 id="2147484461" r:id="rId14"/>
    <p:sldLayoutId id="2147484462" r:id="rId15"/>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797"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9" y="1589"/>
                        <a:ext cx="1587" cy="1587"/>
                      </a:xfrm>
                      <a:prstGeom prst="rect">
                        <a:avLst/>
                      </a:prstGeom>
                    </p:spPr>
                  </p:pic>
                </p:oleObj>
              </mc:Fallback>
            </mc:AlternateContent>
          </a:graphicData>
        </a:graphic>
      </p:graphicFrame>
      <p:sp>
        <p:nvSpPr>
          <p:cNvPr id="1027" name="Text Placeholder 2"/>
          <p:cNvSpPr>
            <a:spLocks noGrp="1"/>
          </p:cNvSpPr>
          <p:nvPr>
            <p:ph type="body" idx="1"/>
          </p:nvPr>
        </p:nvSpPr>
        <p:spPr bwMode="auto">
          <a:xfrm>
            <a:off x="317501" y="1312874"/>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028" name="Title Placeholder 1"/>
          <p:cNvSpPr>
            <a:spLocks noGrp="1"/>
          </p:cNvSpPr>
          <p:nvPr>
            <p:ph type="title"/>
          </p:nvPr>
        </p:nvSpPr>
        <p:spPr bwMode="auto">
          <a:xfrm>
            <a:off x="317501" y="221381"/>
            <a:ext cx="8509000" cy="685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noProof="0" dirty="0" smtClean="0"/>
              <a:t>Click to edit Master title style</a:t>
            </a:r>
          </a:p>
        </p:txBody>
      </p:sp>
    </p:spTree>
    <p:extLst>
      <p:ext uri="{BB962C8B-B14F-4D97-AF65-F5344CB8AC3E}">
        <p14:creationId xmlns:p14="http://schemas.microsoft.com/office/powerpoint/2010/main" val="2825620362"/>
      </p:ext>
    </p:extLst>
  </p:cSld>
  <p:clrMap bg1="lt1" tx1="dk1" bg2="lt2" tx2="dk2" accent1="accent1" accent2="accent2" accent3="accent3" accent4="accent4" accent5="accent5" accent6="accent6" hlink="hlink" folHlink="folHlink"/>
  <p:sldLayoutIdLst>
    <p:sldLayoutId id="2147484093"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7" r:id="rId13"/>
    <p:sldLayoutId id="2147484108" r:id="rId14"/>
    <p:sldLayoutId id="2147484109" r:id="rId15"/>
    <p:sldLayoutId id="2147484110" r:id="rId16"/>
    <p:sldLayoutId id="2147484111" r:id="rId17"/>
  </p:sldLayoutIdLst>
  <p:transition/>
  <p:timing>
    <p:tnLst>
      <p:par>
        <p:cTn id="1" dur="indefinite" restart="never" nodeType="tmRoot"/>
      </p:par>
    </p:tnLst>
  </p:timing>
  <p:hf hdr="0" dt="0"/>
  <p:txStyles>
    <p:titleStyle>
      <a:lvl1pPr algn="l" rtl="0" fontAlgn="base">
        <a:spcBef>
          <a:spcPct val="0"/>
        </a:spcBef>
        <a:spcAft>
          <a:spcPct val="0"/>
        </a:spcAft>
        <a:defRPr sz="28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7189" algn="l" rtl="0" fontAlgn="base">
        <a:spcBef>
          <a:spcPct val="0"/>
        </a:spcBef>
        <a:spcAft>
          <a:spcPct val="0"/>
        </a:spcAft>
        <a:defRPr sz="2400" b="1">
          <a:solidFill>
            <a:schemeClr val="accent2"/>
          </a:solidFill>
          <a:latin typeface="Verdana" pitchFamily="34" charset="0"/>
        </a:defRPr>
      </a:lvl6pPr>
      <a:lvl7pPr marL="914378" algn="l" rtl="0" fontAlgn="base">
        <a:spcBef>
          <a:spcPct val="0"/>
        </a:spcBef>
        <a:spcAft>
          <a:spcPct val="0"/>
        </a:spcAft>
        <a:defRPr sz="2400" b="1">
          <a:solidFill>
            <a:schemeClr val="accent2"/>
          </a:solidFill>
          <a:latin typeface="Verdana" pitchFamily="34" charset="0"/>
        </a:defRPr>
      </a:lvl7pPr>
      <a:lvl8pPr marL="1371566" algn="l" rtl="0" fontAlgn="base">
        <a:spcBef>
          <a:spcPct val="0"/>
        </a:spcBef>
        <a:spcAft>
          <a:spcPct val="0"/>
        </a:spcAft>
        <a:defRPr sz="2400" b="1">
          <a:solidFill>
            <a:schemeClr val="accent2"/>
          </a:solidFill>
          <a:latin typeface="Verdana" pitchFamily="34" charset="0"/>
        </a:defRPr>
      </a:lvl8pPr>
      <a:lvl9pPr marL="1828754" algn="l" rtl="0" fontAlgn="base">
        <a:spcBef>
          <a:spcPct val="0"/>
        </a:spcBef>
        <a:spcAft>
          <a:spcPct val="0"/>
        </a:spcAft>
        <a:defRPr sz="2400" b="1">
          <a:solidFill>
            <a:schemeClr val="accent2"/>
          </a:solidFill>
          <a:latin typeface="Verdana" pitchFamily="34" charset="0"/>
        </a:defRPr>
      </a:lvl9pPr>
    </p:titleStyle>
    <p:bodyStyle>
      <a:lvl1pPr marL="265106" indent="-265106" algn="l" rtl="0" fontAlgn="base">
        <a:spcBef>
          <a:spcPts val="450"/>
        </a:spcBef>
        <a:spcAft>
          <a:spcPts val="450"/>
        </a:spcAft>
        <a:buClr>
          <a:schemeClr val="accent1"/>
        </a:buClr>
        <a:buFont typeface="Verdana" pitchFamily="34" charset="0"/>
        <a:buChar char="•"/>
        <a:defRPr kern="1200">
          <a:solidFill>
            <a:schemeClr val="accent2"/>
          </a:solidFill>
          <a:latin typeface="+mn-lt"/>
          <a:ea typeface="+mn-ea"/>
          <a:cs typeface="+mn-cs"/>
        </a:defRPr>
      </a:lvl1pPr>
      <a:lvl2pPr marL="536561" indent="-271457" algn="l" rtl="0" fontAlgn="base">
        <a:spcBef>
          <a:spcPts val="450"/>
        </a:spcBef>
        <a:spcAft>
          <a:spcPts val="450"/>
        </a:spcAft>
        <a:buClr>
          <a:schemeClr val="tx2"/>
        </a:buClr>
        <a:buFont typeface="Verdana" pitchFamily="34" charset="0"/>
        <a:buChar char="•"/>
        <a:defRPr sz="1600" kern="1200">
          <a:solidFill>
            <a:schemeClr val="accent2"/>
          </a:solidFill>
          <a:latin typeface="+mn-lt"/>
          <a:ea typeface="+mn-ea"/>
          <a:cs typeface="+mn-cs"/>
        </a:defRPr>
      </a:lvl2pPr>
      <a:lvl3pPr marL="808018" indent="-271457" algn="l" rtl="0" fontAlgn="base">
        <a:spcBef>
          <a:spcPts val="450"/>
        </a:spcBef>
        <a:spcAft>
          <a:spcPts val="450"/>
        </a:spcAft>
        <a:buClr>
          <a:srgbClr val="E64A0E"/>
        </a:buClr>
        <a:buFont typeface="Verdana" pitchFamily="34" charset="0"/>
        <a:buChar char="•"/>
        <a:defRPr sz="1400" kern="1200">
          <a:solidFill>
            <a:schemeClr val="accent2"/>
          </a:solidFill>
          <a:latin typeface="+mn-lt"/>
          <a:ea typeface="+mn-ea"/>
          <a:cs typeface="+mn-cs"/>
        </a:defRPr>
      </a:lvl3pPr>
      <a:lvl4pPr marL="985814" indent="-177796" algn="l" rtl="0" fontAlgn="base">
        <a:spcBef>
          <a:spcPts val="450"/>
        </a:spcBef>
        <a:spcAft>
          <a:spcPts val="450"/>
        </a:spcAft>
        <a:buClr>
          <a:srgbClr val="82786F"/>
        </a:buClr>
        <a:buFont typeface="Verdana" pitchFamily="34" charset="0"/>
        <a:buChar char="•"/>
        <a:defRPr sz="1200" kern="1200">
          <a:solidFill>
            <a:schemeClr val="accent2"/>
          </a:solidFill>
          <a:latin typeface="+mn-lt"/>
          <a:ea typeface="+mn-ea"/>
          <a:cs typeface="+mn-cs"/>
        </a:defRPr>
      </a:lvl4pPr>
      <a:lvl5pPr marL="1257269" indent="-184145" algn="l" rtl="0" fontAlgn="base">
        <a:spcBef>
          <a:spcPts val="450"/>
        </a:spcBef>
        <a:spcAft>
          <a:spcPts val="450"/>
        </a:spcAft>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50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906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1027" name="Text Placeholder 2"/>
          <p:cNvSpPr>
            <a:spLocks noGrp="1"/>
          </p:cNvSpPr>
          <p:nvPr>
            <p:ph type="body" idx="1"/>
          </p:nvPr>
        </p:nvSpPr>
        <p:spPr bwMode="auto">
          <a:xfrm>
            <a:off x="317500" y="1312874"/>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28" name="Title Placeholder 1"/>
          <p:cNvSpPr>
            <a:spLocks noGrp="1"/>
          </p:cNvSpPr>
          <p:nvPr>
            <p:ph type="title"/>
          </p:nvPr>
        </p:nvSpPr>
        <p:spPr bwMode="auto">
          <a:xfrm>
            <a:off x="317500" y="515938"/>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3203457724"/>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8" r:id="rId4"/>
  </p:sldLayoutIdLst>
  <p:transition/>
  <p:hf hdr="0" dt="0"/>
  <p:txStyles>
    <p:titleStyle>
      <a:lvl1pPr algn="l" rtl="0" fontAlgn="base">
        <a:spcBef>
          <a:spcPct val="0"/>
        </a:spcBef>
        <a:spcAft>
          <a:spcPct val="0"/>
        </a:spcAft>
        <a:defRPr sz="21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p:titleStyle>
    <p:bodyStyle>
      <a:lvl1pPr marL="265113" indent="-265113" algn="l" rtl="0" fontAlgn="base">
        <a:spcBef>
          <a:spcPct val="20000"/>
        </a:spcBef>
        <a:spcAft>
          <a:spcPts val="300"/>
        </a:spcAft>
        <a:buClr>
          <a:schemeClr val="accent1"/>
        </a:buClr>
        <a:buFont typeface="Verdana" pitchFamily="34" charset="0"/>
        <a:buChar char="•"/>
        <a:defRPr kern="1200">
          <a:solidFill>
            <a:schemeClr val="accent2"/>
          </a:solidFill>
          <a:latin typeface="+mn-lt"/>
          <a:ea typeface="+mn-ea"/>
          <a:cs typeface="+mn-cs"/>
        </a:defRPr>
      </a:lvl1pPr>
      <a:lvl2pPr marL="536575" indent="-271463" algn="l" rtl="0" fontAlgn="base">
        <a:spcBef>
          <a:spcPct val="20000"/>
        </a:spcBef>
        <a:spcAft>
          <a:spcPts val="300"/>
        </a:spcAft>
        <a:buClr>
          <a:schemeClr val="tx2"/>
        </a:buClr>
        <a:buFont typeface="Verdana" pitchFamily="34" charset="0"/>
        <a:buChar char="•"/>
        <a:defRPr sz="1600" kern="1200">
          <a:solidFill>
            <a:schemeClr val="accent2"/>
          </a:solidFill>
          <a:latin typeface="+mn-lt"/>
          <a:ea typeface="+mn-ea"/>
          <a:cs typeface="+mn-cs"/>
        </a:defRPr>
      </a:lvl2pPr>
      <a:lvl3pPr marL="808038" indent="-271463" algn="l" rtl="0" fontAlgn="base">
        <a:spcBef>
          <a:spcPct val="20000"/>
        </a:spcBef>
        <a:spcAft>
          <a:spcPts val="300"/>
        </a:spcAft>
        <a:buClr>
          <a:srgbClr val="E64A0E"/>
        </a:buClr>
        <a:buFont typeface="Verdana" pitchFamily="34" charset="0"/>
        <a:buChar char="•"/>
        <a:defRPr sz="1400" kern="1200">
          <a:solidFill>
            <a:schemeClr val="accent2"/>
          </a:solidFill>
          <a:latin typeface="+mn-lt"/>
          <a:ea typeface="+mn-ea"/>
          <a:cs typeface="+mn-cs"/>
        </a:defRPr>
      </a:lvl3pPr>
      <a:lvl4pPr marL="985838" indent="-177800" algn="l" rtl="0" fontAlgn="base">
        <a:spcBef>
          <a:spcPct val="20000"/>
        </a:spcBef>
        <a:spcAft>
          <a:spcPts val="300"/>
        </a:spcAft>
        <a:buClr>
          <a:srgbClr val="82786F"/>
        </a:buClr>
        <a:buFont typeface="Verdana" pitchFamily="34" charset="0"/>
        <a:buChar char="•"/>
        <a:defRPr sz="1200" kern="1200">
          <a:solidFill>
            <a:schemeClr val="accent2"/>
          </a:solidFill>
          <a:latin typeface="+mn-lt"/>
          <a:ea typeface="+mn-ea"/>
          <a:cs typeface="+mn-cs"/>
        </a:defRPr>
      </a:lvl4pPr>
      <a:lvl5pPr marL="1257300" indent="-184150" algn="l" rtl="0" fontAlgn="base">
        <a:spcBef>
          <a:spcPct val="20000"/>
        </a:spcBef>
        <a:spcAft>
          <a:spcPts val="300"/>
        </a:spcAft>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16800" y="1312224"/>
            <a:ext cx="8510400" cy="2955790"/>
          </a:xfrm>
          <a:prstGeom prst="rect">
            <a:avLst/>
          </a:prstGeom>
        </p:spPr>
        <p:txBody>
          <a:bodyPr vert="horz" lIns="0" tIns="0" rIns="21600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 name="Title Placeholder 1"/>
          <p:cNvSpPr>
            <a:spLocks noGrp="1"/>
          </p:cNvSpPr>
          <p:nvPr>
            <p:ph type="title"/>
          </p:nvPr>
        </p:nvSpPr>
        <p:spPr>
          <a:xfrm>
            <a:off x="316800" y="515422"/>
            <a:ext cx="8510400" cy="391412"/>
          </a:xfrm>
          <a:prstGeom prst="rect">
            <a:avLst/>
          </a:prstGeom>
        </p:spPr>
        <p:txBody>
          <a:bodyPr vert="horz" lIns="0" tIns="0" rIns="0" bIns="0" rtlCol="0" anchor="ctr" anchorCtr="0">
            <a:noAutofit/>
          </a:bodyPr>
          <a:lstStyle/>
          <a:p>
            <a:r>
              <a:rPr lang="en-US" noProof="0"/>
              <a:t>Click to edit Master title style</a:t>
            </a:r>
            <a:endParaRPr lang="en-GB" noProof="0" dirty="0"/>
          </a:p>
        </p:txBody>
      </p:sp>
    </p:spTree>
    <p:extLst>
      <p:ext uri="{BB962C8B-B14F-4D97-AF65-F5344CB8AC3E}">
        <p14:creationId xmlns:p14="http://schemas.microsoft.com/office/powerpoint/2010/main" val="2591421860"/>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30" r:id="rId5"/>
  </p:sldLayoutIdLst>
  <p:transition/>
  <p:timing>
    <p:tnLst>
      <p:par>
        <p:cTn id="1" dur="indefinite" restart="never" nodeType="tmRoot"/>
      </p:par>
    </p:tnLst>
  </p:timing>
  <p:hf hdr="0"/>
  <p:txStyles>
    <p:titleStyle>
      <a:lvl1pPr algn="l" defTabSz="914355" rtl="0" eaLnBrk="1" latinLnBrk="0" hangingPunct="1">
        <a:spcBef>
          <a:spcPct val="0"/>
        </a:spcBef>
        <a:buNone/>
        <a:defRPr sz="2000" b="1" kern="1200">
          <a:solidFill>
            <a:schemeClr val="accent2"/>
          </a:solidFill>
          <a:latin typeface="+mj-lt"/>
          <a:ea typeface="+mj-ea"/>
          <a:cs typeface="+mj-cs"/>
        </a:defRPr>
      </a:lvl1pPr>
    </p:titleStyle>
    <p:bodyStyle>
      <a:lvl1pPr marL="265100" indent="-265100" algn="l" defTabSz="914355" rtl="0" eaLnBrk="1" latinLnBrk="0" hangingPunct="1">
        <a:spcBef>
          <a:spcPct val="20000"/>
        </a:spcBef>
        <a:buClr>
          <a:schemeClr val="accent1"/>
        </a:buClr>
        <a:buFont typeface="Verdana" pitchFamily="34" charset="0"/>
        <a:buChar char="•"/>
        <a:defRPr sz="1600" kern="1200">
          <a:solidFill>
            <a:schemeClr val="accent2"/>
          </a:solidFill>
          <a:latin typeface="+mn-lt"/>
          <a:ea typeface="+mn-ea"/>
          <a:cs typeface="+mn-cs"/>
        </a:defRPr>
      </a:lvl1pPr>
      <a:lvl2pPr marL="536548" indent="-271451" algn="l" defTabSz="914355" rtl="0" eaLnBrk="1" latinLnBrk="0" hangingPunct="1">
        <a:spcBef>
          <a:spcPct val="20000"/>
        </a:spcBef>
        <a:buClr>
          <a:schemeClr val="tx2"/>
        </a:buClr>
        <a:buFont typeface="Verdana" pitchFamily="34" charset="0"/>
        <a:buChar char="•"/>
        <a:defRPr sz="1400" kern="1200">
          <a:solidFill>
            <a:schemeClr val="accent2"/>
          </a:solidFill>
          <a:latin typeface="+mn-lt"/>
          <a:ea typeface="+mn-ea"/>
          <a:cs typeface="+mn-cs"/>
        </a:defRPr>
      </a:lvl2pPr>
      <a:lvl3pPr marL="807998" indent="-271451" algn="l" defTabSz="914355" rtl="0" eaLnBrk="1" latinLnBrk="0" hangingPunct="1">
        <a:spcBef>
          <a:spcPct val="20000"/>
        </a:spcBef>
        <a:buClr>
          <a:schemeClr val="accent5"/>
        </a:buClr>
        <a:buFont typeface="Verdana" pitchFamily="34" charset="0"/>
        <a:buChar char="•"/>
        <a:defRPr sz="1200" kern="1200">
          <a:solidFill>
            <a:schemeClr val="accent2"/>
          </a:solidFill>
          <a:latin typeface="+mn-lt"/>
          <a:ea typeface="+mn-ea"/>
          <a:cs typeface="+mn-cs"/>
        </a:defRPr>
      </a:lvl3pPr>
      <a:lvl4pPr marL="985790" indent="-177791" algn="l" defTabSz="914355" rtl="0" eaLnBrk="1" latinLnBrk="0" hangingPunct="1">
        <a:spcBef>
          <a:spcPct val="20000"/>
        </a:spcBef>
        <a:buClr>
          <a:schemeClr val="accent3"/>
        </a:buClr>
        <a:buFont typeface="Verdana" pitchFamily="34" charset="0"/>
        <a:buChar char="•"/>
        <a:defRPr sz="1100" kern="1200">
          <a:solidFill>
            <a:schemeClr val="accent2"/>
          </a:solidFill>
          <a:latin typeface="+mn-lt"/>
          <a:ea typeface="+mn-ea"/>
          <a:cs typeface="+mn-cs"/>
        </a:defRPr>
      </a:lvl4pPr>
      <a:lvl5pPr marL="1257238" indent="-184141" algn="l" defTabSz="914355" rtl="0" eaLnBrk="1" latinLnBrk="0" hangingPunct="1">
        <a:spcBef>
          <a:spcPct val="20000"/>
        </a:spcBef>
        <a:buClr>
          <a:srgbClr val="001423"/>
        </a:buClr>
        <a:buFont typeface="Verdana" pitchFamily="34" charset="0"/>
        <a:buChar char="•"/>
        <a:defRPr sz="1050" kern="1200">
          <a:solidFill>
            <a:schemeClr val="accent2"/>
          </a:solidFill>
          <a:latin typeface="+mn-lt"/>
          <a:ea typeface="+mn-ea"/>
          <a:cs typeface="+mn-cs"/>
        </a:defRPr>
      </a:lvl5pPr>
      <a:lvl6pPr marL="2514474" indent="-228588" algn="l" defTabSz="9143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8" algn="l" defTabSz="9143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8" algn="l" defTabSz="9143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8" algn="l" defTabSz="91435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087" name="think-cell Slide" r:id="rId11" imgW="270" imgH="270" progId="">
                  <p:embed/>
                </p:oleObj>
              </mc:Choice>
              <mc:Fallback>
                <p:oleObj name="think-cell Slide" r:id="rId11" imgW="270" imgH="27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Text Placeholder 2"/>
          <p:cNvSpPr>
            <a:spLocks noGrp="1"/>
          </p:cNvSpPr>
          <p:nvPr>
            <p:ph type="body" idx="1"/>
          </p:nvPr>
        </p:nvSpPr>
        <p:spPr bwMode="auto">
          <a:xfrm>
            <a:off x="317502" y="1312904"/>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578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28" name="Title Placeholder 1"/>
          <p:cNvSpPr>
            <a:spLocks noGrp="1"/>
          </p:cNvSpPr>
          <p:nvPr>
            <p:ph type="title"/>
          </p:nvPr>
        </p:nvSpPr>
        <p:spPr bwMode="auto">
          <a:xfrm>
            <a:off x="317502" y="515939"/>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1813978537"/>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Lst>
  <p:transition/>
  <p:hf hdr="0"/>
  <p:txStyles>
    <p:titleStyle>
      <a:lvl1pPr algn="l" rtl="0" fontAlgn="base">
        <a:spcBef>
          <a:spcPct val="0"/>
        </a:spcBef>
        <a:spcAft>
          <a:spcPct val="0"/>
        </a:spcAft>
        <a:defRPr sz="28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6758" algn="l" rtl="0" fontAlgn="base">
        <a:spcBef>
          <a:spcPct val="0"/>
        </a:spcBef>
        <a:spcAft>
          <a:spcPct val="0"/>
        </a:spcAft>
        <a:defRPr sz="2400" b="1">
          <a:solidFill>
            <a:schemeClr val="accent2"/>
          </a:solidFill>
          <a:latin typeface="Verdana" pitchFamily="34" charset="0"/>
        </a:defRPr>
      </a:lvl6pPr>
      <a:lvl7pPr marL="913568" algn="l" rtl="0" fontAlgn="base">
        <a:spcBef>
          <a:spcPct val="0"/>
        </a:spcBef>
        <a:spcAft>
          <a:spcPct val="0"/>
        </a:spcAft>
        <a:defRPr sz="2400" b="1">
          <a:solidFill>
            <a:schemeClr val="accent2"/>
          </a:solidFill>
          <a:latin typeface="Verdana" pitchFamily="34" charset="0"/>
        </a:defRPr>
      </a:lvl7pPr>
      <a:lvl8pPr marL="1370342" algn="l" rtl="0" fontAlgn="base">
        <a:spcBef>
          <a:spcPct val="0"/>
        </a:spcBef>
        <a:spcAft>
          <a:spcPct val="0"/>
        </a:spcAft>
        <a:defRPr sz="2400" b="1">
          <a:solidFill>
            <a:schemeClr val="accent2"/>
          </a:solidFill>
          <a:latin typeface="Verdana" pitchFamily="34" charset="0"/>
        </a:defRPr>
      </a:lvl8pPr>
      <a:lvl9pPr marL="1827134" algn="l" rtl="0" fontAlgn="base">
        <a:spcBef>
          <a:spcPct val="0"/>
        </a:spcBef>
        <a:spcAft>
          <a:spcPct val="0"/>
        </a:spcAft>
        <a:defRPr sz="2400" b="1">
          <a:solidFill>
            <a:schemeClr val="accent2"/>
          </a:solidFill>
          <a:latin typeface="Verdana" pitchFamily="34" charset="0"/>
        </a:defRPr>
      </a:lvl9pPr>
    </p:titleStyle>
    <p:bodyStyle>
      <a:lvl1pPr marL="264890" indent="-264890" algn="l" rtl="0" fontAlgn="base">
        <a:spcBef>
          <a:spcPct val="20000"/>
        </a:spcBef>
        <a:spcAft>
          <a:spcPts val="300"/>
        </a:spcAft>
        <a:buClr>
          <a:schemeClr val="accent1"/>
        </a:buClr>
        <a:buFont typeface="Verdana" pitchFamily="34" charset="0"/>
        <a:buChar char="•"/>
        <a:defRPr kern="1200">
          <a:solidFill>
            <a:schemeClr val="accent2"/>
          </a:solidFill>
          <a:latin typeface="+mn-lt"/>
          <a:ea typeface="+mn-ea"/>
          <a:cs typeface="+mn-cs"/>
        </a:defRPr>
      </a:lvl1pPr>
      <a:lvl2pPr marL="536075" indent="-271241" algn="l" rtl="0" fontAlgn="base">
        <a:spcBef>
          <a:spcPct val="20000"/>
        </a:spcBef>
        <a:spcAft>
          <a:spcPts val="300"/>
        </a:spcAft>
        <a:buClr>
          <a:schemeClr val="tx2"/>
        </a:buClr>
        <a:buFont typeface="Verdana" pitchFamily="34" charset="0"/>
        <a:buChar char="•"/>
        <a:defRPr sz="1600" kern="1200">
          <a:solidFill>
            <a:schemeClr val="accent2"/>
          </a:solidFill>
          <a:latin typeface="+mn-lt"/>
          <a:ea typeface="+mn-ea"/>
          <a:cs typeface="+mn-cs"/>
        </a:defRPr>
      </a:lvl2pPr>
      <a:lvl3pPr marL="807298" indent="-271241" algn="l" rtl="0" fontAlgn="base">
        <a:spcBef>
          <a:spcPct val="20000"/>
        </a:spcBef>
        <a:spcAft>
          <a:spcPts val="300"/>
        </a:spcAft>
        <a:buClr>
          <a:srgbClr val="E64A0E"/>
        </a:buClr>
        <a:buFont typeface="Verdana" pitchFamily="34" charset="0"/>
        <a:buChar char="•"/>
        <a:defRPr sz="1400" kern="1200">
          <a:solidFill>
            <a:schemeClr val="accent2"/>
          </a:solidFill>
          <a:latin typeface="+mn-lt"/>
          <a:ea typeface="+mn-ea"/>
          <a:cs typeface="+mn-cs"/>
        </a:defRPr>
      </a:lvl3pPr>
      <a:lvl4pPr marL="984950" indent="-177634" algn="l" rtl="0" fontAlgn="base">
        <a:spcBef>
          <a:spcPct val="20000"/>
        </a:spcBef>
        <a:spcAft>
          <a:spcPts val="300"/>
        </a:spcAft>
        <a:buClr>
          <a:srgbClr val="82786F"/>
        </a:buClr>
        <a:buFont typeface="Verdana" pitchFamily="34" charset="0"/>
        <a:buChar char="•"/>
        <a:defRPr sz="1200" kern="1200">
          <a:solidFill>
            <a:schemeClr val="accent2"/>
          </a:solidFill>
          <a:latin typeface="+mn-lt"/>
          <a:ea typeface="+mn-ea"/>
          <a:cs typeface="+mn-cs"/>
        </a:defRPr>
      </a:lvl4pPr>
      <a:lvl5pPr marL="1256135" indent="-183983" algn="l" rtl="0" fontAlgn="base">
        <a:spcBef>
          <a:spcPct val="20000"/>
        </a:spcBef>
        <a:spcAft>
          <a:spcPts val="300"/>
        </a:spcAft>
        <a:buClr>
          <a:srgbClr val="001423"/>
        </a:buClr>
        <a:buFont typeface="Verdana" pitchFamily="34" charset="0"/>
        <a:buChar char="•"/>
        <a:defRPr sz="1100" kern="1200">
          <a:solidFill>
            <a:schemeClr val="accent2"/>
          </a:solidFill>
          <a:latin typeface="+mn-lt"/>
          <a:ea typeface="+mn-ea"/>
          <a:cs typeface="+mn-cs"/>
        </a:defRPr>
      </a:lvl5pPr>
      <a:lvl6pPr marL="2512269" indent="-228378" algn="l" defTabSz="91356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062" indent="-228378" algn="l" defTabSz="91356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837" indent="-228378" algn="l" defTabSz="91356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2611" indent="-228378" algn="l" defTabSz="91356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568" rtl="0" eaLnBrk="1" latinLnBrk="0" hangingPunct="1">
        <a:defRPr sz="1800" kern="1200">
          <a:solidFill>
            <a:schemeClr val="tx1"/>
          </a:solidFill>
          <a:latin typeface="+mn-lt"/>
          <a:ea typeface="+mn-ea"/>
          <a:cs typeface="+mn-cs"/>
        </a:defRPr>
      </a:lvl1pPr>
      <a:lvl2pPr marL="456758" algn="l" defTabSz="913568" rtl="0" eaLnBrk="1" latinLnBrk="0" hangingPunct="1">
        <a:defRPr sz="1800" kern="1200">
          <a:solidFill>
            <a:schemeClr val="tx1"/>
          </a:solidFill>
          <a:latin typeface="+mn-lt"/>
          <a:ea typeface="+mn-ea"/>
          <a:cs typeface="+mn-cs"/>
        </a:defRPr>
      </a:lvl2pPr>
      <a:lvl3pPr marL="913568" algn="l" defTabSz="913568" rtl="0" eaLnBrk="1" latinLnBrk="0" hangingPunct="1">
        <a:defRPr sz="1800" kern="1200">
          <a:solidFill>
            <a:schemeClr val="tx1"/>
          </a:solidFill>
          <a:latin typeface="+mn-lt"/>
          <a:ea typeface="+mn-ea"/>
          <a:cs typeface="+mn-cs"/>
        </a:defRPr>
      </a:lvl3pPr>
      <a:lvl4pPr marL="1370342" algn="l" defTabSz="913568" rtl="0" eaLnBrk="1" latinLnBrk="0" hangingPunct="1">
        <a:defRPr sz="1800" kern="1200">
          <a:solidFill>
            <a:schemeClr val="tx1"/>
          </a:solidFill>
          <a:latin typeface="+mn-lt"/>
          <a:ea typeface="+mn-ea"/>
          <a:cs typeface="+mn-cs"/>
        </a:defRPr>
      </a:lvl4pPr>
      <a:lvl5pPr marL="1827134" algn="l" defTabSz="913568" rtl="0" eaLnBrk="1" latinLnBrk="0" hangingPunct="1">
        <a:defRPr sz="1800" kern="1200">
          <a:solidFill>
            <a:schemeClr val="tx1"/>
          </a:solidFill>
          <a:latin typeface="+mn-lt"/>
          <a:ea typeface="+mn-ea"/>
          <a:cs typeface="+mn-cs"/>
        </a:defRPr>
      </a:lvl5pPr>
      <a:lvl6pPr marL="2283891" algn="l" defTabSz="913568" rtl="0" eaLnBrk="1" latinLnBrk="0" hangingPunct="1">
        <a:defRPr sz="1800" kern="1200">
          <a:solidFill>
            <a:schemeClr val="tx1"/>
          </a:solidFill>
          <a:latin typeface="+mn-lt"/>
          <a:ea typeface="+mn-ea"/>
          <a:cs typeface="+mn-cs"/>
        </a:defRPr>
      </a:lvl6pPr>
      <a:lvl7pPr marL="2740649" algn="l" defTabSz="913568" rtl="0" eaLnBrk="1" latinLnBrk="0" hangingPunct="1">
        <a:defRPr sz="1800" kern="1200">
          <a:solidFill>
            <a:schemeClr val="tx1"/>
          </a:solidFill>
          <a:latin typeface="+mn-lt"/>
          <a:ea typeface="+mn-ea"/>
          <a:cs typeface="+mn-cs"/>
        </a:defRPr>
      </a:lvl7pPr>
      <a:lvl8pPr marL="3197440" algn="l" defTabSz="913568" rtl="0" eaLnBrk="1" latinLnBrk="0" hangingPunct="1">
        <a:defRPr sz="1800" kern="1200">
          <a:solidFill>
            <a:schemeClr val="tx1"/>
          </a:solidFill>
          <a:latin typeface="+mn-lt"/>
          <a:ea typeface="+mn-ea"/>
          <a:cs typeface="+mn-cs"/>
        </a:defRPr>
      </a:lvl8pPr>
      <a:lvl9pPr marL="3654219" algn="l" defTabSz="91356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95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9" y="1589"/>
                        <a:ext cx="1587" cy="1587"/>
                      </a:xfrm>
                      <a:prstGeom prst="rect">
                        <a:avLst/>
                      </a:prstGeom>
                    </p:spPr>
                  </p:pic>
                </p:oleObj>
              </mc:Fallback>
            </mc:AlternateContent>
          </a:graphicData>
        </a:graphic>
      </p:graphicFrame>
      <p:sp>
        <p:nvSpPr>
          <p:cNvPr id="1027" name="Text Placeholder 2"/>
          <p:cNvSpPr>
            <a:spLocks noGrp="1"/>
          </p:cNvSpPr>
          <p:nvPr>
            <p:ph type="body" idx="1"/>
          </p:nvPr>
        </p:nvSpPr>
        <p:spPr bwMode="auto">
          <a:xfrm>
            <a:off x="317501" y="1312874"/>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028" name="Title Placeholder 1"/>
          <p:cNvSpPr>
            <a:spLocks noGrp="1"/>
          </p:cNvSpPr>
          <p:nvPr>
            <p:ph type="title"/>
          </p:nvPr>
        </p:nvSpPr>
        <p:spPr bwMode="auto">
          <a:xfrm>
            <a:off x="317501" y="515939"/>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noProof="0" dirty="0" smtClean="0"/>
              <a:t>Click to edit Master title style</a:t>
            </a:r>
          </a:p>
        </p:txBody>
      </p:sp>
    </p:spTree>
    <p:extLst>
      <p:ext uri="{BB962C8B-B14F-4D97-AF65-F5344CB8AC3E}">
        <p14:creationId xmlns:p14="http://schemas.microsoft.com/office/powerpoint/2010/main" val="2464962178"/>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4" r:id="rId4"/>
    <p:sldLayoutId id="2147484205" r:id="rId5"/>
    <p:sldLayoutId id="2147484209" r:id="rId6"/>
    <p:sldLayoutId id="2147484210" r:id="rId7"/>
    <p:sldLayoutId id="2147484211" r:id="rId8"/>
    <p:sldLayoutId id="2147484212" r:id="rId9"/>
    <p:sldLayoutId id="2147484424" r:id="rId10"/>
    <p:sldLayoutId id="2147484446" r:id="rId11"/>
  </p:sldLayoutIdLst>
  <p:transition/>
  <p:timing>
    <p:tnLst>
      <p:par>
        <p:cTn id="1" dur="indefinite" restart="never" nodeType="tmRoot"/>
      </p:par>
    </p:tnLst>
  </p:timing>
  <p:hf hdr="0" dt="0"/>
  <p:txStyles>
    <p:titleStyle>
      <a:lvl1pPr algn="l" rtl="0" fontAlgn="base">
        <a:spcBef>
          <a:spcPct val="0"/>
        </a:spcBef>
        <a:spcAft>
          <a:spcPct val="0"/>
        </a:spcAft>
        <a:defRPr sz="20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7189" algn="l" rtl="0" fontAlgn="base">
        <a:spcBef>
          <a:spcPct val="0"/>
        </a:spcBef>
        <a:spcAft>
          <a:spcPct val="0"/>
        </a:spcAft>
        <a:defRPr sz="2400" b="1">
          <a:solidFill>
            <a:schemeClr val="accent2"/>
          </a:solidFill>
          <a:latin typeface="Verdana" pitchFamily="34" charset="0"/>
        </a:defRPr>
      </a:lvl6pPr>
      <a:lvl7pPr marL="914378" algn="l" rtl="0" fontAlgn="base">
        <a:spcBef>
          <a:spcPct val="0"/>
        </a:spcBef>
        <a:spcAft>
          <a:spcPct val="0"/>
        </a:spcAft>
        <a:defRPr sz="2400" b="1">
          <a:solidFill>
            <a:schemeClr val="accent2"/>
          </a:solidFill>
          <a:latin typeface="Verdana" pitchFamily="34" charset="0"/>
        </a:defRPr>
      </a:lvl7pPr>
      <a:lvl8pPr marL="1371566" algn="l" rtl="0" fontAlgn="base">
        <a:spcBef>
          <a:spcPct val="0"/>
        </a:spcBef>
        <a:spcAft>
          <a:spcPct val="0"/>
        </a:spcAft>
        <a:defRPr sz="2400" b="1">
          <a:solidFill>
            <a:schemeClr val="accent2"/>
          </a:solidFill>
          <a:latin typeface="Verdana" pitchFamily="34" charset="0"/>
        </a:defRPr>
      </a:lvl8pPr>
      <a:lvl9pPr marL="1828754" algn="l" rtl="0" fontAlgn="base">
        <a:spcBef>
          <a:spcPct val="0"/>
        </a:spcBef>
        <a:spcAft>
          <a:spcPct val="0"/>
        </a:spcAft>
        <a:defRPr sz="2400" b="1">
          <a:solidFill>
            <a:schemeClr val="accent2"/>
          </a:solidFill>
          <a:latin typeface="Verdana" pitchFamily="34" charset="0"/>
        </a:defRPr>
      </a:lvl9pPr>
    </p:titleStyle>
    <p:bodyStyle>
      <a:lvl1pPr marL="265106" indent="-265106" algn="l" rtl="0" fontAlgn="base">
        <a:spcBef>
          <a:spcPts val="450"/>
        </a:spcBef>
        <a:spcAft>
          <a:spcPts val="450"/>
        </a:spcAft>
        <a:buClr>
          <a:schemeClr val="accent1"/>
        </a:buClr>
        <a:buFont typeface="Verdana" pitchFamily="34" charset="0"/>
        <a:buChar char="•"/>
        <a:defRPr kern="1200">
          <a:solidFill>
            <a:schemeClr val="accent2"/>
          </a:solidFill>
          <a:latin typeface="+mn-lt"/>
          <a:ea typeface="+mn-ea"/>
          <a:cs typeface="+mn-cs"/>
        </a:defRPr>
      </a:lvl1pPr>
      <a:lvl2pPr marL="536561" indent="-271457" algn="l" rtl="0" fontAlgn="base">
        <a:spcBef>
          <a:spcPts val="450"/>
        </a:spcBef>
        <a:spcAft>
          <a:spcPts val="450"/>
        </a:spcAft>
        <a:buClr>
          <a:schemeClr val="tx2"/>
        </a:buClr>
        <a:buFont typeface="Verdana" pitchFamily="34" charset="0"/>
        <a:buChar char="•"/>
        <a:defRPr sz="1600" kern="1200">
          <a:solidFill>
            <a:schemeClr val="accent2"/>
          </a:solidFill>
          <a:latin typeface="+mn-lt"/>
          <a:ea typeface="+mn-ea"/>
          <a:cs typeface="+mn-cs"/>
        </a:defRPr>
      </a:lvl2pPr>
      <a:lvl3pPr marL="808018" indent="-271457" algn="l" rtl="0" fontAlgn="base">
        <a:spcBef>
          <a:spcPts val="450"/>
        </a:spcBef>
        <a:spcAft>
          <a:spcPts val="450"/>
        </a:spcAft>
        <a:buClr>
          <a:srgbClr val="E64A0E"/>
        </a:buClr>
        <a:buFont typeface="Verdana" pitchFamily="34" charset="0"/>
        <a:buChar char="•"/>
        <a:defRPr sz="1400" kern="1200">
          <a:solidFill>
            <a:schemeClr val="accent2"/>
          </a:solidFill>
          <a:latin typeface="+mn-lt"/>
          <a:ea typeface="+mn-ea"/>
          <a:cs typeface="+mn-cs"/>
        </a:defRPr>
      </a:lvl3pPr>
      <a:lvl4pPr marL="985814" indent="-177796" algn="l" rtl="0" fontAlgn="base">
        <a:spcBef>
          <a:spcPts val="450"/>
        </a:spcBef>
        <a:spcAft>
          <a:spcPts val="450"/>
        </a:spcAft>
        <a:buClr>
          <a:srgbClr val="82786F"/>
        </a:buClr>
        <a:buFont typeface="Verdana" pitchFamily="34" charset="0"/>
        <a:buChar char="•"/>
        <a:defRPr sz="1200" kern="1200">
          <a:solidFill>
            <a:schemeClr val="accent2"/>
          </a:solidFill>
          <a:latin typeface="+mn-lt"/>
          <a:ea typeface="+mn-ea"/>
          <a:cs typeface="+mn-cs"/>
        </a:defRPr>
      </a:lvl4pPr>
      <a:lvl5pPr marL="1257269" indent="-184145" algn="l" rtl="0" fontAlgn="base">
        <a:spcBef>
          <a:spcPts val="450"/>
        </a:spcBef>
        <a:spcAft>
          <a:spcPts val="450"/>
        </a:spcAft>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50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05978"/>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cs-CZ" altLang="cs-CZ" smtClean="0"/>
              <a:t>Klepnutím lze upravit styl předlohy nadpisů.</a:t>
            </a:r>
          </a:p>
        </p:txBody>
      </p:sp>
      <p:sp>
        <p:nvSpPr>
          <p:cNvPr id="1027" name="Rectangle 3"/>
          <p:cNvSpPr>
            <a:spLocks noGrp="1" noChangeArrowheads="1"/>
          </p:cNvSpPr>
          <p:nvPr>
            <p:ph type="body" idx="1"/>
          </p:nvPr>
        </p:nvSpPr>
        <p:spPr bwMode="auto">
          <a:xfrm>
            <a:off x="457200" y="1200154"/>
            <a:ext cx="8229600" cy="33944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cs-CZ" altLang="cs-CZ" smtClean="0"/>
              <a:t>Klepnutím lze upravit styly předlohy textu.</a:t>
            </a:r>
          </a:p>
          <a:p>
            <a:pPr lvl="1"/>
            <a:r>
              <a:rPr lang="cs-CZ" altLang="cs-CZ" smtClean="0"/>
              <a:t>Druhá úroveň</a:t>
            </a:r>
          </a:p>
          <a:p>
            <a:pPr lvl="2"/>
            <a:r>
              <a:rPr lang="cs-CZ" altLang="cs-CZ" smtClean="0"/>
              <a:t>Třetí úroveň</a:t>
            </a:r>
          </a:p>
          <a:p>
            <a:pPr lvl="3"/>
            <a:r>
              <a:rPr lang="cs-CZ" altLang="cs-CZ" smtClean="0"/>
              <a:t>Čtvrtá úroveň</a:t>
            </a:r>
          </a:p>
          <a:p>
            <a:pPr lvl="4"/>
            <a:r>
              <a:rPr lang="cs-CZ" altLang="cs-CZ" smtClean="0"/>
              <a:t>Pátá úroveň</a:t>
            </a:r>
          </a:p>
        </p:txBody>
      </p:sp>
      <p:sp>
        <p:nvSpPr>
          <p:cNvPr id="193540" name="Rectangle 4"/>
          <p:cNvSpPr>
            <a:spLocks noGrp="1" noChangeArrowheads="1"/>
          </p:cNvSpPr>
          <p:nvPr>
            <p:ph type="dt" sz="half" idx="2"/>
          </p:nvPr>
        </p:nvSpPr>
        <p:spPr bwMode="auto">
          <a:xfrm>
            <a:off x="457200" y="4683973"/>
            <a:ext cx="2133600" cy="3571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400">
                <a:latin typeface="Arial" pitchFamily="34" charset="0"/>
              </a:defRPr>
            </a:lvl1pPr>
          </a:lstStyle>
          <a:p>
            <a:pPr defTabSz="914400" fontAlgn="base">
              <a:spcBef>
                <a:spcPct val="0"/>
              </a:spcBef>
              <a:spcAft>
                <a:spcPct val="0"/>
              </a:spcAft>
              <a:defRPr/>
            </a:pPr>
            <a:endParaRPr lang="cs-CZ" altLang="cs-CZ">
              <a:solidFill>
                <a:srgbClr val="000000"/>
              </a:solidFill>
            </a:endParaRPr>
          </a:p>
        </p:txBody>
      </p:sp>
      <p:sp>
        <p:nvSpPr>
          <p:cNvPr id="193541" name="Rectangle 5"/>
          <p:cNvSpPr>
            <a:spLocks noGrp="1" noChangeArrowheads="1"/>
          </p:cNvSpPr>
          <p:nvPr>
            <p:ph type="ftr" sz="quarter" idx="3"/>
          </p:nvPr>
        </p:nvSpPr>
        <p:spPr bwMode="auto">
          <a:xfrm>
            <a:off x="3124200" y="4683973"/>
            <a:ext cx="2895600" cy="3571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a:latin typeface="Arial" pitchFamily="34" charset="0"/>
              </a:defRPr>
            </a:lvl1pPr>
          </a:lstStyle>
          <a:p>
            <a:pPr defTabSz="914400" fontAlgn="base">
              <a:spcBef>
                <a:spcPct val="0"/>
              </a:spcBef>
              <a:spcAft>
                <a:spcPct val="0"/>
              </a:spcAft>
              <a:defRPr/>
            </a:pPr>
            <a:endParaRPr lang="cs-CZ" altLang="cs-CZ">
              <a:solidFill>
                <a:srgbClr val="000000"/>
              </a:solidFill>
            </a:endParaRPr>
          </a:p>
        </p:txBody>
      </p:sp>
      <p:sp>
        <p:nvSpPr>
          <p:cNvPr id="193542" name="Rectangle 6"/>
          <p:cNvSpPr>
            <a:spLocks noGrp="1" noChangeArrowheads="1"/>
          </p:cNvSpPr>
          <p:nvPr>
            <p:ph type="sldNum" sz="quarter" idx="4"/>
          </p:nvPr>
        </p:nvSpPr>
        <p:spPr bwMode="auto">
          <a:xfrm>
            <a:off x="6553200" y="4683973"/>
            <a:ext cx="2133600" cy="3571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a:latin typeface="Arial" pitchFamily="34" charset="0"/>
              </a:defRPr>
            </a:lvl1pPr>
          </a:lstStyle>
          <a:p>
            <a:pPr defTabSz="914400" fontAlgn="base">
              <a:spcBef>
                <a:spcPct val="0"/>
              </a:spcBef>
              <a:spcAft>
                <a:spcPct val="0"/>
              </a:spcAft>
              <a:defRPr/>
            </a:pPr>
            <a:fld id="{6E938BB5-649B-4870-BE61-FB84DAF1B150}" type="slidenum">
              <a:rPr lang="cs-CZ" altLang="cs-CZ">
                <a:solidFill>
                  <a:srgbClr val="000000"/>
                </a:solidFill>
              </a:rPr>
              <a:pPr defTabSz="914400" fontAlgn="base">
                <a:spcBef>
                  <a:spcPct val="0"/>
                </a:spcBef>
                <a:spcAft>
                  <a:spcPct val="0"/>
                </a:spcAft>
                <a:defRPr/>
              </a:pPr>
              <a:t>‹#›</a:t>
            </a:fld>
            <a:endParaRPr lang="cs-CZ" altLang="cs-CZ">
              <a:solidFill>
                <a:srgbClr val="000000"/>
              </a:solidFill>
            </a:endParaRPr>
          </a:p>
        </p:txBody>
      </p:sp>
    </p:spTree>
    <p:extLst>
      <p:ext uri="{BB962C8B-B14F-4D97-AF65-F5344CB8AC3E}">
        <p14:creationId xmlns:p14="http://schemas.microsoft.com/office/powerpoint/2010/main" val="64738083"/>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6386" name="Picture 2" descr="topbar_small"/>
          <p:cNvPicPr>
            <a:picLocks noChangeAspect="1" noChangeArrowheads="1"/>
          </p:cNvPicPr>
          <p:nvPr/>
        </p:nvPicPr>
        <p:blipFill>
          <a:blip r:embed="rId13" cstate="print"/>
          <a:srcRect/>
          <a:stretch>
            <a:fillRect/>
          </a:stretch>
        </p:blipFill>
        <p:spPr bwMode="auto">
          <a:xfrm>
            <a:off x="7" y="357190"/>
            <a:ext cx="8551863" cy="768350"/>
          </a:xfrm>
          <a:prstGeom prst="rect">
            <a:avLst/>
          </a:prstGeom>
          <a:noFill/>
          <a:ln w="9525">
            <a:noFill/>
            <a:miter lim="800000"/>
            <a:headEnd/>
            <a:tailEnd/>
          </a:ln>
        </p:spPr>
      </p:pic>
      <p:sp>
        <p:nvSpPr>
          <p:cNvPr id="1027" name="Text Box 3"/>
          <p:cNvSpPr txBox="1">
            <a:spLocks noChangeArrowheads="1"/>
          </p:cNvSpPr>
          <p:nvPr/>
        </p:nvSpPr>
        <p:spPr bwMode="auto">
          <a:xfrm>
            <a:off x="-396871" y="3437028"/>
            <a:ext cx="8632825" cy="708025"/>
          </a:xfrm>
          <a:prstGeom prst="rect">
            <a:avLst/>
          </a:prstGeom>
          <a:noFill/>
          <a:ln>
            <a:noFill/>
          </a:ln>
          <a:extLst/>
        </p:spPr>
        <p:txBody>
          <a:bodyPr wrap="none" anchor="ctr"/>
          <a:lstStyle>
            <a:lvl1pPr eaLnBrk="0" hangingPunct="0">
              <a:defRPr sz="800">
                <a:solidFill>
                  <a:schemeClr val="tx1"/>
                </a:solidFill>
                <a:latin typeface="Verdana" pitchFamily="34" charset="0"/>
                <a:ea typeface="ヒラギノ角ゴ Pro W3" pitchFamily="-112" charset="-128"/>
              </a:defRPr>
            </a:lvl1pPr>
            <a:lvl2pPr marL="742950" indent="-285750" eaLnBrk="0" hangingPunct="0">
              <a:defRPr sz="800">
                <a:solidFill>
                  <a:schemeClr val="tx1"/>
                </a:solidFill>
                <a:latin typeface="Verdana" pitchFamily="34" charset="0"/>
                <a:ea typeface="ヒラギノ角ゴ Pro W3" pitchFamily="-112" charset="-128"/>
              </a:defRPr>
            </a:lvl2pPr>
            <a:lvl3pPr marL="1143000" indent="-228600" eaLnBrk="0" hangingPunct="0">
              <a:defRPr sz="800">
                <a:solidFill>
                  <a:schemeClr val="tx1"/>
                </a:solidFill>
                <a:latin typeface="Verdana" pitchFamily="34" charset="0"/>
                <a:ea typeface="ヒラギノ角ゴ Pro W3" pitchFamily="-112" charset="-128"/>
              </a:defRPr>
            </a:lvl3pPr>
            <a:lvl4pPr marL="1600200" indent="-228600" eaLnBrk="0" hangingPunct="0">
              <a:defRPr sz="800">
                <a:solidFill>
                  <a:schemeClr val="tx1"/>
                </a:solidFill>
                <a:latin typeface="Verdana" pitchFamily="34" charset="0"/>
                <a:ea typeface="ヒラギノ角ゴ Pro W3" pitchFamily="-112" charset="-128"/>
              </a:defRPr>
            </a:lvl4pPr>
            <a:lvl5pPr marL="2057400" indent="-228600" eaLnBrk="0" hangingPunct="0">
              <a:defRPr sz="800">
                <a:solidFill>
                  <a:schemeClr val="tx1"/>
                </a:solidFill>
                <a:latin typeface="Verdana" pitchFamily="34" charset="0"/>
                <a:ea typeface="ヒラギノ角ゴ Pro W3" pitchFamily="-112" charset="-128"/>
              </a:defRPr>
            </a:lvl5pPr>
            <a:lvl6pPr marL="2514600" indent="-228600" eaLnBrk="0" fontAlgn="base" hangingPunct="0">
              <a:spcBef>
                <a:spcPct val="0"/>
              </a:spcBef>
              <a:spcAft>
                <a:spcPct val="0"/>
              </a:spcAft>
              <a:defRPr sz="800">
                <a:solidFill>
                  <a:schemeClr val="tx1"/>
                </a:solidFill>
                <a:latin typeface="Verdana" pitchFamily="34" charset="0"/>
                <a:ea typeface="ヒラギノ角ゴ Pro W3" pitchFamily="-112" charset="-128"/>
              </a:defRPr>
            </a:lvl6pPr>
            <a:lvl7pPr marL="2971800" indent="-228600" eaLnBrk="0" fontAlgn="base" hangingPunct="0">
              <a:spcBef>
                <a:spcPct val="0"/>
              </a:spcBef>
              <a:spcAft>
                <a:spcPct val="0"/>
              </a:spcAft>
              <a:defRPr sz="800">
                <a:solidFill>
                  <a:schemeClr val="tx1"/>
                </a:solidFill>
                <a:latin typeface="Verdana" pitchFamily="34" charset="0"/>
                <a:ea typeface="ヒラギノ角ゴ Pro W3" pitchFamily="-112" charset="-128"/>
              </a:defRPr>
            </a:lvl7pPr>
            <a:lvl8pPr marL="3429000" indent="-228600" eaLnBrk="0" fontAlgn="base" hangingPunct="0">
              <a:spcBef>
                <a:spcPct val="0"/>
              </a:spcBef>
              <a:spcAft>
                <a:spcPct val="0"/>
              </a:spcAft>
              <a:defRPr sz="800">
                <a:solidFill>
                  <a:schemeClr val="tx1"/>
                </a:solidFill>
                <a:latin typeface="Verdana" pitchFamily="34" charset="0"/>
                <a:ea typeface="ヒラギノ角ゴ Pro W3" pitchFamily="-112" charset="-128"/>
              </a:defRPr>
            </a:lvl8pPr>
            <a:lvl9pPr marL="3886200" indent="-228600" eaLnBrk="0" fontAlgn="base" hangingPunct="0">
              <a:spcBef>
                <a:spcPct val="0"/>
              </a:spcBef>
              <a:spcAft>
                <a:spcPct val="0"/>
              </a:spcAft>
              <a:defRPr sz="800">
                <a:solidFill>
                  <a:schemeClr val="tx1"/>
                </a:solidFill>
                <a:latin typeface="Verdana" pitchFamily="34" charset="0"/>
                <a:ea typeface="ヒラギノ角ゴ Pro W3" pitchFamily="-112" charset="-128"/>
              </a:defRPr>
            </a:lvl9pPr>
          </a:lstStyle>
          <a:p>
            <a:pPr algn="ctr" defTabSz="914400" eaLnBrk="1" fontAlgn="base" hangingPunct="1">
              <a:spcBef>
                <a:spcPct val="50000"/>
              </a:spcBef>
              <a:spcAft>
                <a:spcPct val="0"/>
              </a:spcAft>
              <a:defRPr/>
            </a:pPr>
            <a:endParaRPr lang="en-US" sz="1200" smtClean="0">
              <a:solidFill>
                <a:srgbClr val="001965"/>
              </a:solidFill>
            </a:endParaRPr>
          </a:p>
        </p:txBody>
      </p:sp>
      <p:sp>
        <p:nvSpPr>
          <p:cNvPr id="16388" name="Rectangle 3"/>
          <p:cNvSpPr>
            <a:spLocks noGrp="1" noChangeArrowheads="1"/>
          </p:cNvSpPr>
          <p:nvPr>
            <p:ph type="title"/>
          </p:nvPr>
        </p:nvSpPr>
        <p:spPr bwMode="auto">
          <a:xfrm>
            <a:off x="669925" y="344488"/>
            <a:ext cx="7867650" cy="7810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a-DK" smtClean="0"/>
              <a:t>Click to edit Master title style</a:t>
            </a:r>
          </a:p>
        </p:txBody>
      </p:sp>
      <p:sp>
        <p:nvSpPr>
          <p:cNvPr id="16389" name="Rectangle 4"/>
          <p:cNvSpPr>
            <a:spLocks noGrp="1" noChangeArrowheads="1"/>
          </p:cNvSpPr>
          <p:nvPr>
            <p:ph type="body" idx="1"/>
          </p:nvPr>
        </p:nvSpPr>
        <p:spPr bwMode="auto">
          <a:xfrm>
            <a:off x="669925" y="1384310"/>
            <a:ext cx="7875588" cy="2898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p>
        </p:txBody>
      </p:sp>
      <p:pic>
        <p:nvPicPr>
          <p:cNvPr id="16390" name="Picture 24" descr="NN_2C_WB_ppt"/>
          <p:cNvPicPr>
            <a:picLocks noChangeAspect="1" noChangeArrowheads="1"/>
          </p:cNvPicPr>
          <p:nvPr/>
        </p:nvPicPr>
        <p:blipFill>
          <a:blip r:embed="rId14" cstate="print"/>
          <a:srcRect/>
          <a:stretch>
            <a:fillRect/>
          </a:stretch>
        </p:blipFill>
        <p:spPr bwMode="auto">
          <a:xfrm>
            <a:off x="7678778" y="4365715"/>
            <a:ext cx="854075" cy="461963"/>
          </a:xfrm>
          <a:prstGeom prst="rect">
            <a:avLst/>
          </a:prstGeom>
          <a:noFill/>
          <a:ln w="9525">
            <a:noFill/>
            <a:miter lim="800000"/>
            <a:headEnd/>
            <a:tailEnd/>
          </a:ln>
        </p:spPr>
      </p:pic>
      <p:sp>
        <p:nvSpPr>
          <p:cNvPr id="8" name="TextBox 7"/>
          <p:cNvSpPr txBox="1"/>
          <p:nvPr/>
        </p:nvSpPr>
        <p:spPr>
          <a:xfrm>
            <a:off x="5076871" y="138113"/>
            <a:ext cx="3527425" cy="230832"/>
          </a:xfrm>
          <a:prstGeom prst="rect">
            <a:avLst/>
          </a:prstGeom>
          <a:noFill/>
        </p:spPr>
        <p:txBody>
          <a:bodyPr>
            <a:spAutoFit/>
          </a:bodyPr>
          <a:lstStyle>
            <a:lvl1pPr eaLnBrk="0" hangingPunct="0">
              <a:defRPr sz="800">
                <a:solidFill>
                  <a:schemeClr val="tx1"/>
                </a:solidFill>
                <a:latin typeface="Verdana" pitchFamily="34" charset="0"/>
                <a:ea typeface="ヒラギノ角ゴ Pro W3"/>
                <a:cs typeface="ヒラギノ角ゴ Pro W3"/>
              </a:defRPr>
            </a:lvl1pPr>
            <a:lvl2pPr marL="742950" indent="-285750" eaLnBrk="0" hangingPunct="0">
              <a:defRPr sz="800">
                <a:solidFill>
                  <a:schemeClr val="tx1"/>
                </a:solidFill>
                <a:latin typeface="Verdana" pitchFamily="34" charset="0"/>
                <a:ea typeface="ヒラギノ角ゴ Pro W3"/>
                <a:cs typeface="ヒラギノ角ゴ Pro W3"/>
              </a:defRPr>
            </a:lvl2pPr>
            <a:lvl3pPr marL="1143000" indent="-228600" eaLnBrk="0" hangingPunct="0">
              <a:defRPr sz="800">
                <a:solidFill>
                  <a:schemeClr val="tx1"/>
                </a:solidFill>
                <a:latin typeface="Verdana" pitchFamily="34" charset="0"/>
                <a:ea typeface="ヒラギノ角ゴ Pro W3"/>
                <a:cs typeface="ヒラギノ角ゴ Pro W3"/>
              </a:defRPr>
            </a:lvl3pPr>
            <a:lvl4pPr marL="1600200" indent="-228600" eaLnBrk="0" hangingPunct="0">
              <a:defRPr sz="800">
                <a:solidFill>
                  <a:schemeClr val="tx1"/>
                </a:solidFill>
                <a:latin typeface="Verdana" pitchFamily="34" charset="0"/>
                <a:ea typeface="ヒラギノ角ゴ Pro W3"/>
                <a:cs typeface="ヒラギノ角ゴ Pro W3"/>
              </a:defRPr>
            </a:lvl4pPr>
            <a:lvl5pPr marL="2057400" indent="-228600" eaLnBrk="0" hangingPunct="0">
              <a:defRPr sz="800">
                <a:solidFill>
                  <a:schemeClr val="tx1"/>
                </a:solidFill>
                <a:latin typeface="Verdana" pitchFamily="34" charset="0"/>
                <a:ea typeface="ヒラギノ角ゴ Pro W3"/>
                <a:cs typeface="ヒラギノ角ゴ Pro W3"/>
              </a:defRPr>
            </a:lvl5pPr>
            <a:lvl6pPr marL="2514600" indent="-228600" eaLnBrk="0" fontAlgn="base" hangingPunct="0">
              <a:spcBef>
                <a:spcPct val="0"/>
              </a:spcBef>
              <a:spcAft>
                <a:spcPct val="0"/>
              </a:spcAft>
              <a:defRPr sz="800">
                <a:solidFill>
                  <a:schemeClr val="tx1"/>
                </a:solidFill>
                <a:latin typeface="Verdana" pitchFamily="34" charset="0"/>
                <a:ea typeface="ヒラギノ角ゴ Pro W3"/>
                <a:cs typeface="ヒラギノ角ゴ Pro W3"/>
              </a:defRPr>
            </a:lvl6pPr>
            <a:lvl7pPr marL="2971800" indent="-228600" eaLnBrk="0" fontAlgn="base" hangingPunct="0">
              <a:spcBef>
                <a:spcPct val="0"/>
              </a:spcBef>
              <a:spcAft>
                <a:spcPct val="0"/>
              </a:spcAft>
              <a:defRPr sz="800">
                <a:solidFill>
                  <a:schemeClr val="tx1"/>
                </a:solidFill>
                <a:latin typeface="Verdana" pitchFamily="34" charset="0"/>
                <a:ea typeface="ヒラギノ角ゴ Pro W3"/>
                <a:cs typeface="ヒラギノ角ゴ Pro W3"/>
              </a:defRPr>
            </a:lvl7pPr>
            <a:lvl8pPr marL="3429000" indent="-228600" eaLnBrk="0" fontAlgn="base" hangingPunct="0">
              <a:spcBef>
                <a:spcPct val="0"/>
              </a:spcBef>
              <a:spcAft>
                <a:spcPct val="0"/>
              </a:spcAft>
              <a:defRPr sz="800">
                <a:solidFill>
                  <a:schemeClr val="tx1"/>
                </a:solidFill>
                <a:latin typeface="Verdana" pitchFamily="34" charset="0"/>
                <a:ea typeface="ヒラギノ角ゴ Pro W3"/>
                <a:cs typeface="ヒラギノ角ゴ Pro W3"/>
              </a:defRPr>
            </a:lvl8pPr>
            <a:lvl9pPr marL="3886200" indent="-228600" eaLnBrk="0" fontAlgn="base" hangingPunct="0">
              <a:spcBef>
                <a:spcPct val="0"/>
              </a:spcBef>
              <a:spcAft>
                <a:spcPct val="0"/>
              </a:spcAft>
              <a:defRPr sz="800">
                <a:solidFill>
                  <a:schemeClr val="tx1"/>
                </a:solidFill>
                <a:latin typeface="Verdana" pitchFamily="34" charset="0"/>
                <a:ea typeface="ヒラギノ角ゴ Pro W3"/>
                <a:cs typeface="ヒラギノ角ゴ Pro W3"/>
              </a:defRPr>
            </a:lvl9pPr>
          </a:lstStyle>
          <a:p>
            <a:pPr algn="r" defTabSz="914400" eaLnBrk="1" fontAlgn="base" hangingPunct="1">
              <a:spcBef>
                <a:spcPct val="0"/>
              </a:spcBef>
              <a:spcAft>
                <a:spcPct val="0"/>
              </a:spcAft>
              <a:defRPr/>
            </a:pPr>
            <a:r>
              <a:rPr lang="da-DK" sz="900" smtClean="0">
                <a:solidFill>
                  <a:srgbClr val="001965"/>
                </a:solidFill>
              </a:rPr>
              <a:t>  Slide </a:t>
            </a:r>
            <a:fld id="{52CEF5DF-1284-4D8E-BD53-677F973E5B7C}" type="slidenum">
              <a:rPr lang="da-DK" sz="900" smtClean="0">
                <a:solidFill>
                  <a:srgbClr val="001965"/>
                </a:solidFill>
              </a:rPr>
              <a:pPr algn="r" defTabSz="914400" eaLnBrk="1" fontAlgn="base" hangingPunct="1">
                <a:spcBef>
                  <a:spcPct val="0"/>
                </a:spcBef>
                <a:spcAft>
                  <a:spcPct val="0"/>
                </a:spcAft>
                <a:defRPr/>
              </a:pPr>
              <a:t>‹#›</a:t>
            </a:fld>
            <a:r>
              <a:rPr lang="da-DK" sz="900" smtClean="0">
                <a:solidFill>
                  <a:srgbClr val="001965"/>
                </a:solidFill>
              </a:rPr>
              <a:t>  •  </a:t>
            </a:r>
            <a:r>
              <a:rPr lang="en-GB" sz="900" smtClean="0">
                <a:solidFill>
                  <a:srgbClr val="001965"/>
                </a:solidFill>
              </a:rPr>
              <a:t>Diabetes and cardiovascular disease</a:t>
            </a:r>
          </a:p>
        </p:txBody>
      </p:sp>
    </p:spTree>
    <p:extLst>
      <p:ext uri="{BB962C8B-B14F-4D97-AF65-F5344CB8AC3E}">
        <p14:creationId xmlns:p14="http://schemas.microsoft.com/office/powerpoint/2010/main" val="607443022"/>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Lst>
  <p:transition/>
  <p:timing>
    <p:tnLst>
      <p:par>
        <p:cTn id="1" dur="indefinite" restart="never" nodeType="tmRoot"/>
      </p:par>
    </p:tnLst>
  </p:timing>
  <p:hf sldNum="0" hdr="0" ftr="0"/>
  <p:txStyles>
    <p:titleStyle>
      <a:lvl1pPr algn="l" defTabSz="981075" rtl="0" eaLnBrk="0" fontAlgn="base" hangingPunct="0">
        <a:lnSpc>
          <a:spcPct val="90000"/>
        </a:lnSpc>
        <a:spcBef>
          <a:spcPct val="10000"/>
        </a:spcBef>
        <a:spcAft>
          <a:spcPct val="15000"/>
        </a:spcAft>
        <a:defRPr sz="3200">
          <a:solidFill>
            <a:schemeClr val="bg1"/>
          </a:solidFill>
          <a:latin typeface="+mj-lt"/>
          <a:ea typeface="+mj-ea"/>
          <a:cs typeface="+mj-cs"/>
        </a:defRPr>
      </a:lvl1pPr>
      <a:lvl2pPr algn="l" defTabSz="981075" rtl="0" eaLnBrk="0" fontAlgn="base" hangingPunct="0">
        <a:lnSpc>
          <a:spcPct val="90000"/>
        </a:lnSpc>
        <a:spcBef>
          <a:spcPct val="10000"/>
        </a:spcBef>
        <a:spcAft>
          <a:spcPct val="15000"/>
        </a:spcAft>
        <a:defRPr sz="3200">
          <a:solidFill>
            <a:schemeClr val="bg1"/>
          </a:solidFill>
          <a:latin typeface="Verdana" pitchFamily="34" charset="0"/>
        </a:defRPr>
      </a:lvl2pPr>
      <a:lvl3pPr algn="l" defTabSz="981075" rtl="0" eaLnBrk="0" fontAlgn="base" hangingPunct="0">
        <a:lnSpc>
          <a:spcPct val="90000"/>
        </a:lnSpc>
        <a:spcBef>
          <a:spcPct val="10000"/>
        </a:spcBef>
        <a:spcAft>
          <a:spcPct val="15000"/>
        </a:spcAft>
        <a:defRPr sz="3200">
          <a:solidFill>
            <a:schemeClr val="bg1"/>
          </a:solidFill>
          <a:latin typeface="Verdana" pitchFamily="34" charset="0"/>
        </a:defRPr>
      </a:lvl3pPr>
      <a:lvl4pPr algn="l" defTabSz="981075" rtl="0" eaLnBrk="0" fontAlgn="base" hangingPunct="0">
        <a:lnSpc>
          <a:spcPct val="90000"/>
        </a:lnSpc>
        <a:spcBef>
          <a:spcPct val="10000"/>
        </a:spcBef>
        <a:spcAft>
          <a:spcPct val="15000"/>
        </a:spcAft>
        <a:defRPr sz="3200">
          <a:solidFill>
            <a:schemeClr val="bg1"/>
          </a:solidFill>
          <a:latin typeface="Verdana" pitchFamily="34" charset="0"/>
        </a:defRPr>
      </a:lvl4pPr>
      <a:lvl5pPr algn="l" defTabSz="981075" rtl="0" eaLnBrk="0" fontAlgn="base" hangingPunct="0">
        <a:lnSpc>
          <a:spcPct val="90000"/>
        </a:lnSpc>
        <a:spcBef>
          <a:spcPct val="10000"/>
        </a:spcBef>
        <a:spcAft>
          <a:spcPct val="15000"/>
        </a:spcAft>
        <a:defRPr sz="3200">
          <a:solidFill>
            <a:schemeClr val="bg1"/>
          </a:solidFill>
          <a:latin typeface="Verdana" pitchFamily="34" charset="0"/>
        </a:defRPr>
      </a:lvl5pPr>
      <a:lvl6pPr marL="457200" algn="l" defTabSz="981075" rtl="0" fontAlgn="base">
        <a:lnSpc>
          <a:spcPct val="90000"/>
        </a:lnSpc>
        <a:spcBef>
          <a:spcPct val="10000"/>
        </a:spcBef>
        <a:spcAft>
          <a:spcPct val="15000"/>
        </a:spcAft>
        <a:defRPr sz="3200">
          <a:solidFill>
            <a:schemeClr val="bg1"/>
          </a:solidFill>
          <a:latin typeface="Verdana" pitchFamily="34" charset="0"/>
        </a:defRPr>
      </a:lvl6pPr>
      <a:lvl7pPr marL="914400" algn="l" defTabSz="981075" rtl="0" fontAlgn="base">
        <a:lnSpc>
          <a:spcPct val="90000"/>
        </a:lnSpc>
        <a:spcBef>
          <a:spcPct val="10000"/>
        </a:spcBef>
        <a:spcAft>
          <a:spcPct val="15000"/>
        </a:spcAft>
        <a:defRPr sz="3200">
          <a:solidFill>
            <a:schemeClr val="bg1"/>
          </a:solidFill>
          <a:latin typeface="Verdana" pitchFamily="34" charset="0"/>
        </a:defRPr>
      </a:lvl7pPr>
      <a:lvl8pPr marL="1371600" algn="l" defTabSz="981075" rtl="0" fontAlgn="base">
        <a:lnSpc>
          <a:spcPct val="90000"/>
        </a:lnSpc>
        <a:spcBef>
          <a:spcPct val="10000"/>
        </a:spcBef>
        <a:spcAft>
          <a:spcPct val="15000"/>
        </a:spcAft>
        <a:defRPr sz="3200">
          <a:solidFill>
            <a:schemeClr val="bg1"/>
          </a:solidFill>
          <a:latin typeface="Verdana" pitchFamily="34" charset="0"/>
        </a:defRPr>
      </a:lvl8pPr>
      <a:lvl9pPr marL="1828800" algn="l" defTabSz="981075" rtl="0" fontAlgn="base">
        <a:lnSpc>
          <a:spcPct val="90000"/>
        </a:lnSpc>
        <a:spcBef>
          <a:spcPct val="10000"/>
        </a:spcBef>
        <a:spcAft>
          <a:spcPct val="15000"/>
        </a:spcAft>
        <a:defRPr sz="3200">
          <a:solidFill>
            <a:schemeClr val="bg1"/>
          </a:solidFill>
          <a:latin typeface="Verdana" pitchFamily="34" charset="0"/>
        </a:defRPr>
      </a:lvl9pPr>
    </p:titleStyle>
    <p:bodyStyle>
      <a:lvl1pPr marL="287338" indent="-287338" algn="l" defTabSz="981075" rtl="0" eaLnBrk="0" fontAlgn="base" hangingPunct="0">
        <a:spcBef>
          <a:spcPct val="10000"/>
        </a:spcBef>
        <a:spcAft>
          <a:spcPct val="15000"/>
        </a:spcAft>
        <a:buClr>
          <a:srgbClr val="880038"/>
        </a:buClr>
        <a:buChar char="•"/>
        <a:defRPr sz="2000">
          <a:solidFill>
            <a:srgbClr val="001965"/>
          </a:solidFill>
          <a:latin typeface="+mn-lt"/>
          <a:ea typeface="+mn-ea"/>
          <a:cs typeface="+mn-cs"/>
        </a:defRPr>
      </a:lvl1pPr>
      <a:lvl2pPr marL="738188" indent="-269875" algn="l" defTabSz="981075" rtl="0" eaLnBrk="0" fontAlgn="base" hangingPunct="0">
        <a:spcBef>
          <a:spcPct val="10000"/>
        </a:spcBef>
        <a:spcAft>
          <a:spcPct val="15000"/>
        </a:spcAft>
        <a:buClr>
          <a:schemeClr val="folHlink"/>
        </a:buClr>
        <a:buChar char="•"/>
        <a:defRPr>
          <a:solidFill>
            <a:srgbClr val="001965"/>
          </a:solidFill>
          <a:latin typeface="+mn-lt"/>
        </a:defRPr>
      </a:lvl2pPr>
      <a:lvl3pPr marL="1227138" indent="-274638" algn="l" defTabSz="981075" rtl="0" eaLnBrk="0" fontAlgn="base" hangingPunct="0">
        <a:spcBef>
          <a:spcPct val="10000"/>
        </a:spcBef>
        <a:spcAft>
          <a:spcPct val="15000"/>
        </a:spcAft>
        <a:buClr>
          <a:schemeClr val="accent2"/>
        </a:buClr>
        <a:buChar char="•"/>
        <a:defRPr sz="1600">
          <a:solidFill>
            <a:srgbClr val="001965"/>
          </a:solidFill>
          <a:latin typeface="+mn-lt"/>
        </a:defRPr>
      </a:lvl3pPr>
      <a:lvl4pPr marL="1708150" indent="-293688" algn="l" defTabSz="981075" rtl="0" eaLnBrk="0" fontAlgn="base" hangingPunct="0">
        <a:spcBef>
          <a:spcPct val="10000"/>
        </a:spcBef>
        <a:spcAft>
          <a:spcPct val="15000"/>
        </a:spcAft>
        <a:buClr>
          <a:srgbClr val="8DA2CC"/>
        </a:buClr>
        <a:buChar char="•"/>
        <a:defRPr sz="1400">
          <a:solidFill>
            <a:srgbClr val="001965"/>
          </a:solidFill>
          <a:latin typeface="+mn-lt"/>
        </a:defRPr>
      </a:lvl4pPr>
      <a:lvl5pPr marL="2176463" indent="-303213" algn="l" defTabSz="981075" rtl="0" eaLnBrk="0" fontAlgn="base" hangingPunct="0">
        <a:spcBef>
          <a:spcPct val="10000"/>
        </a:spcBef>
        <a:spcAft>
          <a:spcPct val="15000"/>
        </a:spcAft>
        <a:buClr>
          <a:srgbClr val="ECCCDA"/>
        </a:buClr>
        <a:buChar char="•"/>
        <a:defRPr sz="1400">
          <a:solidFill>
            <a:srgbClr val="001965"/>
          </a:solidFill>
          <a:latin typeface="+mn-lt"/>
        </a:defRPr>
      </a:lvl5pPr>
      <a:lvl6pPr marL="2633663" indent="-303213" algn="l" defTabSz="981075" rtl="0" fontAlgn="base">
        <a:spcBef>
          <a:spcPct val="10000"/>
        </a:spcBef>
        <a:spcAft>
          <a:spcPct val="15000"/>
        </a:spcAft>
        <a:buClr>
          <a:srgbClr val="ECCCDA"/>
        </a:buClr>
        <a:buChar char="•"/>
        <a:defRPr sz="1400">
          <a:solidFill>
            <a:srgbClr val="001965"/>
          </a:solidFill>
          <a:latin typeface="+mn-lt"/>
        </a:defRPr>
      </a:lvl6pPr>
      <a:lvl7pPr marL="3090863" indent="-303213" algn="l" defTabSz="981075" rtl="0" fontAlgn="base">
        <a:spcBef>
          <a:spcPct val="10000"/>
        </a:spcBef>
        <a:spcAft>
          <a:spcPct val="15000"/>
        </a:spcAft>
        <a:buClr>
          <a:srgbClr val="ECCCDA"/>
        </a:buClr>
        <a:buChar char="•"/>
        <a:defRPr sz="1400">
          <a:solidFill>
            <a:srgbClr val="001965"/>
          </a:solidFill>
          <a:latin typeface="+mn-lt"/>
        </a:defRPr>
      </a:lvl7pPr>
      <a:lvl8pPr marL="3548063" indent="-303213" algn="l" defTabSz="981075" rtl="0" fontAlgn="base">
        <a:spcBef>
          <a:spcPct val="10000"/>
        </a:spcBef>
        <a:spcAft>
          <a:spcPct val="15000"/>
        </a:spcAft>
        <a:buClr>
          <a:srgbClr val="ECCCDA"/>
        </a:buClr>
        <a:buChar char="•"/>
        <a:defRPr sz="1400">
          <a:solidFill>
            <a:srgbClr val="001965"/>
          </a:solidFill>
          <a:latin typeface="+mn-lt"/>
        </a:defRPr>
      </a:lvl8pPr>
      <a:lvl9pPr marL="4005263" indent="-303213" algn="l" defTabSz="981075" rtl="0" fontAlgn="base">
        <a:spcBef>
          <a:spcPct val="10000"/>
        </a:spcBef>
        <a:spcAft>
          <a:spcPct val="15000"/>
        </a:spcAft>
        <a:buClr>
          <a:srgbClr val="ECCCDA"/>
        </a:buClr>
        <a:buChar char="•"/>
        <a:defRPr sz="1400">
          <a:solidFill>
            <a:srgbClr val="001965"/>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23"/>
          <p:cNvSpPr>
            <a:spLocks noGrp="1" noChangeArrowheads="1"/>
          </p:cNvSpPr>
          <p:nvPr>
            <p:ph type="sldNum" sz="quarter" idx="4"/>
          </p:nvPr>
        </p:nvSpPr>
        <p:spPr bwMode="auto">
          <a:xfrm>
            <a:off x="8515351" y="104827"/>
            <a:ext cx="311150" cy="101204"/>
          </a:xfrm>
          <a:prstGeom prst="rect">
            <a:avLst/>
          </a:prstGeom>
          <a:noFill/>
          <a:ln>
            <a:noFill/>
          </a:ln>
          <a:effectLst/>
          <a:extLst/>
        </p:spPr>
        <p:txBody>
          <a:bodyPr vert="horz" wrap="square" lIns="0" tIns="0" rIns="0" bIns="0" numCol="1" anchor="ctr" anchorCtr="0" compatLnSpc="1">
            <a:prstTxWarp prst="textNoShape">
              <a:avLst/>
            </a:prstTxWarp>
          </a:bodyPr>
          <a:lstStyle>
            <a:lvl1pPr algn="r" eaLnBrk="1" hangingPunct="1">
              <a:defRPr sz="600">
                <a:solidFill>
                  <a:srgbClr val="82786F"/>
                </a:solidFill>
                <a:latin typeface="Verdana" pitchFamily="34" charset="0"/>
                <a:ea typeface="MS PGothic" pitchFamily="34" charset="-128"/>
              </a:defRPr>
            </a:lvl1pPr>
          </a:lstStyle>
          <a:p>
            <a:pPr defTabSz="914400" fontAlgn="base">
              <a:spcBef>
                <a:spcPct val="0"/>
              </a:spcBef>
              <a:spcAft>
                <a:spcPct val="0"/>
              </a:spcAft>
              <a:defRPr/>
            </a:pPr>
            <a:fld id="{A631BA27-082E-4B65-B018-1717A02D614C}" type="slidenum">
              <a:rPr lang="en-GB">
                <a:cs typeface="Arial" pitchFamily="34" charset="0"/>
              </a:rPr>
              <a:pPr defTabSz="914400" fontAlgn="base">
                <a:spcBef>
                  <a:spcPct val="0"/>
                </a:spcBef>
                <a:spcAft>
                  <a:spcPct val="0"/>
                </a:spcAft>
                <a:defRPr/>
              </a:pPr>
              <a:t>‹#›</a:t>
            </a:fld>
            <a:endParaRPr lang="en-GB">
              <a:cs typeface="Arial" pitchFamily="34" charset="0"/>
            </a:endParaRPr>
          </a:p>
        </p:txBody>
      </p:sp>
      <p:sp>
        <p:nvSpPr>
          <p:cNvPr id="1027" name="Text Placeholder 2"/>
          <p:cNvSpPr>
            <a:spLocks noGrp="1"/>
          </p:cNvSpPr>
          <p:nvPr>
            <p:ph type="body" idx="1"/>
          </p:nvPr>
        </p:nvSpPr>
        <p:spPr bwMode="auto">
          <a:xfrm>
            <a:off x="317502" y="1313271"/>
            <a:ext cx="8509000" cy="2955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US" altLang="cs-CZ" smtClean="0"/>
              <a:t>Click to edit Master text styles</a:t>
            </a:r>
          </a:p>
          <a:p>
            <a:pPr lvl="1"/>
            <a:r>
              <a:rPr lang="en-US" altLang="cs-CZ" smtClean="0"/>
              <a:t>Second level</a:t>
            </a:r>
          </a:p>
          <a:p>
            <a:pPr lvl="2"/>
            <a:r>
              <a:rPr lang="en-US" altLang="cs-CZ" smtClean="0"/>
              <a:t>Third level</a:t>
            </a:r>
          </a:p>
          <a:p>
            <a:pPr lvl="3"/>
            <a:r>
              <a:rPr lang="en-US" altLang="cs-CZ" smtClean="0"/>
              <a:t>Fourth level</a:t>
            </a:r>
          </a:p>
          <a:p>
            <a:pPr lvl="4"/>
            <a:r>
              <a:rPr lang="en-US" altLang="cs-CZ" smtClean="0"/>
              <a:t>Fifth level</a:t>
            </a:r>
            <a:endParaRPr lang="en-GB" altLang="cs-CZ" smtClean="0"/>
          </a:p>
        </p:txBody>
      </p:sp>
      <p:sp>
        <p:nvSpPr>
          <p:cNvPr id="1028" name="Title Placeholder 1"/>
          <p:cNvSpPr>
            <a:spLocks noGrp="1"/>
          </p:cNvSpPr>
          <p:nvPr>
            <p:ph type="title"/>
          </p:nvPr>
        </p:nvSpPr>
        <p:spPr bwMode="auto">
          <a:xfrm>
            <a:off x="317502" y="515543"/>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cs-CZ" smtClean="0"/>
              <a:t>Click to edit Master title style</a:t>
            </a:r>
            <a:endParaRPr lang="en-GB" altLang="cs-CZ" smtClean="0"/>
          </a:p>
        </p:txBody>
      </p:sp>
      <p:sp>
        <p:nvSpPr>
          <p:cNvPr id="13" name="Rectangle 5"/>
          <p:cNvSpPr>
            <a:spLocks noGrp="1" noChangeArrowheads="1"/>
          </p:cNvSpPr>
          <p:nvPr>
            <p:ph type="ftr" sz="quarter" idx="3"/>
          </p:nvPr>
        </p:nvSpPr>
        <p:spPr bwMode="auto">
          <a:xfrm>
            <a:off x="4173540" y="103670"/>
            <a:ext cx="2900362" cy="101203"/>
          </a:xfrm>
          <a:prstGeom prst="rect">
            <a:avLst/>
          </a:prstGeom>
          <a:noFill/>
          <a:ln>
            <a:noFill/>
          </a:ln>
          <a:effectLst/>
          <a:extLst/>
        </p:spPr>
        <p:txBody>
          <a:bodyPr vert="horz" wrap="square" lIns="0" tIns="0" rIns="0" bIns="0" numCol="1" anchor="ctr" anchorCtr="0" compatLnSpc="1">
            <a:prstTxWarp prst="textNoShape">
              <a:avLst/>
            </a:prstTxWarp>
          </a:bodyPr>
          <a:lstStyle>
            <a:lvl1pPr algn="r" eaLnBrk="1" hangingPunct="1">
              <a:defRPr sz="600">
                <a:solidFill>
                  <a:srgbClr val="82786F"/>
                </a:solidFill>
                <a:latin typeface="+mn-lt"/>
                <a:ea typeface="ＭＳ Ｐゴシック" pitchFamily="34" charset="-128"/>
                <a:cs typeface="+mn-cs"/>
              </a:defRPr>
            </a:lvl1pPr>
          </a:lstStyle>
          <a:p>
            <a:pPr defTabSz="914400" fontAlgn="base">
              <a:spcBef>
                <a:spcPct val="0"/>
              </a:spcBef>
              <a:spcAft>
                <a:spcPct val="0"/>
              </a:spcAft>
              <a:defRPr/>
            </a:pPr>
            <a:r>
              <a:rPr lang="en-GB"/>
              <a:t>Presentation title</a:t>
            </a:r>
          </a:p>
        </p:txBody>
      </p:sp>
      <p:sp>
        <p:nvSpPr>
          <p:cNvPr id="15" name="Rectangle 81"/>
          <p:cNvSpPr>
            <a:spLocks noGrp="1" noChangeArrowheads="1"/>
          </p:cNvSpPr>
          <p:nvPr>
            <p:ph type="dt" sz="half" idx="2"/>
          </p:nvPr>
        </p:nvSpPr>
        <p:spPr bwMode="auto">
          <a:xfrm>
            <a:off x="7186661" y="103670"/>
            <a:ext cx="1201737" cy="101203"/>
          </a:xfrm>
          <a:prstGeom prst="rect">
            <a:avLst/>
          </a:prstGeom>
          <a:noFill/>
          <a:ln>
            <a:noFill/>
          </a:ln>
          <a:effectLst/>
          <a:extLst/>
        </p:spPr>
        <p:txBody>
          <a:bodyPr vert="horz" wrap="square" lIns="0" tIns="0" rIns="0" bIns="0" numCol="1" anchor="ctr" anchorCtr="0" compatLnSpc="1">
            <a:prstTxWarp prst="textNoShape">
              <a:avLst/>
            </a:prstTxWarp>
          </a:bodyPr>
          <a:lstStyle>
            <a:lvl1pPr algn="r" eaLnBrk="1" hangingPunct="1">
              <a:defRPr sz="600">
                <a:solidFill>
                  <a:srgbClr val="82786F"/>
                </a:solidFill>
                <a:latin typeface="+mn-lt"/>
                <a:ea typeface="ＭＳ Ｐゴシック" pitchFamily="34" charset="-128"/>
                <a:cs typeface="+mn-cs"/>
              </a:defRPr>
            </a:lvl1pPr>
          </a:lstStyle>
          <a:p>
            <a:pPr defTabSz="914400" fontAlgn="base">
              <a:spcBef>
                <a:spcPct val="0"/>
              </a:spcBef>
              <a:spcAft>
                <a:spcPct val="0"/>
              </a:spcAft>
              <a:defRPr/>
            </a:pPr>
            <a:r>
              <a:rPr lang="en-GB"/>
              <a:t>Date</a:t>
            </a:r>
          </a:p>
        </p:txBody>
      </p:sp>
    </p:spTree>
    <p:extLst>
      <p:ext uri="{BB962C8B-B14F-4D97-AF65-F5344CB8AC3E}">
        <p14:creationId xmlns:p14="http://schemas.microsoft.com/office/powerpoint/2010/main" val="1090522690"/>
      </p:ext>
    </p:extLst>
  </p:cSld>
  <p:clrMap bg1="lt1" tx1="dk1" bg2="lt2" tx2="dk2" accent1="accent1" accent2="accent2" accent3="accent3" accent4="accent4" accent5="accent5" accent6="accent6" hlink="hlink" folHlink="folHlink"/>
  <p:sldLayoutIdLst>
    <p:sldLayoutId id="2147484275" r:id="rId1"/>
    <p:sldLayoutId id="2147484276" r:id="rId2"/>
    <p:sldLayoutId id="2147484277" r:id="rId3"/>
    <p:sldLayoutId id="2147484278" r:id="rId4"/>
    <p:sldLayoutId id="2147484279" r:id="rId5"/>
    <p:sldLayoutId id="2147484280" r:id="rId6"/>
    <p:sldLayoutId id="2147484281" r:id="rId7"/>
    <p:sldLayoutId id="2147484282" r:id="rId8"/>
    <p:sldLayoutId id="2147484283" r:id="rId9"/>
    <p:sldLayoutId id="2147484284" r:id="rId10"/>
    <p:sldLayoutId id="2147484285" r:id="rId11"/>
    <p:sldLayoutId id="2147484286" r:id="rId12"/>
    <p:sldLayoutId id="2147484287" r:id="rId13"/>
    <p:sldLayoutId id="2147484288" r:id="rId14"/>
    <p:sldLayoutId id="2147484289" r:id="rId15"/>
    <p:sldLayoutId id="2147484290" r:id="rId16"/>
    <p:sldLayoutId id="2147484291" r:id="rId17"/>
    <p:sldLayoutId id="2147484292" r:id="rId18"/>
    <p:sldLayoutId id="2147484293" r:id="rId19"/>
    <p:sldLayoutId id="2147484294" r:id="rId20"/>
    <p:sldLayoutId id="2147484295" r:id="rId21"/>
    <p:sldLayoutId id="2147484296" r:id="rId22"/>
    <p:sldLayoutId id="2147484297" r:id="rId23"/>
    <p:sldLayoutId id="2147484298" r:id="rId24"/>
    <p:sldLayoutId id="2147484299" r:id="rId25"/>
    <p:sldLayoutId id="2147484300" r:id="rId26"/>
    <p:sldLayoutId id="2147484301" r:id="rId27"/>
    <p:sldLayoutId id="2147484302" r:id="rId28"/>
    <p:sldLayoutId id="2147484303" r:id="rId29"/>
    <p:sldLayoutId id="2147484304" r:id="rId30"/>
    <p:sldLayoutId id="2147484305" r:id="rId31"/>
    <p:sldLayoutId id="2147484306" r:id="rId32"/>
    <p:sldLayoutId id="2147484307" r:id="rId33"/>
    <p:sldLayoutId id="2147484308" r:id="rId34"/>
    <p:sldLayoutId id="2147484309" r:id="rId35"/>
  </p:sldLayoutIdLst>
  <p:transition/>
  <p:timing>
    <p:tnLst>
      <p:par>
        <p:cTn id="1" dur="indefinite" restart="never" nodeType="tmRoot"/>
      </p:par>
    </p:tnLst>
  </p:timing>
  <p:hf hdr="0"/>
  <p:txStyles>
    <p:title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Verdana" pitchFamily="34" charset="0"/>
        </a:defRPr>
      </a:lvl2pPr>
      <a:lvl3pPr algn="l" rtl="0" eaLnBrk="0" fontAlgn="base" hangingPunct="0">
        <a:spcBef>
          <a:spcPct val="0"/>
        </a:spcBef>
        <a:spcAft>
          <a:spcPct val="0"/>
        </a:spcAft>
        <a:defRPr sz="2400" b="1">
          <a:solidFill>
            <a:schemeClr val="accent2"/>
          </a:solidFill>
          <a:latin typeface="Verdana" pitchFamily="34" charset="0"/>
        </a:defRPr>
      </a:lvl3pPr>
      <a:lvl4pPr algn="l" rtl="0" eaLnBrk="0" fontAlgn="base" hangingPunct="0">
        <a:spcBef>
          <a:spcPct val="0"/>
        </a:spcBef>
        <a:spcAft>
          <a:spcPct val="0"/>
        </a:spcAft>
        <a:defRPr sz="2400" b="1">
          <a:solidFill>
            <a:schemeClr val="accent2"/>
          </a:solidFill>
          <a:latin typeface="Verdana" pitchFamily="34" charset="0"/>
        </a:defRPr>
      </a:lvl4pPr>
      <a:lvl5pPr algn="l" rtl="0" eaLnBrk="0" fontAlgn="base" hangingPunct="0">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p:titleStyle>
    <p:bodyStyle>
      <a:lvl1pPr marL="265113" indent="-265113" algn="l" rtl="0" eaLnBrk="0" fontAlgn="base" hangingPunct="0">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536575" indent="-271463" algn="l" rtl="0" eaLnBrk="0" fontAlgn="base" hangingPunct="0">
        <a:spcBef>
          <a:spcPct val="20000"/>
        </a:spcBef>
        <a:spcAft>
          <a:spcPct val="0"/>
        </a:spcAft>
        <a:buClr>
          <a:schemeClr val="tx2"/>
        </a:buClr>
        <a:buFont typeface="Verdana" pitchFamily="34" charset="0"/>
        <a:buChar char="•"/>
        <a:defRPr sz="1600" kern="1200">
          <a:solidFill>
            <a:schemeClr val="accent2"/>
          </a:solidFill>
          <a:latin typeface="+mn-lt"/>
          <a:ea typeface="+mn-ea"/>
          <a:cs typeface="+mn-cs"/>
        </a:defRPr>
      </a:lvl2pPr>
      <a:lvl3pPr marL="808038" indent="-271463" algn="l" rtl="0" eaLnBrk="0" fontAlgn="base" hangingPunct="0">
        <a:spcBef>
          <a:spcPct val="20000"/>
        </a:spcBef>
        <a:spcAft>
          <a:spcPct val="0"/>
        </a:spcAft>
        <a:buClr>
          <a:srgbClr val="E64A0E"/>
        </a:buClr>
        <a:buFont typeface="Verdana" pitchFamily="34" charset="0"/>
        <a:buChar char="•"/>
        <a:defRPr sz="1400" kern="1200">
          <a:solidFill>
            <a:schemeClr val="accent2"/>
          </a:solidFill>
          <a:latin typeface="+mn-lt"/>
          <a:ea typeface="+mn-ea"/>
          <a:cs typeface="+mn-cs"/>
        </a:defRPr>
      </a:lvl3pPr>
      <a:lvl4pPr marL="985838" indent="-177800" algn="l" rtl="0" eaLnBrk="0" fontAlgn="base" hangingPunct="0">
        <a:spcBef>
          <a:spcPct val="20000"/>
        </a:spcBef>
        <a:spcAft>
          <a:spcPct val="0"/>
        </a:spcAft>
        <a:buClr>
          <a:srgbClr val="82786F"/>
        </a:buClr>
        <a:buFont typeface="Verdana" pitchFamily="34" charset="0"/>
        <a:buChar char="•"/>
        <a:defRPr sz="1200" kern="1200">
          <a:solidFill>
            <a:schemeClr val="accent2"/>
          </a:solidFill>
          <a:latin typeface="+mn-lt"/>
          <a:ea typeface="+mn-ea"/>
          <a:cs typeface="+mn-cs"/>
        </a:defRPr>
      </a:lvl4pPr>
      <a:lvl5pPr marL="1257300" indent="-184150" algn="l" rtl="0" eaLnBrk="0" fontAlgn="base" hangingPunct="0">
        <a:spcBef>
          <a:spcPct val="20000"/>
        </a:spcBef>
        <a:spcAft>
          <a:spcPct val="0"/>
        </a:spcAft>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10.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6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8.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37.xml"/><Relationship Id="rId5" Type="http://schemas.openxmlformats.org/officeDocument/2006/relationships/image" Target="../media/image28.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4.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87.xml"/><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7.xml"/></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87.xml"/><Relationship Id="rId6" Type="http://schemas.openxmlformats.org/officeDocument/2006/relationships/chart" Target="../charts/chart1.xml"/><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 Type="http://schemas.openxmlformats.org/officeDocument/2006/relationships/tags" Target="../tags/tag15.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notesSlide" Target="../notesSlides/notesSlide14.xml"/><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slideLayout" Target="../slideLayouts/slideLayout9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8.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7.xml"/></Relationships>
</file>

<file path=ppt/slides/_rels/slide6.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2.xml"/><Relationship Id="rId1" Type="http://schemas.openxmlformats.org/officeDocument/2006/relationships/slideLayout" Target="../slideLayouts/slideLayout156.xml"/><Relationship Id="rId5" Type="http://schemas.openxmlformats.org/officeDocument/2006/relationships/image" Target="../media/image20.jpeg"/><Relationship Id="rId4" Type="http://schemas.openxmlformats.org/officeDocument/2006/relationships/hyperlink" Target="http://www.google.cz/url?sa=i&amp;rct=j&amp;q=&amp;esrc=s&amp;source=images&amp;cd=&amp;cad=rja&amp;uact=8&amp;ved=0ahUKEwixwM6ry9TKAhXEvRoKHb-SBZEQjRwIBw&amp;url=http://content.time.com/time/specials/2007/time100/article/0,28804,1595326_1595329_1616143,00.html&amp;bvm=bv.113034660,d.bGQ&amp;psig=AFQjCNE_xquVLOR9HDhBqNnR3hs5vYQeyw&amp;ust=1454348150653552"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8.xml"/></Relationships>
</file>

<file path=ppt/slides/_rels/slide9.xml.rels><?xml version="1.0" encoding="UTF-8" standalone="yes"?>
<Relationships xmlns="http://schemas.openxmlformats.org/package/2006/relationships"><Relationship Id="rId3" Type="http://schemas.openxmlformats.org/officeDocument/2006/relationships/hyperlink" Target="https://www.google.cz/url?sa=i&amp;rct=j&amp;q=&amp;esrc=s&amp;frm=1&amp;source=images&amp;cd=&amp;cad=rja&amp;uact=8&amp;ved=0ahUKEwjDyrGX9NfPAhXD0RQKHRpgCsgQjRwIBw&amp;url=https://www.azumio.com/blog/health/reducing-your-risk-of-heart-disease&amp;psig=AFQjCNHaXp3G8-JSDy5eJyMxZg9eT0Qb7w&amp;ust=1476452446050978" TargetMode="External"/><Relationship Id="rId2" Type="http://schemas.openxmlformats.org/officeDocument/2006/relationships/notesSlide" Target="../notesSlides/notesSlide5.xml"/><Relationship Id="rId1" Type="http://schemas.openxmlformats.org/officeDocument/2006/relationships/slideLayout" Target="../slideLayouts/slideLayout160.xml"/><Relationship Id="rId6" Type="http://schemas.openxmlformats.org/officeDocument/2006/relationships/image" Target="../media/image22.jpeg"/><Relationship Id="rId5" Type="http://schemas.openxmlformats.org/officeDocument/2006/relationships/hyperlink" Target="http://www.google.cz/url?sa=i&amp;rct=j&amp;q=&amp;esrc=s&amp;frm=1&amp;source=images&amp;cd=&amp;cad=rja&amp;uact=8&amp;ved=0ahUKEwiI_tTR9NfPAhVEaRQKHYdUBpAQjRwIBw&amp;url=http://diabetesandglucoseworld.com/diabetes/hba1c-conversion-chart-hba1c-blood-test/&amp;psig=AFQjCNGRUhNOza696vtk6tAjdNVEsZuXog&amp;ust=1476452573031709" TargetMode="External"/><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1"/>
          <p:cNvSpPr>
            <a:spLocks noGrp="1"/>
          </p:cNvSpPr>
          <p:nvPr>
            <p:ph type="title"/>
          </p:nvPr>
        </p:nvSpPr>
        <p:spPr>
          <a:xfrm>
            <a:off x="0" y="-519384"/>
            <a:ext cx="8892480" cy="900113"/>
          </a:xfrm>
        </p:spPr>
        <p:txBody>
          <a:bodyPr/>
          <a:lstStyle/>
          <a:p>
            <a:r>
              <a:rPr lang="cs-CZ" sz="2700" dirty="0"/>
              <a:t/>
            </a:r>
            <a:br>
              <a:rPr lang="cs-CZ" sz="2700" dirty="0"/>
            </a:br>
            <a:r>
              <a:rPr lang="cs-CZ" sz="2700" dirty="0"/>
              <a:t> </a:t>
            </a:r>
            <a:r>
              <a:rPr lang="cs-CZ" dirty="0"/>
              <a:t/>
            </a:r>
            <a:br>
              <a:rPr lang="cs-CZ" dirty="0"/>
            </a:br>
            <a:r>
              <a:rPr lang="cs-CZ" b="1" dirty="0"/>
              <a:t> </a:t>
            </a:r>
            <a:r>
              <a:rPr lang="cs-CZ" dirty="0"/>
              <a:t/>
            </a:r>
            <a:br>
              <a:rPr lang="cs-CZ" dirty="0"/>
            </a:br>
            <a:r>
              <a:rPr lang="cs-CZ" sz="2400" b="1" dirty="0"/>
              <a:t>ANTIDIABETIKA A KARDIOVASKULÁRNÍ BEZPEČNOST: NOVINKY A PERSPEKTIVY </a:t>
            </a:r>
            <a:endParaRPr lang="cs-CZ" sz="1200" b="1" dirty="0">
              <a:solidFill>
                <a:schemeClr val="accent5">
                  <a:lumMod val="10000"/>
                </a:schemeClr>
              </a:solidFill>
            </a:endParaRPr>
          </a:p>
        </p:txBody>
      </p:sp>
      <p:sp>
        <p:nvSpPr>
          <p:cNvPr id="5" name="Podnadpis 2"/>
          <p:cNvSpPr txBox="1">
            <a:spLocks/>
          </p:cNvSpPr>
          <p:nvPr/>
        </p:nvSpPr>
        <p:spPr>
          <a:xfrm>
            <a:off x="305780" y="4007777"/>
            <a:ext cx="8280920" cy="571500"/>
          </a:xfrm>
          <a:prstGeom prst="rect">
            <a:avLst/>
          </a:prstGeom>
        </p:spPr>
        <p:txBody>
          <a:bodyPr/>
          <a:lstStyle>
            <a:lvl1pPr marL="342900" indent="-342900" algn="l" rtl="0" eaLnBrk="1" fontAlgn="base" hangingPunct="1">
              <a:spcBef>
                <a:spcPct val="20000"/>
              </a:spcBef>
              <a:spcAft>
                <a:spcPct val="0"/>
              </a:spcAft>
              <a:buFont typeface="Arial" charset="0"/>
              <a:buChar char="•"/>
              <a:defRPr sz="1900" kern="1200">
                <a:solidFill>
                  <a:srgbClr val="988F86"/>
                </a:solidFill>
                <a:latin typeface="Cambria" pitchFamily="18" charset="0"/>
                <a:ea typeface="+mn-ea"/>
                <a:cs typeface="Times New Roman" pitchFamily="18" charset="0"/>
              </a:defRPr>
            </a:lvl1pPr>
            <a:lvl2pPr marL="742950" indent="-285750" algn="l" rtl="0" eaLnBrk="1" fontAlgn="base" hangingPunct="1">
              <a:spcBef>
                <a:spcPct val="20000"/>
              </a:spcBef>
              <a:spcAft>
                <a:spcPct val="0"/>
              </a:spcAft>
              <a:buFont typeface="Arial" charset="0"/>
              <a:buChar char="–"/>
              <a:defRPr kern="1200">
                <a:solidFill>
                  <a:srgbClr val="988F86"/>
                </a:solidFill>
                <a:latin typeface="Cambria" pitchFamily="18" charset="0"/>
                <a:ea typeface="+mn-ea"/>
                <a:cs typeface="Times New Roman" pitchFamily="18" charset="0"/>
              </a:defRPr>
            </a:lvl2pPr>
            <a:lvl3pPr marL="1143000" indent="-228600" algn="l" rtl="0" eaLnBrk="1" fontAlgn="base" hangingPunct="1">
              <a:spcBef>
                <a:spcPct val="20000"/>
              </a:spcBef>
              <a:spcAft>
                <a:spcPct val="0"/>
              </a:spcAft>
              <a:buFont typeface="Arial" charset="0"/>
              <a:buChar char="•"/>
              <a:defRPr sz="1600" kern="1200">
                <a:solidFill>
                  <a:srgbClr val="988F86"/>
                </a:solidFill>
                <a:latin typeface="Cambria" pitchFamily="18" charset="0"/>
                <a:ea typeface="+mn-ea"/>
                <a:cs typeface="Times New Roman" pitchFamily="18" charset="0"/>
              </a:defRPr>
            </a:lvl3pPr>
            <a:lvl4pPr marL="1600200" indent="-228600" algn="l" rtl="0" eaLnBrk="1" fontAlgn="base" hangingPunct="1">
              <a:spcBef>
                <a:spcPct val="20000"/>
              </a:spcBef>
              <a:spcAft>
                <a:spcPct val="0"/>
              </a:spcAft>
              <a:buFont typeface="Arial" charset="0"/>
              <a:buChar char="–"/>
              <a:defRPr sz="1400" kern="1200">
                <a:solidFill>
                  <a:srgbClr val="988F86"/>
                </a:solidFill>
                <a:latin typeface="Cambria" pitchFamily="18" charset="0"/>
                <a:ea typeface="+mn-ea"/>
                <a:cs typeface="Times New Roman" pitchFamily="18" charset="0"/>
              </a:defRPr>
            </a:lvl4pPr>
            <a:lvl5pPr marL="2057400" indent="-228600" algn="l" rtl="0" eaLnBrk="1" fontAlgn="base" hangingPunct="1">
              <a:spcBef>
                <a:spcPct val="20000"/>
              </a:spcBef>
              <a:spcAft>
                <a:spcPct val="0"/>
              </a:spcAft>
              <a:buFont typeface="Arial" charset="0"/>
              <a:buChar char="»"/>
              <a:defRPr sz="1200" kern="1200">
                <a:solidFill>
                  <a:srgbClr val="988F86"/>
                </a:solidFill>
                <a:latin typeface="Cambria" pitchFamily="18" charset="0"/>
                <a:ea typeface="+mn-ea"/>
                <a:cs typeface="Times New Roman" pitchFamily="18"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buFont typeface="Arial" charset="0"/>
              <a:buNone/>
              <a:defRPr/>
            </a:pPr>
            <a:r>
              <a:rPr lang="cs-CZ" sz="2400" b="1" dirty="0" smtClean="0">
                <a:solidFill>
                  <a:srgbClr val="000000"/>
                </a:solidFill>
              </a:rPr>
              <a:t>Martin Haluzík</a:t>
            </a:r>
            <a:endParaRPr lang="cs-CZ" sz="2400" b="1" dirty="0">
              <a:solidFill>
                <a:srgbClr val="000000"/>
              </a:solidFill>
            </a:endParaRPr>
          </a:p>
          <a:p>
            <a:pPr marL="257175" indent="-257175" algn="ctr" defTabSz="685800">
              <a:defRPr/>
            </a:pPr>
            <a:endParaRPr lang="cs-CZ" sz="1600" dirty="0"/>
          </a:p>
          <a:p>
            <a:pPr marL="0" indent="0" algn="ctr" defTabSz="685800">
              <a:buFont typeface="Arial" charset="0"/>
              <a:buNone/>
              <a:defRPr/>
            </a:pPr>
            <a:r>
              <a:rPr lang="cs-CZ" sz="2000" dirty="0">
                <a:solidFill>
                  <a:srgbClr val="000000"/>
                </a:solidFill>
              </a:rPr>
              <a:t>Centrum diabetologie a Centrum experimentální </a:t>
            </a:r>
            <a:r>
              <a:rPr lang="cs-CZ" sz="2000" dirty="0" err="1">
                <a:solidFill>
                  <a:srgbClr val="000000"/>
                </a:solidFill>
              </a:rPr>
              <a:t>mediciny</a:t>
            </a:r>
            <a:r>
              <a:rPr lang="cs-CZ" sz="2000" dirty="0">
                <a:solidFill>
                  <a:srgbClr val="000000"/>
                </a:solidFill>
              </a:rPr>
              <a:t>, </a:t>
            </a:r>
            <a:r>
              <a:rPr lang="cs-CZ" sz="2000" dirty="0" smtClean="0">
                <a:solidFill>
                  <a:srgbClr val="000000"/>
                </a:solidFill>
              </a:rPr>
              <a:t>IKEM</a:t>
            </a:r>
            <a:endParaRPr lang="cs-CZ" sz="2000" dirty="0">
              <a:solidFill>
                <a:srgbClr val="000000"/>
              </a:solidFill>
            </a:endParaRPr>
          </a:p>
        </p:txBody>
      </p:sp>
      <p:pic>
        <p:nvPicPr>
          <p:cNvPr id="6" name="Zástupný symbol pro obsah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4033" y="1211953"/>
            <a:ext cx="5486400" cy="2743200"/>
          </a:xfrm>
          <a:prstGeom prst="rect">
            <a:avLst/>
          </a:prstGeom>
        </p:spPr>
      </p:pic>
    </p:spTree>
    <p:extLst>
      <p:ext uri="{BB962C8B-B14F-4D97-AF65-F5344CB8AC3E}">
        <p14:creationId xmlns:p14="http://schemas.microsoft.com/office/powerpoint/2010/main" val="37952006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a:xfrm>
            <a:off x="417653" y="340612"/>
            <a:ext cx="8510400" cy="391412"/>
          </a:xfrm>
        </p:spPr>
        <p:txBody>
          <a:bodyPr/>
          <a:lstStyle/>
          <a:p>
            <a:pPr algn="ctr"/>
            <a:r>
              <a:rPr lang="cs-CZ" dirty="0" smtClean="0">
                <a:solidFill>
                  <a:schemeClr val="tx2"/>
                </a:solidFill>
              </a:rPr>
              <a:t>Hlavním cílem léčby diabetu je komplikacím předcházet</a:t>
            </a:r>
            <a:endParaRPr lang="cs-CZ" dirty="0">
              <a:solidFill>
                <a:schemeClr val="tx2"/>
              </a:solidFill>
            </a:endParaRPr>
          </a:p>
        </p:txBody>
      </p:sp>
      <p:pic>
        <p:nvPicPr>
          <p:cNvPr id="5" name="Obráze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0942" y="1099566"/>
            <a:ext cx="4389120" cy="3401568"/>
          </a:xfrm>
          <a:prstGeom prst="rect">
            <a:avLst/>
          </a:prstGeom>
        </p:spPr>
      </p:pic>
    </p:spTree>
    <p:extLst>
      <p:ext uri="{BB962C8B-B14F-4D97-AF65-F5344CB8AC3E}">
        <p14:creationId xmlns:p14="http://schemas.microsoft.com/office/powerpoint/2010/main" val="35665800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988060066"/>
              </p:ext>
            </p:extLst>
          </p:nvPr>
        </p:nvGraphicFramePr>
        <p:xfrm>
          <a:off x="310777" y="831096"/>
          <a:ext cx="8509262" cy="3906600"/>
        </p:xfrm>
        <a:graphic>
          <a:graphicData uri="http://schemas.openxmlformats.org/drawingml/2006/table">
            <a:tbl>
              <a:tblPr firstRow="1" bandRow="1">
                <a:tableStyleId>{5C22544A-7EE6-4342-B048-85BDC9FD1C3A}</a:tableStyleId>
              </a:tblPr>
              <a:tblGrid>
                <a:gridCol w="4361890">
                  <a:extLst>
                    <a:ext uri="{9D8B030D-6E8A-4147-A177-3AD203B41FA5}">
                      <a16:colId xmlns:a16="http://schemas.microsoft.com/office/drawing/2014/main" xmlns="" val="20000"/>
                    </a:ext>
                  </a:extLst>
                </a:gridCol>
                <a:gridCol w="1036843">
                  <a:extLst>
                    <a:ext uri="{9D8B030D-6E8A-4147-A177-3AD203B41FA5}">
                      <a16:colId xmlns:a16="http://schemas.microsoft.com/office/drawing/2014/main" xmlns="" val="20001"/>
                    </a:ext>
                  </a:extLst>
                </a:gridCol>
                <a:gridCol w="1036843">
                  <a:extLst>
                    <a:ext uri="{9D8B030D-6E8A-4147-A177-3AD203B41FA5}">
                      <a16:colId xmlns:a16="http://schemas.microsoft.com/office/drawing/2014/main" xmlns="" val="20002"/>
                    </a:ext>
                  </a:extLst>
                </a:gridCol>
                <a:gridCol w="1036843">
                  <a:extLst>
                    <a:ext uri="{9D8B030D-6E8A-4147-A177-3AD203B41FA5}">
                      <a16:colId xmlns:a16="http://schemas.microsoft.com/office/drawing/2014/main" xmlns="" val="20003"/>
                    </a:ext>
                  </a:extLst>
                </a:gridCol>
                <a:gridCol w="1036843">
                  <a:extLst>
                    <a:ext uri="{9D8B030D-6E8A-4147-A177-3AD203B41FA5}">
                      <a16:colId xmlns:a16="http://schemas.microsoft.com/office/drawing/2014/main" xmlns="" val="20004"/>
                    </a:ext>
                  </a:extLst>
                </a:gridCol>
              </a:tblGrid>
              <a:tr h="434340">
                <a:tc>
                  <a:txBody>
                    <a:bodyPr/>
                    <a:lstStyle/>
                    <a:p>
                      <a:endParaRPr lang="en-GB" sz="1100" baseline="0" dirty="0">
                        <a:solidFill>
                          <a:schemeClr val="tx1"/>
                        </a:solidFill>
                      </a:endParaRPr>
                    </a:p>
                  </a:txBody>
                  <a:tcPr marL="45096" marR="45096">
                    <a:lnT w="28575" cap="flat" cmpd="sng" algn="ctr">
                      <a:solidFill>
                        <a:schemeClr val="tx1"/>
                      </a:solidFill>
                      <a:prstDash val="solid"/>
                      <a:round/>
                      <a:headEnd type="none" w="med" len="med"/>
                      <a:tailEnd type="none" w="med" len="med"/>
                    </a:lnT>
                    <a:noFill/>
                  </a:tcPr>
                </a:tc>
                <a:tc gridSpan="2">
                  <a:txBody>
                    <a:bodyPr/>
                    <a:lstStyle/>
                    <a:p>
                      <a:pPr algn="ctr"/>
                      <a:r>
                        <a:rPr lang="en-GB" sz="1100" baseline="0" dirty="0">
                          <a:solidFill>
                            <a:schemeClr val="tx1"/>
                          </a:solidFill>
                        </a:rPr>
                        <a:t>Conventional therapy </a:t>
                      </a:r>
                    </a:p>
                  </a:txBody>
                  <a:tcPr marL="45096" marR="45096">
                    <a:lnT w="28575" cap="flat" cmpd="sng" algn="ctr">
                      <a:solidFill>
                        <a:schemeClr val="tx1"/>
                      </a:solidFill>
                      <a:prstDash val="solid"/>
                      <a:round/>
                      <a:headEnd type="none" w="med" len="med"/>
                      <a:tailEnd type="none" w="med" len="med"/>
                    </a:lnT>
                    <a:noFill/>
                  </a:tcPr>
                </a:tc>
                <a:tc hMerge="1">
                  <a:txBody>
                    <a:bodyPr/>
                    <a:lstStyle/>
                    <a:p>
                      <a:endParaRPr lang="en-GB" sz="1000" dirty="0"/>
                    </a:p>
                  </a:txBody>
                  <a:tcPr/>
                </a:tc>
                <a:tc gridSpan="2">
                  <a:txBody>
                    <a:bodyPr/>
                    <a:lstStyle/>
                    <a:p>
                      <a:pPr algn="ctr"/>
                      <a:r>
                        <a:rPr lang="en-GB" sz="1100" baseline="0" dirty="0">
                          <a:solidFill>
                            <a:schemeClr val="tx1"/>
                          </a:solidFill>
                        </a:rPr>
                        <a:t>Intensive therapy </a:t>
                      </a:r>
                    </a:p>
                  </a:txBody>
                  <a:tcPr marL="45096" marR="45096">
                    <a:lnT w="28575" cap="flat" cmpd="sng" algn="ctr">
                      <a:solidFill>
                        <a:schemeClr val="tx1"/>
                      </a:solidFill>
                      <a:prstDash val="solid"/>
                      <a:round/>
                      <a:headEnd type="none" w="med" len="med"/>
                      <a:tailEnd type="none" w="med" len="med"/>
                    </a:lnT>
                    <a:noFill/>
                  </a:tcPr>
                </a:tc>
                <a:tc hMerge="1">
                  <a:txBody>
                    <a:bodyPr/>
                    <a:lstStyle/>
                    <a:p>
                      <a:endParaRPr lang="en-GB" sz="1000" baseline="0" dirty="0"/>
                    </a:p>
                  </a:txBody>
                  <a:tcPr/>
                </a:tc>
                <a:extLst>
                  <a:ext uri="{0D108BD9-81ED-4DB2-BD59-A6C34878D82A}">
                    <a16:rowId xmlns:a16="http://schemas.microsoft.com/office/drawing/2014/main" xmlns="" val="10000"/>
                  </a:ext>
                </a:extLst>
              </a:tr>
              <a:tr h="434340">
                <a:tc>
                  <a:txBody>
                    <a:bodyPr/>
                    <a:lstStyle/>
                    <a:p>
                      <a:endParaRPr lang="en-GB" sz="1100" baseline="0" dirty="0">
                        <a:solidFill>
                          <a:schemeClr val="tx1"/>
                        </a:solidFill>
                      </a:endParaRPr>
                    </a:p>
                  </a:txBody>
                  <a:tcPr marL="45096" marR="45096">
                    <a:lnB w="12700" cap="flat" cmpd="sng" algn="ctr">
                      <a:solidFill>
                        <a:srgbClr val="009FDA"/>
                      </a:solidFill>
                      <a:prstDash val="solid"/>
                      <a:round/>
                      <a:headEnd type="none" w="med" len="med"/>
                      <a:tailEnd type="none" w="med" len="med"/>
                    </a:lnB>
                    <a:noFill/>
                  </a:tcPr>
                </a:tc>
                <a:tc>
                  <a:txBody>
                    <a:bodyPr/>
                    <a:lstStyle/>
                    <a:p>
                      <a:pPr algn="ctr"/>
                      <a:r>
                        <a:rPr lang="en-GB" sz="1100" baseline="0" dirty="0">
                          <a:solidFill>
                            <a:schemeClr val="tx1"/>
                          </a:solidFill>
                        </a:rPr>
                        <a:t>1993–1999</a:t>
                      </a:r>
                    </a:p>
                  </a:txBody>
                  <a:tcPr marL="45096" marR="45096">
                    <a:lnB w="12700" cap="flat" cmpd="sng" algn="ctr">
                      <a:solidFill>
                        <a:srgbClr val="009FDA"/>
                      </a:solidFill>
                      <a:prstDash val="solid"/>
                      <a:round/>
                      <a:headEnd type="none" w="med" len="med"/>
                      <a:tailEnd type="none" w="med" len="med"/>
                    </a:lnB>
                    <a:noFill/>
                  </a:tcPr>
                </a:tc>
                <a:tc>
                  <a:txBody>
                    <a:bodyPr/>
                    <a:lstStyle/>
                    <a:p>
                      <a:pPr algn="ctr"/>
                      <a:r>
                        <a:rPr lang="en-GB" sz="1100" baseline="0" dirty="0">
                          <a:solidFill>
                            <a:schemeClr val="tx1"/>
                          </a:solidFill>
                        </a:rPr>
                        <a:t>2000–2001</a:t>
                      </a:r>
                      <a:endParaRPr lang="en-GB" sz="1100" dirty="0">
                        <a:solidFill>
                          <a:schemeClr val="tx1"/>
                        </a:solidFill>
                      </a:endParaRPr>
                    </a:p>
                  </a:txBody>
                  <a:tcPr marL="45096" marR="45096">
                    <a:lnB w="12700" cap="flat" cmpd="sng" algn="ctr">
                      <a:solidFill>
                        <a:srgbClr val="009FDA"/>
                      </a:solidFill>
                      <a:prstDash val="solid"/>
                      <a:round/>
                      <a:headEnd type="none" w="med" len="med"/>
                      <a:tailEnd type="none" w="med" len="med"/>
                    </a:lnB>
                    <a:noFill/>
                  </a:tcPr>
                </a:tc>
                <a:tc>
                  <a:txBody>
                    <a:bodyPr/>
                    <a:lstStyle/>
                    <a:p>
                      <a:pPr algn="ctr"/>
                      <a:r>
                        <a:rPr lang="en-GB" sz="1100" baseline="0" dirty="0">
                          <a:solidFill>
                            <a:schemeClr val="tx1"/>
                          </a:solidFill>
                        </a:rPr>
                        <a:t>1993–1999</a:t>
                      </a:r>
                      <a:endParaRPr lang="en-GB" sz="1100" b="1" baseline="0" dirty="0">
                        <a:solidFill>
                          <a:schemeClr val="tx1"/>
                        </a:solidFill>
                      </a:endParaRPr>
                    </a:p>
                  </a:txBody>
                  <a:tcPr marL="45096" marR="45096">
                    <a:lnB w="12700" cap="flat" cmpd="sng" algn="ctr">
                      <a:solidFill>
                        <a:srgbClr val="009FDA"/>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aseline="0" dirty="0">
                          <a:solidFill>
                            <a:schemeClr val="tx1"/>
                          </a:solidFill>
                        </a:rPr>
                        <a:t>2000–2001</a:t>
                      </a:r>
                    </a:p>
                  </a:txBody>
                  <a:tcPr marL="45096" marR="45096">
                    <a:lnB w="12700" cap="flat" cmpd="sng" algn="ctr">
                      <a:solidFill>
                        <a:srgbClr val="009FDA"/>
                      </a:solidFill>
                      <a:prstDash val="solid"/>
                      <a:round/>
                      <a:headEnd type="none" w="med" len="med"/>
                      <a:tailEnd type="none" w="med" len="med"/>
                    </a:lnB>
                    <a:noFill/>
                  </a:tcPr>
                </a:tc>
                <a:extLst>
                  <a:ext uri="{0D108BD9-81ED-4DB2-BD59-A6C34878D82A}">
                    <a16:rowId xmlns:a16="http://schemas.microsoft.com/office/drawing/2014/main" xmlns="" val="10001"/>
                  </a:ext>
                </a:extLst>
              </a:tr>
              <a:tr h="271155">
                <a:tc>
                  <a:txBody>
                    <a:bodyPr/>
                    <a:lstStyle/>
                    <a:p>
                      <a:r>
                        <a:rPr lang="en-GB" sz="1100" baseline="0" dirty="0">
                          <a:solidFill>
                            <a:schemeClr val="tx1"/>
                          </a:solidFill>
                        </a:rPr>
                        <a:t>Systolic blood pressure (mmHg) </a:t>
                      </a:r>
                    </a:p>
                  </a:txBody>
                  <a:tcPr marL="45096" marR="45096">
                    <a:lnT w="12700" cap="flat" cmpd="sng" algn="ctr">
                      <a:solidFill>
                        <a:srgbClr val="009FDA"/>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160 </a:t>
                      </a:r>
                      <a:endParaRPr lang="en-GB" sz="1100" baseline="0" dirty="0">
                        <a:solidFill>
                          <a:schemeClr val="tx1"/>
                        </a:solidFill>
                      </a:endParaRPr>
                    </a:p>
                  </a:txBody>
                  <a:tcPr marL="45096" marR="45096">
                    <a:lnT w="12700" cap="flat" cmpd="sng" algn="ctr">
                      <a:solidFill>
                        <a:srgbClr val="009FDA"/>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135 </a:t>
                      </a:r>
                      <a:endParaRPr lang="en-GB" sz="1100" baseline="0" dirty="0">
                        <a:solidFill>
                          <a:schemeClr val="tx1"/>
                        </a:solidFill>
                      </a:endParaRPr>
                    </a:p>
                  </a:txBody>
                  <a:tcPr marL="45096" marR="45096">
                    <a:lnT w="12700" cap="flat" cmpd="sng" algn="ctr">
                      <a:solidFill>
                        <a:srgbClr val="009FDA"/>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i="0" baseline="0" dirty="0" smtClean="0">
                          <a:solidFill>
                            <a:schemeClr val="tx1"/>
                          </a:solidFill>
                        </a:rPr>
                        <a:t>&lt;140 </a:t>
                      </a:r>
                      <a:endParaRPr lang="en-GB" sz="1100" i="0" baseline="0" dirty="0">
                        <a:solidFill>
                          <a:schemeClr val="tx1"/>
                        </a:solidFill>
                      </a:endParaRPr>
                    </a:p>
                  </a:txBody>
                  <a:tcPr marL="45096" marR="45096">
                    <a:lnT w="12700" cap="flat" cmpd="sng" algn="ctr">
                      <a:solidFill>
                        <a:srgbClr val="009FDA"/>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130 </a:t>
                      </a:r>
                      <a:endParaRPr lang="en-GB" sz="1100" baseline="0" dirty="0">
                        <a:solidFill>
                          <a:schemeClr val="tx1"/>
                        </a:solidFill>
                      </a:endParaRPr>
                    </a:p>
                  </a:txBody>
                  <a:tcPr marL="45096" marR="45096">
                    <a:lnT w="12700" cap="flat" cmpd="sng" algn="ctr">
                      <a:solidFill>
                        <a:srgbClr val="009FDA"/>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extLst>
                  <a:ext uri="{0D108BD9-81ED-4DB2-BD59-A6C34878D82A}">
                    <a16:rowId xmlns:a16="http://schemas.microsoft.com/office/drawing/2014/main" xmlns="" val="10002"/>
                  </a:ext>
                </a:extLst>
              </a:tr>
              <a:tr h="271155">
                <a:tc>
                  <a:txBody>
                    <a:bodyPr/>
                    <a:lstStyle/>
                    <a:p>
                      <a:r>
                        <a:rPr lang="en-GB" sz="1100" baseline="0" dirty="0">
                          <a:solidFill>
                            <a:schemeClr val="tx1"/>
                          </a:solidFill>
                        </a:rPr>
                        <a:t>Diastolic blood pressure (mmHg) </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95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85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i="0" baseline="0" dirty="0" smtClean="0">
                          <a:solidFill>
                            <a:schemeClr val="tx1"/>
                          </a:solidFill>
                        </a:rPr>
                        <a:t>&lt;85 </a:t>
                      </a:r>
                      <a:endParaRPr lang="en-GB" sz="1100" i="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80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extLst>
                  <a:ext uri="{0D108BD9-81ED-4DB2-BD59-A6C34878D82A}">
                    <a16:rowId xmlns:a16="http://schemas.microsoft.com/office/drawing/2014/main" xmlns="" val="10003"/>
                  </a:ext>
                </a:extLst>
              </a:tr>
              <a:tr h="271155">
                <a:tc>
                  <a:txBody>
                    <a:bodyPr/>
                    <a:lstStyle/>
                    <a:p>
                      <a:r>
                        <a:rPr lang="en-GB" sz="1100" baseline="0" dirty="0">
                          <a:solidFill>
                            <a:schemeClr val="tx1"/>
                          </a:solidFill>
                        </a:rPr>
                        <a:t>HbA</a:t>
                      </a:r>
                      <a:r>
                        <a:rPr lang="en-GB" sz="1100" baseline="-25000" dirty="0">
                          <a:solidFill>
                            <a:schemeClr val="tx1"/>
                          </a:solidFill>
                        </a:rPr>
                        <a:t>1c</a:t>
                      </a:r>
                      <a:r>
                        <a:rPr lang="en-GB" sz="1100" baseline="0" dirty="0">
                          <a:solidFill>
                            <a:schemeClr val="tx1"/>
                          </a:solidFill>
                        </a:rPr>
                        <a:t> (%) </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7.5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6.5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6.5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6.5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extLst>
                  <a:ext uri="{0D108BD9-81ED-4DB2-BD59-A6C34878D82A}">
                    <a16:rowId xmlns:a16="http://schemas.microsoft.com/office/drawing/2014/main" xmlns="" val="10004"/>
                  </a:ext>
                </a:extLst>
              </a:tr>
              <a:tr h="271155">
                <a:tc>
                  <a:txBody>
                    <a:bodyPr/>
                    <a:lstStyle/>
                    <a:p>
                      <a:r>
                        <a:rPr lang="en-GB" sz="1100" baseline="0" dirty="0">
                          <a:solidFill>
                            <a:schemeClr val="tx1"/>
                          </a:solidFill>
                        </a:rPr>
                        <a:t>Fasting serum total cholesterol (mmol/L) </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6.5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4.9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4.9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4.5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extLst>
                  <a:ext uri="{0D108BD9-81ED-4DB2-BD59-A6C34878D82A}">
                    <a16:rowId xmlns:a16="http://schemas.microsoft.com/office/drawing/2014/main" xmlns="" val="10005"/>
                  </a:ext>
                </a:extLst>
              </a:tr>
              <a:tr h="271155">
                <a:tc>
                  <a:txBody>
                    <a:bodyPr/>
                    <a:lstStyle/>
                    <a:p>
                      <a:r>
                        <a:rPr lang="en-GB" sz="1100" baseline="0" dirty="0">
                          <a:solidFill>
                            <a:schemeClr val="tx1"/>
                          </a:solidFill>
                        </a:rPr>
                        <a:t>Fasting serum triglycerides (mmol/L) </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2.2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2.0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smtClean="0">
                          <a:solidFill>
                            <a:schemeClr val="tx1"/>
                          </a:solidFill>
                        </a:rPr>
                        <a:t>&lt;1.7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dirty="0" smtClean="0">
                          <a:solidFill>
                            <a:schemeClr val="tx1"/>
                          </a:solidFill>
                        </a:rPr>
                        <a:t>&lt;1.7 </a:t>
                      </a: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extLst>
                  <a:ext uri="{0D108BD9-81ED-4DB2-BD59-A6C34878D82A}">
                    <a16:rowId xmlns:a16="http://schemas.microsoft.com/office/drawing/2014/main" xmlns="" val="10006"/>
                  </a:ext>
                </a:extLst>
              </a:tr>
              <a:tr h="434340">
                <a:tc>
                  <a:txBody>
                    <a:bodyPr/>
                    <a:lstStyle/>
                    <a:p>
                      <a:r>
                        <a:rPr lang="en-GB" sz="1100" baseline="0" dirty="0">
                          <a:solidFill>
                            <a:schemeClr val="tx1"/>
                          </a:solidFill>
                        </a:rPr>
                        <a:t>Treatment with ACE-inhibitor irrespective of blood pressure </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No</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extLst>
                  <a:ext uri="{0D108BD9-81ED-4DB2-BD59-A6C34878D82A}">
                    <a16:rowId xmlns:a16="http://schemas.microsoft.com/office/drawing/2014/main" xmlns="" val="10007"/>
                  </a:ext>
                </a:extLst>
              </a:tr>
              <a:tr h="271155">
                <a:tc>
                  <a:txBody>
                    <a:bodyPr/>
                    <a:lstStyle/>
                    <a:p>
                      <a:r>
                        <a:rPr lang="en-GB" sz="1100" baseline="0" dirty="0">
                          <a:solidFill>
                            <a:schemeClr val="tx1"/>
                          </a:solidFill>
                        </a:rPr>
                        <a:t>Aspirin therapy: </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endParaRPr lang="en-GB" sz="1100" baseline="0" dirty="0">
                        <a:solidFill>
                          <a:schemeClr val="tx1"/>
                        </a:solidFill>
                      </a:endParaRP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extLst>
                  <a:ext uri="{0D108BD9-81ED-4DB2-BD59-A6C34878D82A}">
                    <a16:rowId xmlns:a16="http://schemas.microsoft.com/office/drawing/2014/main" xmlns="" val="10008"/>
                  </a:ext>
                </a:extLst>
              </a:tr>
              <a:tr h="271155">
                <a:tc>
                  <a:txBody>
                    <a:bodyPr/>
                    <a:lstStyle/>
                    <a:p>
                      <a:pPr lvl="1"/>
                      <a:r>
                        <a:rPr lang="en-GB" sz="1100" baseline="0" dirty="0">
                          <a:solidFill>
                            <a:schemeClr val="tx1"/>
                          </a:solidFill>
                        </a:rPr>
                        <a:t>Known ischaemia </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extLst>
                  <a:ext uri="{0D108BD9-81ED-4DB2-BD59-A6C34878D82A}">
                    <a16:rowId xmlns:a16="http://schemas.microsoft.com/office/drawing/2014/main" xmlns="" val="10009"/>
                  </a:ext>
                </a:extLst>
              </a:tr>
              <a:tr h="271155">
                <a:tc>
                  <a:txBody>
                    <a:bodyPr/>
                    <a:lstStyle/>
                    <a:p>
                      <a:pPr lvl="1"/>
                      <a:r>
                        <a:rPr lang="en-GB" sz="1100" baseline="0" dirty="0">
                          <a:solidFill>
                            <a:schemeClr val="tx1"/>
                          </a:solidFill>
                        </a:rPr>
                        <a:t>Peripheral vascular disease </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No</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No</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3175" cap="flat" cmpd="sng" algn="ctr">
                      <a:solidFill>
                        <a:srgbClr val="AEA79F"/>
                      </a:solidFill>
                      <a:prstDash val="solid"/>
                      <a:round/>
                      <a:headEnd type="none" w="med" len="med"/>
                      <a:tailEnd type="none" w="med" len="med"/>
                    </a:lnB>
                    <a:noFill/>
                  </a:tcPr>
                </a:tc>
                <a:extLst>
                  <a:ext uri="{0D108BD9-81ED-4DB2-BD59-A6C34878D82A}">
                    <a16:rowId xmlns:a16="http://schemas.microsoft.com/office/drawing/2014/main" xmlns="" val="10010"/>
                  </a:ext>
                </a:extLst>
              </a:tr>
              <a:tr h="434340">
                <a:tc>
                  <a:txBody>
                    <a:bodyPr/>
                    <a:lstStyle/>
                    <a:p>
                      <a:pPr lvl="1"/>
                      <a:r>
                        <a:rPr lang="en-GB" sz="1100" baseline="0" dirty="0">
                          <a:solidFill>
                            <a:schemeClr val="tx1"/>
                          </a:solidFill>
                        </a:rPr>
                        <a:t>No known CHD or peripheral vascular disease</a:t>
                      </a:r>
                    </a:p>
                  </a:txBody>
                  <a:tcPr marL="45096" marR="45096">
                    <a:lnT w="3175" cap="flat" cmpd="sng" algn="ctr">
                      <a:solidFill>
                        <a:srgbClr val="AEA79F"/>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a:r>
                        <a:rPr lang="en-GB" sz="1100" baseline="0" dirty="0">
                          <a:solidFill>
                            <a:schemeClr val="tx1"/>
                          </a:solidFill>
                        </a:rPr>
                        <a:t>No</a:t>
                      </a:r>
                    </a:p>
                  </a:txBody>
                  <a:tcPr marL="45096" marR="45096">
                    <a:lnT w="3175" cap="flat" cmpd="sng" algn="ctr">
                      <a:solidFill>
                        <a:srgbClr val="AEA79F"/>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a:r>
                        <a:rPr lang="en-GB" sz="1100" baseline="0" dirty="0">
                          <a:solidFill>
                            <a:schemeClr val="tx1"/>
                          </a:solidFill>
                        </a:rPr>
                        <a:t>No</a:t>
                      </a:r>
                    </a:p>
                  </a:txBody>
                  <a:tcPr marL="45096" marR="45096">
                    <a:lnT w="3175" cap="flat" cmpd="sng" algn="ctr">
                      <a:solidFill>
                        <a:srgbClr val="AEA79F"/>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a:r>
                        <a:rPr lang="en-GB" sz="1100" baseline="0" dirty="0">
                          <a:solidFill>
                            <a:schemeClr val="tx1"/>
                          </a:solidFill>
                        </a:rPr>
                        <a:t>No</a:t>
                      </a:r>
                    </a:p>
                  </a:txBody>
                  <a:tcPr marL="45096" marR="45096">
                    <a:lnT w="3175" cap="flat" cmpd="sng" algn="ctr">
                      <a:solidFill>
                        <a:srgbClr val="AEA79F"/>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a:r>
                        <a:rPr lang="en-GB" sz="1100" baseline="0" dirty="0">
                          <a:solidFill>
                            <a:schemeClr val="tx1"/>
                          </a:solidFill>
                        </a:rPr>
                        <a:t>Yes</a:t>
                      </a:r>
                    </a:p>
                  </a:txBody>
                  <a:tcPr marL="45096" marR="45096">
                    <a:lnT w="3175" cap="flat" cmpd="sng" algn="ctr">
                      <a:solidFill>
                        <a:srgbClr val="AEA79F"/>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11"/>
                  </a:ext>
                </a:extLst>
              </a:tr>
            </a:tbl>
          </a:graphicData>
        </a:graphic>
      </p:graphicFrame>
      <p:sp>
        <p:nvSpPr>
          <p:cNvPr id="2" name="Title 1"/>
          <p:cNvSpPr>
            <a:spLocks noGrp="1"/>
          </p:cNvSpPr>
          <p:nvPr>
            <p:ph type="title"/>
          </p:nvPr>
        </p:nvSpPr>
        <p:spPr>
          <a:xfrm>
            <a:off x="304055" y="99080"/>
            <a:ext cx="8509000" cy="390525"/>
          </a:xfrm>
        </p:spPr>
        <p:txBody>
          <a:bodyPr/>
          <a:lstStyle/>
          <a:p>
            <a:r>
              <a:rPr lang="cs-CZ" dirty="0" smtClean="0"/>
              <a:t>Konvenční vs. </a:t>
            </a:r>
            <a:r>
              <a:rPr lang="en-GB" dirty="0" err="1" smtClean="0"/>
              <a:t>inten</a:t>
            </a:r>
            <a:r>
              <a:rPr lang="cs-CZ" dirty="0" smtClean="0"/>
              <a:t>z</a:t>
            </a:r>
            <a:r>
              <a:rPr lang="en-GB" dirty="0" smtClean="0"/>
              <a:t>iv</a:t>
            </a:r>
            <a:r>
              <a:rPr lang="cs-CZ" dirty="0" smtClean="0"/>
              <a:t>ní</a:t>
            </a:r>
            <a:r>
              <a:rPr lang="en-GB" dirty="0" smtClean="0"/>
              <a:t> </a:t>
            </a:r>
            <a:r>
              <a:rPr lang="en-GB" dirty="0" err="1" smtClean="0"/>
              <a:t>multifa</a:t>
            </a:r>
            <a:r>
              <a:rPr lang="cs-CZ" dirty="0" smtClean="0"/>
              <a:t>k</a:t>
            </a:r>
            <a:r>
              <a:rPr lang="en-GB" dirty="0" smtClean="0"/>
              <a:t>tori</a:t>
            </a:r>
            <a:r>
              <a:rPr lang="cs-CZ" dirty="0" err="1" smtClean="0"/>
              <a:t>ální</a:t>
            </a:r>
            <a:r>
              <a:rPr lang="en-GB" dirty="0" smtClean="0"/>
              <a:t> </a:t>
            </a:r>
            <a:r>
              <a:rPr lang="cs-CZ" dirty="0" smtClean="0"/>
              <a:t>léčba</a:t>
            </a:r>
            <a:endParaRPr lang="en-GB" sz="2000" dirty="0"/>
          </a:p>
        </p:txBody>
      </p:sp>
      <p:sp>
        <p:nvSpPr>
          <p:cNvPr id="3" name="Content Placeholder 2"/>
          <p:cNvSpPr>
            <a:spLocks noGrp="1"/>
          </p:cNvSpPr>
          <p:nvPr>
            <p:ph type="body" sz="quarter" idx="11"/>
          </p:nvPr>
        </p:nvSpPr>
        <p:spPr>
          <a:xfrm>
            <a:off x="303260" y="540074"/>
            <a:ext cx="8509397" cy="222647"/>
          </a:xfrm>
        </p:spPr>
        <p:txBody>
          <a:bodyPr/>
          <a:lstStyle/>
          <a:p>
            <a:r>
              <a:rPr lang="en-GB" dirty="0"/>
              <a:t>STENO-2: Treatment targets</a:t>
            </a:r>
          </a:p>
          <a:p>
            <a:endParaRPr lang="en-GB" dirty="0"/>
          </a:p>
        </p:txBody>
      </p:sp>
      <p:sp>
        <p:nvSpPr>
          <p:cNvPr id="5" name="Subtitle 4"/>
          <p:cNvSpPr>
            <a:spLocks noGrp="1"/>
          </p:cNvSpPr>
          <p:nvPr>
            <p:ph type="body" sz="quarter" idx="12"/>
          </p:nvPr>
        </p:nvSpPr>
        <p:spPr>
          <a:xfrm>
            <a:off x="323525" y="4819099"/>
            <a:ext cx="8509700" cy="272850"/>
          </a:xfrm>
        </p:spPr>
        <p:txBody>
          <a:bodyPr/>
          <a:lstStyle/>
          <a:p>
            <a:r>
              <a:rPr lang="en-GB" dirty="0" smtClean="0"/>
              <a:t>ACE</a:t>
            </a:r>
            <a:r>
              <a:rPr lang="en-GB" dirty="0"/>
              <a:t>, angiotensin-converting enzyme; CHD, coronary heart disease; HbA</a:t>
            </a:r>
            <a:r>
              <a:rPr lang="en-GB" baseline="-25000" dirty="0"/>
              <a:t>1c</a:t>
            </a:r>
            <a:r>
              <a:rPr lang="en-GB" dirty="0"/>
              <a:t>, glycosylated haemoglobin</a:t>
            </a:r>
          </a:p>
          <a:p>
            <a:r>
              <a:rPr lang="en-GB" dirty="0" err="1"/>
              <a:t>Gæde</a:t>
            </a:r>
            <a:r>
              <a:rPr lang="en-GB" dirty="0"/>
              <a:t> P et al. </a:t>
            </a:r>
            <a:r>
              <a:rPr lang="en-GB" i="1" dirty="0" err="1"/>
              <a:t>Diabetologia</a:t>
            </a:r>
            <a:r>
              <a:rPr lang="en-GB" dirty="0"/>
              <a:t> </a:t>
            </a:r>
            <a:r>
              <a:rPr lang="en-GB" dirty="0" smtClean="0"/>
              <a:t>2016;59:2298‒2307 </a:t>
            </a:r>
            <a:endParaRPr lang="en-GB" dirty="0"/>
          </a:p>
        </p:txBody>
      </p:sp>
    </p:spTree>
    <p:extLst>
      <p:ext uri="{BB962C8B-B14F-4D97-AF65-F5344CB8AC3E}">
        <p14:creationId xmlns:p14="http://schemas.microsoft.com/office/powerpoint/2010/main" val="359829940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 name="Picture 131"/>
          <p:cNvPicPr>
            <a:picLocks noChangeAspect="1"/>
          </p:cNvPicPr>
          <p:nvPr/>
        </p:nvPicPr>
        <p:blipFill>
          <a:blip r:embed="rId3"/>
          <a:stretch>
            <a:fillRect/>
          </a:stretch>
        </p:blipFill>
        <p:spPr>
          <a:xfrm>
            <a:off x="271732" y="1596483"/>
            <a:ext cx="3054361" cy="2478239"/>
          </a:xfrm>
          <a:prstGeom prst="rect">
            <a:avLst/>
          </a:prstGeom>
        </p:spPr>
      </p:pic>
      <p:sp>
        <p:nvSpPr>
          <p:cNvPr id="2" name="Title 1"/>
          <p:cNvSpPr>
            <a:spLocks noGrp="1"/>
          </p:cNvSpPr>
          <p:nvPr>
            <p:ph type="title"/>
          </p:nvPr>
        </p:nvSpPr>
        <p:spPr>
          <a:xfrm>
            <a:off x="470954" y="134678"/>
            <a:ext cx="8386839" cy="781050"/>
          </a:xfrm>
        </p:spPr>
        <p:txBody>
          <a:bodyPr/>
          <a:lstStyle/>
          <a:p>
            <a:pPr algn="ctr"/>
            <a:r>
              <a:rPr lang="cs-CZ" b="1" dirty="0" smtClean="0">
                <a:solidFill>
                  <a:schemeClr val="tx2">
                    <a:lumMod val="10000"/>
                  </a:schemeClr>
                </a:solidFill>
                <a:latin typeface="Arial" panose="020B0604020202020204" pitchFamily="34" charset="0"/>
                <a:cs typeface="Arial" panose="020B0604020202020204" pitchFamily="34" charset="0"/>
              </a:rPr>
              <a:t>Komplexní intervence všech rizikových faktorů ve studii STENO: konvenční vs. intenzivní léčba</a:t>
            </a:r>
            <a:endParaRPr lang="en-GB" b="1" dirty="0">
              <a:solidFill>
                <a:schemeClr val="tx2">
                  <a:lumMod val="10000"/>
                </a:schemeClr>
              </a:solidFill>
              <a:latin typeface="Arial" panose="020B0604020202020204" pitchFamily="34" charset="0"/>
              <a:cs typeface="Arial" panose="020B0604020202020204" pitchFamily="34" charset="0"/>
            </a:endParaRPr>
          </a:p>
        </p:txBody>
      </p:sp>
      <p:sp>
        <p:nvSpPr>
          <p:cNvPr id="10" name="Text Placeholder 9"/>
          <p:cNvSpPr>
            <a:spLocks noGrp="1"/>
          </p:cNvSpPr>
          <p:nvPr>
            <p:ph type="body" sz="quarter" idx="11"/>
          </p:nvPr>
        </p:nvSpPr>
        <p:spPr>
          <a:xfrm>
            <a:off x="348397" y="1112261"/>
            <a:ext cx="8509397" cy="222647"/>
          </a:xfrm>
        </p:spPr>
        <p:txBody>
          <a:bodyPr/>
          <a:lstStyle/>
          <a:p>
            <a:r>
              <a:rPr lang="en-GB" dirty="0"/>
              <a:t>STENO-2: </a:t>
            </a:r>
            <a:r>
              <a:rPr lang="cs-CZ" dirty="0" smtClean="0"/>
              <a:t>m</a:t>
            </a:r>
            <a:r>
              <a:rPr lang="en-GB" dirty="0" err="1" smtClean="0"/>
              <a:t>ortalit</a:t>
            </a:r>
            <a:r>
              <a:rPr lang="cs-CZ" dirty="0" smtClean="0"/>
              <a:t>a po 21 letech sledování</a:t>
            </a:r>
            <a:endParaRPr lang="en-GB" dirty="0"/>
          </a:p>
        </p:txBody>
      </p:sp>
      <p:sp>
        <p:nvSpPr>
          <p:cNvPr id="8" name="Text Placeholder 7"/>
          <p:cNvSpPr>
            <a:spLocks noGrp="1"/>
          </p:cNvSpPr>
          <p:nvPr>
            <p:ph type="body" sz="quarter" idx="12"/>
          </p:nvPr>
        </p:nvSpPr>
        <p:spPr/>
        <p:txBody>
          <a:bodyPr/>
          <a:lstStyle/>
          <a:p>
            <a:r>
              <a:rPr lang="en-US" dirty="0"/>
              <a:t>*No formal calculation possible as &lt;50% mortality in intensive therapy group. </a:t>
            </a:r>
          </a:p>
          <a:p>
            <a:r>
              <a:rPr lang="en-GB" dirty="0"/>
              <a:t>CI, confidence interval; HR, hazard ratio</a:t>
            </a:r>
          </a:p>
          <a:p>
            <a:r>
              <a:rPr lang="en-GB" dirty="0" err="1"/>
              <a:t>Gæde</a:t>
            </a:r>
            <a:r>
              <a:rPr lang="en-GB" dirty="0"/>
              <a:t> P et al. </a:t>
            </a:r>
            <a:r>
              <a:rPr lang="en-GB" i="1" dirty="0" err="1"/>
              <a:t>Diabetologia</a:t>
            </a:r>
            <a:r>
              <a:rPr lang="en-GB" dirty="0"/>
              <a:t> </a:t>
            </a:r>
            <a:r>
              <a:rPr lang="en-GB" dirty="0" smtClean="0"/>
              <a:t>2016;59:2298‒2307</a:t>
            </a:r>
            <a:endParaRPr lang="en-GB" dirty="0"/>
          </a:p>
        </p:txBody>
      </p:sp>
      <p:graphicFrame>
        <p:nvGraphicFramePr>
          <p:cNvPr id="52" name="Table 51"/>
          <p:cNvGraphicFramePr>
            <a:graphicFrameLocks noGrp="1"/>
          </p:cNvGraphicFramePr>
          <p:nvPr>
            <p:extLst/>
          </p:nvPr>
        </p:nvGraphicFramePr>
        <p:xfrm>
          <a:off x="3705619" y="3773552"/>
          <a:ext cx="4031507" cy="502920"/>
        </p:xfrm>
        <a:graphic>
          <a:graphicData uri="http://schemas.openxmlformats.org/drawingml/2006/table">
            <a:tbl>
              <a:tblPr firstRow="1" bandRow="1">
                <a:tableStyleId>{2D5ABB26-0587-4C30-8999-92F81FD0307C}</a:tableStyleId>
              </a:tblPr>
              <a:tblGrid>
                <a:gridCol w="959477">
                  <a:extLst>
                    <a:ext uri="{9D8B030D-6E8A-4147-A177-3AD203B41FA5}">
                      <a16:colId xmlns:a16="http://schemas.microsoft.com/office/drawing/2014/main" xmlns="" val="20000"/>
                    </a:ext>
                  </a:extLst>
                </a:gridCol>
                <a:gridCol w="512005">
                  <a:extLst>
                    <a:ext uri="{9D8B030D-6E8A-4147-A177-3AD203B41FA5}">
                      <a16:colId xmlns:a16="http://schemas.microsoft.com/office/drawing/2014/main" xmlns="" val="20001"/>
                    </a:ext>
                  </a:extLst>
                </a:gridCol>
                <a:gridCol w="512005">
                  <a:extLst>
                    <a:ext uri="{9D8B030D-6E8A-4147-A177-3AD203B41FA5}">
                      <a16:colId xmlns:a16="http://schemas.microsoft.com/office/drawing/2014/main" xmlns="" val="20002"/>
                    </a:ext>
                  </a:extLst>
                </a:gridCol>
                <a:gridCol w="512005">
                  <a:extLst>
                    <a:ext uri="{9D8B030D-6E8A-4147-A177-3AD203B41FA5}">
                      <a16:colId xmlns:a16="http://schemas.microsoft.com/office/drawing/2014/main" xmlns="" val="20003"/>
                    </a:ext>
                  </a:extLst>
                </a:gridCol>
                <a:gridCol w="512005">
                  <a:extLst>
                    <a:ext uri="{9D8B030D-6E8A-4147-A177-3AD203B41FA5}">
                      <a16:colId xmlns:a16="http://schemas.microsoft.com/office/drawing/2014/main" xmlns="" val="20004"/>
                    </a:ext>
                  </a:extLst>
                </a:gridCol>
                <a:gridCol w="512005">
                  <a:extLst>
                    <a:ext uri="{9D8B030D-6E8A-4147-A177-3AD203B41FA5}">
                      <a16:colId xmlns:a16="http://schemas.microsoft.com/office/drawing/2014/main" xmlns="" val="20005"/>
                    </a:ext>
                  </a:extLst>
                </a:gridCol>
                <a:gridCol w="512005">
                  <a:extLst>
                    <a:ext uri="{9D8B030D-6E8A-4147-A177-3AD203B41FA5}">
                      <a16:colId xmlns:a16="http://schemas.microsoft.com/office/drawing/2014/main" xmlns="" val="20006"/>
                    </a:ext>
                  </a:extLst>
                </a:gridCol>
              </a:tblGrid>
              <a:tr h="251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smtClean="0"/>
                        <a:t>Number at risk</a:t>
                      </a:r>
                      <a:endParaRPr lang="en-GB" sz="800" dirty="0"/>
                    </a:p>
                  </a:txBody>
                  <a:tcPr marL="0" marR="0" marT="0" marB="0">
                    <a:solidFill>
                      <a:schemeClr val="bg1"/>
                    </a:solidFill>
                  </a:tcPr>
                </a:tc>
                <a:tc>
                  <a:txBody>
                    <a:bodyPr/>
                    <a:lstStyle/>
                    <a:p>
                      <a:endParaRPr lang="en-GB" sz="800"/>
                    </a:p>
                  </a:txBody>
                  <a:tcPr marL="0" marR="0" marT="0" marB="0">
                    <a:solidFill>
                      <a:schemeClr val="bg1"/>
                    </a:solidFill>
                  </a:tcPr>
                </a:tc>
                <a:tc>
                  <a:txBody>
                    <a:bodyPr/>
                    <a:lstStyle/>
                    <a:p>
                      <a:endParaRPr lang="en-GB" sz="800"/>
                    </a:p>
                  </a:txBody>
                  <a:tcPr marL="0" marR="0" marT="0" marB="0">
                    <a:solidFill>
                      <a:schemeClr val="bg1"/>
                    </a:solidFill>
                  </a:tcPr>
                </a:tc>
                <a:tc>
                  <a:txBody>
                    <a:bodyPr/>
                    <a:lstStyle/>
                    <a:p>
                      <a:endParaRPr lang="en-GB" sz="800"/>
                    </a:p>
                  </a:txBody>
                  <a:tcPr marL="0" marR="0" marT="0" marB="0">
                    <a:solidFill>
                      <a:schemeClr val="bg1"/>
                    </a:solidFill>
                  </a:tcPr>
                </a:tc>
                <a:tc>
                  <a:txBody>
                    <a:bodyPr/>
                    <a:lstStyle/>
                    <a:p>
                      <a:endParaRPr lang="en-GB" sz="800"/>
                    </a:p>
                  </a:txBody>
                  <a:tcPr marL="0" marR="0" marT="0" marB="0">
                    <a:solidFill>
                      <a:schemeClr val="bg1"/>
                    </a:solidFill>
                  </a:tcPr>
                </a:tc>
                <a:tc>
                  <a:txBody>
                    <a:bodyPr/>
                    <a:lstStyle/>
                    <a:p>
                      <a:endParaRPr lang="en-GB" sz="800"/>
                    </a:p>
                  </a:txBody>
                  <a:tcPr marL="0" marR="0" marT="0" marB="0">
                    <a:solidFill>
                      <a:schemeClr val="bg1"/>
                    </a:solidFill>
                  </a:tcPr>
                </a:tc>
                <a:tc>
                  <a:txBody>
                    <a:bodyPr/>
                    <a:lstStyle/>
                    <a:p>
                      <a:endParaRPr lang="en-GB" sz="800"/>
                    </a:p>
                  </a:txBody>
                  <a:tcPr marL="0" marR="0" marT="0" marB="0">
                    <a:solidFill>
                      <a:schemeClr val="bg1"/>
                    </a:solidFill>
                  </a:tcPr>
                </a:tc>
                <a:extLst>
                  <a:ext uri="{0D108BD9-81ED-4DB2-BD59-A6C34878D82A}">
                    <a16:rowId xmlns:a16="http://schemas.microsoft.com/office/drawing/2014/main" xmlns="" val="10000"/>
                  </a:ext>
                </a:extLst>
              </a:tr>
              <a:tr h="1257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smtClean="0"/>
                        <a:t>Intensive</a:t>
                      </a:r>
                      <a:endParaRPr lang="en-GB" sz="800" dirty="0"/>
                    </a:p>
                  </a:txBody>
                  <a:tcPr marL="0" marR="0" marT="0" marB="0">
                    <a:solidFill>
                      <a:schemeClr val="bg1"/>
                    </a:solidFill>
                  </a:tcPr>
                </a:tc>
                <a:tc>
                  <a:txBody>
                    <a:bodyPr/>
                    <a:lstStyle/>
                    <a:p>
                      <a:r>
                        <a:rPr lang="en-GB" sz="800" dirty="0" smtClean="0"/>
                        <a:t>80</a:t>
                      </a:r>
                      <a:endParaRPr lang="en-GB" sz="800" dirty="0"/>
                    </a:p>
                  </a:txBody>
                  <a:tcPr marL="0" marR="0" marT="0" marB="0">
                    <a:solidFill>
                      <a:schemeClr val="bg1"/>
                    </a:solidFill>
                  </a:tcPr>
                </a:tc>
                <a:tc>
                  <a:txBody>
                    <a:bodyPr/>
                    <a:lstStyle/>
                    <a:p>
                      <a:r>
                        <a:rPr lang="en-GB" sz="800" dirty="0" smtClean="0"/>
                        <a:t>76</a:t>
                      </a:r>
                      <a:endParaRPr lang="en-GB" sz="800" dirty="0"/>
                    </a:p>
                  </a:txBody>
                  <a:tcPr marL="0" marR="0" marT="0" marB="0">
                    <a:solidFill>
                      <a:schemeClr val="bg1"/>
                    </a:solidFill>
                  </a:tcPr>
                </a:tc>
                <a:tc>
                  <a:txBody>
                    <a:bodyPr/>
                    <a:lstStyle/>
                    <a:p>
                      <a:r>
                        <a:rPr lang="en-GB" sz="800" dirty="0" smtClean="0"/>
                        <a:t>66</a:t>
                      </a:r>
                      <a:endParaRPr lang="en-GB" sz="800" dirty="0"/>
                    </a:p>
                  </a:txBody>
                  <a:tcPr marL="0" marR="0" marT="0" marB="0">
                    <a:solidFill>
                      <a:schemeClr val="bg1"/>
                    </a:solidFill>
                  </a:tcPr>
                </a:tc>
                <a:tc>
                  <a:txBody>
                    <a:bodyPr/>
                    <a:lstStyle/>
                    <a:p>
                      <a:r>
                        <a:rPr lang="en-GB" sz="800" dirty="0" smtClean="0"/>
                        <a:t>58</a:t>
                      </a:r>
                      <a:endParaRPr lang="en-GB" sz="800" dirty="0"/>
                    </a:p>
                  </a:txBody>
                  <a:tcPr marL="0" marR="0" marT="0" marB="0">
                    <a:solidFill>
                      <a:schemeClr val="bg1"/>
                    </a:solidFill>
                  </a:tcPr>
                </a:tc>
                <a:tc>
                  <a:txBody>
                    <a:bodyPr/>
                    <a:lstStyle/>
                    <a:p>
                      <a:r>
                        <a:rPr lang="en-GB" sz="800" dirty="0" smtClean="0"/>
                        <a:t>54</a:t>
                      </a:r>
                      <a:endParaRPr lang="en-GB" sz="800" dirty="0"/>
                    </a:p>
                  </a:txBody>
                  <a:tcPr marL="0" marR="0" marT="0" marB="0">
                    <a:solidFill>
                      <a:schemeClr val="bg1"/>
                    </a:solidFill>
                  </a:tcPr>
                </a:tc>
                <a:tc>
                  <a:txBody>
                    <a:bodyPr/>
                    <a:lstStyle/>
                    <a:p>
                      <a:r>
                        <a:rPr lang="en-GB" sz="800" dirty="0" smtClean="0"/>
                        <a:t>43</a:t>
                      </a:r>
                      <a:endParaRPr lang="en-GB" sz="800" dirty="0"/>
                    </a:p>
                  </a:txBody>
                  <a:tcPr marL="0" marR="0" marT="0" marB="0">
                    <a:solidFill>
                      <a:schemeClr val="bg1"/>
                    </a:solidFill>
                  </a:tcPr>
                </a:tc>
                <a:extLst>
                  <a:ext uri="{0D108BD9-81ED-4DB2-BD59-A6C34878D82A}">
                    <a16:rowId xmlns:a16="http://schemas.microsoft.com/office/drawing/2014/main" xmlns="" val="10001"/>
                  </a:ext>
                </a:extLst>
              </a:tr>
              <a:tr h="1257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smtClean="0"/>
                        <a:t>Conventional</a:t>
                      </a:r>
                      <a:endParaRPr lang="en-GB" sz="800" dirty="0"/>
                    </a:p>
                  </a:txBody>
                  <a:tcPr marL="0" marR="0" marT="0" marB="0">
                    <a:solidFill>
                      <a:schemeClr val="bg1"/>
                    </a:solidFill>
                  </a:tcPr>
                </a:tc>
                <a:tc>
                  <a:txBody>
                    <a:bodyPr/>
                    <a:lstStyle/>
                    <a:p>
                      <a:r>
                        <a:rPr lang="en-GB" sz="800" dirty="0" smtClean="0"/>
                        <a:t>80</a:t>
                      </a:r>
                      <a:endParaRPr lang="en-GB" sz="800" dirty="0"/>
                    </a:p>
                  </a:txBody>
                  <a:tcPr marL="0" marR="0" marT="0" marB="0">
                    <a:solidFill>
                      <a:schemeClr val="bg1"/>
                    </a:solidFill>
                  </a:tcPr>
                </a:tc>
                <a:tc>
                  <a:txBody>
                    <a:bodyPr/>
                    <a:lstStyle/>
                    <a:p>
                      <a:r>
                        <a:rPr lang="en-GB" sz="800" dirty="0" smtClean="0"/>
                        <a:t>78</a:t>
                      </a:r>
                      <a:endParaRPr lang="en-GB" sz="800" dirty="0"/>
                    </a:p>
                  </a:txBody>
                  <a:tcPr marL="0" marR="0" marT="0" marB="0">
                    <a:solidFill>
                      <a:schemeClr val="bg1"/>
                    </a:solidFill>
                  </a:tcPr>
                </a:tc>
                <a:tc>
                  <a:txBody>
                    <a:bodyPr/>
                    <a:lstStyle/>
                    <a:p>
                      <a:r>
                        <a:rPr lang="en-GB" sz="800" dirty="0" smtClean="0"/>
                        <a:t>65</a:t>
                      </a:r>
                      <a:endParaRPr lang="en-GB" sz="800" dirty="0"/>
                    </a:p>
                  </a:txBody>
                  <a:tcPr marL="0" marR="0" marT="0" marB="0">
                    <a:solidFill>
                      <a:schemeClr val="bg1"/>
                    </a:solidFill>
                  </a:tcPr>
                </a:tc>
                <a:tc>
                  <a:txBody>
                    <a:bodyPr/>
                    <a:lstStyle/>
                    <a:p>
                      <a:r>
                        <a:rPr lang="en-GB" sz="800" dirty="0" smtClean="0"/>
                        <a:t>45</a:t>
                      </a:r>
                      <a:endParaRPr lang="en-GB" sz="800" dirty="0"/>
                    </a:p>
                  </a:txBody>
                  <a:tcPr marL="0" marR="0" marT="0" marB="0">
                    <a:solidFill>
                      <a:schemeClr val="bg1"/>
                    </a:solidFill>
                  </a:tcPr>
                </a:tc>
                <a:tc>
                  <a:txBody>
                    <a:bodyPr/>
                    <a:lstStyle/>
                    <a:p>
                      <a:r>
                        <a:rPr lang="en-GB" sz="800" dirty="0" smtClean="0"/>
                        <a:t>34</a:t>
                      </a:r>
                      <a:endParaRPr lang="en-GB" sz="800" dirty="0"/>
                    </a:p>
                  </a:txBody>
                  <a:tcPr marL="0" marR="0" marT="0" marB="0">
                    <a:solidFill>
                      <a:schemeClr val="bg1"/>
                    </a:solidFill>
                  </a:tcPr>
                </a:tc>
                <a:tc>
                  <a:txBody>
                    <a:bodyPr/>
                    <a:lstStyle/>
                    <a:p>
                      <a:r>
                        <a:rPr lang="en-GB" sz="800" dirty="0" smtClean="0"/>
                        <a:t>24</a:t>
                      </a:r>
                      <a:endParaRPr lang="en-GB" sz="800" dirty="0"/>
                    </a:p>
                  </a:txBody>
                  <a:tcPr marL="0" marR="0" marT="0" marB="0">
                    <a:solidFill>
                      <a:schemeClr val="bg1"/>
                    </a:solidFill>
                  </a:tcPr>
                </a:tc>
                <a:extLst>
                  <a:ext uri="{0D108BD9-81ED-4DB2-BD59-A6C34878D82A}">
                    <a16:rowId xmlns:a16="http://schemas.microsoft.com/office/drawing/2014/main" xmlns="" val="10002"/>
                  </a:ext>
                </a:extLst>
              </a:tr>
            </a:tbl>
          </a:graphicData>
        </a:graphic>
      </p:graphicFrame>
      <p:graphicFrame>
        <p:nvGraphicFramePr>
          <p:cNvPr id="53" name="Table 52"/>
          <p:cNvGraphicFramePr>
            <a:graphicFrameLocks noGrp="1"/>
          </p:cNvGraphicFramePr>
          <p:nvPr>
            <p:extLst/>
          </p:nvPr>
        </p:nvGraphicFramePr>
        <p:xfrm>
          <a:off x="6093137" y="1864276"/>
          <a:ext cx="2507294" cy="194310"/>
        </p:xfrm>
        <a:graphic>
          <a:graphicData uri="http://schemas.openxmlformats.org/drawingml/2006/table">
            <a:tbl>
              <a:tblPr firstRow="1" bandRow="1">
                <a:tableStyleId>{2D5ABB26-0587-4C30-8999-92F81FD0307C}</a:tableStyleId>
              </a:tblPr>
              <a:tblGrid>
                <a:gridCol w="1253647">
                  <a:extLst>
                    <a:ext uri="{9D8B030D-6E8A-4147-A177-3AD203B41FA5}">
                      <a16:colId xmlns:a16="http://schemas.microsoft.com/office/drawing/2014/main" xmlns="" val="20000"/>
                    </a:ext>
                  </a:extLst>
                </a:gridCol>
                <a:gridCol w="1253647">
                  <a:extLst>
                    <a:ext uri="{9D8B030D-6E8A-4147-A177-3AD203B41FA5}">
                      <a16:colId xmlns:a16="http://schemas.microsoft.com/office/drawing/2014/main" xmlns="" val="20001"/>
                    </a:ext>
                  </a:extLst>
                </a:gridCol>
              </a:tblGrid>
              <a:tr h="194310">
                <a:tc>
                  <a:txBody>
                    <a:bodyPr/>
                    <a:lstStyle/>
                    <a:p>
                      <a:pPr marL="0" marR="0" lvl="0" indent="0" algn="ctr" defTabSz="981075" rtl="0" eaLnBrk="1" fontAlgn="base" latinLnBrk="0" hangingPunct="1">
                        <a:lnSpc>
                          <a:spcPct val="100000"/>
                        </a:lnSpc>
                        <a:spcBef>
                          <a:spcPts val="0"/>
                        </a:spcBef>
                        <a:spcAft>
                          <a:spcPts val="0"/>
                        </a:spcAft>
                        <a:buClr>
                          <a:srgbClr val="00B7FF"/>
                        </a:buClr>
                        <a:buSzPct val="120000"/>
                        <a:buFontTx/>
                        <a:buNone/>
                        <a:tabLst/>
                        <a:defRPr/>
                      </a:pPr>
                      <a:r>
                        <a:rPr kumimoji="0" lang="en-GB" sz="800" b="1" u="none" strike="noStrike" cap="none" normalizeH="0" baseline="0" dirty="0" smtClean="0">
                          <a:ln>
                            <a:noFill/>
                          </a:ln>
                          <a:effectLst/>
                        </a:rPr>
                        <a:t>Conventional</a:t>
                      </a:r>
                      <a:endParaRPr kumimoji="0" lang="en-GB" sz="800" b="1" i="0" u="none" strike="noStrike" cap="none" normalizeH="0" baseline="0" dirty="0" smtClean="0">
                        <a:ln>
                          <a:noFill/>
                        </a:ln>
                        <a:solidFill>
                          <a:srgbClr val="002060"/>
                        </a:solidFill>
                        <a:effectLst/>
                        <a:latin typeface="+mn-lt"/>
                        <a:cs typeface="Arial" pitchFamily="34" charset="0"/>
                      </a:endParaRPr>
                    </a:p>
                  </a:txBody>
                  <a:tcPr marL="46211" marR="46211" marT="34290" marB="34290" anchor="b" horzOverflow="overflow"/>
                </a:tc>
                <a:tc>
                  <a:txBody>
                    <a:bodyPr/>
                    <a:lstStyle/>
                    <a:p>
                      <a:pPr marL="0" marR="0" lvl="0" indent="0" algn="ctr" defTabSz="981075" rtl="0" eaLnBrk="1" fontAlgn="base" latinLnBrk="0" hangingPunct="1">
                        <a:lnSpc>
                          <a:spcPct val="100000"/>
                        </a:lnSpc>
                        <a:spcBef>
                          <a:spcPts val="0"/>
                        </a:spcBef>
                        <a:spcAft>
                          <a:spcPts val="0"/>
                        </a:spcAft>
                        <a:buClr>
                          <a:srgbClr val="00B7FF"/>
                        </a:buClr>
                        <a:buSzPct val="120000"/>
                        <a:buFontTx/>
                        <a:buNone/>
                        <a:tabLst/>
                        <a:defRPr/>
                      </a:pPr>
                      <a:r>
                        <a:rPr kumimoji="0" lang="en-GB" sz="800" b="1" u="none" strike="noStrike" cap="none" normalizeH="0" baseline="0" dirty="0" smtClean="0">
                          <a:ln>
                            <a:noFill/>
                          </a:ln>
                          <a:effectLst/>
                        </a:rPr>
                        <a:t>Intensive</a:t>
                      </a:r>
                      <a:endParaRPr kumimoji="0" lang="en-GB" sz="800" b="1" i="0" u="none" strike="noStrike" cap="none" normalizeH="0" baseline="0" dirty="0" smtClean="0">
                        <a:ln>
                          <a:noFill/>
                        </a:ln>
                        <a:solidFill>
                          <a:srgbClr val="002060"/>
                        </a:solidFill>
                        <a:effectLst/>
                        <a:latin typeface="+mn-lt"/>
                        <a:cs typeface="Arial" pitchFamily="34" charset="0"/>
                      </a:endParaRPr>
                    </a:p>
                  </a:txBody>
                  <a:tcPr marL="46211" marR="46211" marT="34290" marB="34290" anchor="b" horzOverflow="overflow"/>
                </a:tc>
                <a:extLst>
                  <a:ext uri="{0D108BD9-81ED-4DB2-BD59-A6C34878D82A}">
                    <a16:rowId xmlns:a16="http://schemas.microsoft.com/office/drawing/2014/main" xmlns="" val="10000"/>
                  </a:ext>
                </a:extLst>
              </a:tr>
            </a:tbl>
          </a:graphicData>
        </a:graphic>
      </p:graphicFrame>
      <p:sp>
        <p:nvSpPr>
          <p:cNvPr id="54" name="Rectangle 53"/>
          <p:cNvSpPr/>
          <p:nvPr/>
        </p:nvSpPr>
        <p:spPr>
          <a:xfrm>
            <a:off x="6107227" y="1922769"/>
            <a:ext cx="87858" cy="65894"/>
          </a:xfrm>
          <a:prstGeom prst="rect">
            <a:avLst/>
          </a:prstGeom>
          <a:solidFill>
            <a:srgbClr val="009FDA"/>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eaLnBrk="1" hangingPunct="1"/>
            <a:endParaRPr lang="en-GB" sz="1100">
              <a:solidFill>
                <a:srgbClr val="FFFFFF"/>
              </a:solidFill>
            </a:endParaRPr>
          </a:p>
        </p:txBody>
      </p:sp>
      <p:sp>
        <p:nvSpPr>
          <p:cNvPr id="55" name="Rectangle 54"/>
          <p:cNvSpPr/>
          <p:nvPr/>
        </p:nvSpPr>
        <p:spPr>
          <a:xfrm>
            <a:off x="7509050" y="1922769"/>
            <a:ext cx="87858" cy="65894"/>
          </a:xfrm>
          <a:prstGeom prst="rect">
            <a:avLst/>
          </a:prstGeom>
          <a:solidFill>
            <a:srgbClr val="001965"/>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eaLnBrk="1" hangingPunct="1"/>
            <a:endParaRPr lang="en-GB" sz="1100">
              <a:solidFill>
                <a:srgbClr val="FFFFFF"/>
              </a:solidFill>
            </a:endParaRPr>
          </a:p>
        </p:txBody>
      </p:sp>
      <p:sp>
        <p:nvSpPr>
          <p:cNvPr id="56" name="TextBox 55"/>
          <p:cNvSpPr txBox="1"/>
          <p:nvPr/>
        </p:nvSpPr>
        <p:spPr>
          <a:xfrm>
            <a:off x="4397362" y="3272273"/>
            <a:ext cx="255198"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0</a:t>
            </a:r>
          </a:p>
        </p:txBody>
      </p:sp>
      <p:sp>
        <p:nvSpPr>
          <p:cNvPr id="57" name="TextBox 56"/>
          <p:cNvSpPr txBox="1"/>
          <p:nvPr/>
        </p:nvSpPr>
        <p:spPr>
          <a:xfrm>
            <a:off x="4759037" y="3597917"/>
            <a:ext cx="2913557" cy="246221"/>
          </a:xfrm>
          <a:prstGeom prst="rect">
            <a:avLst/>
          </a:prstGeom>
          <a:solidFill>
            <a:schemeClr val="bg1"/>
          </a:solidFill>
        </p:spPr>
        <p:txBody>
          <a:bodyPr wrap="square" rtlCol="0">
            <a:spAutoFit/>
          </a:bodyPr>
          <a:lstStyle/>
          <a:p>
            <a:pPr algn="ctr" defTabSz="914400" eaLnBrk="1" hangingPunct="1"/>
            <a:r>
              <a:rPr lang="en-GB" sz="1000" b="1" dirty="0">
                <a:solidFill>
                  <a:srgbClr val="001965"/>
                </a:solidFill>
                <a:latin typeface="Arial" pitchFamily="34" charset="0"/>
              </a:rPr>
              <a:t>Years since randomisation</a:t>
            </a:r>
          </a:p>
        </p:txBody>
      </p:sp>
      <p:cxnSp>
        <p:nvCxnSpPr>
          <p:cNvPr id="59" name="Straight Connector 58"/>
          <p:cNvCxnSpPr/>
          <p:nvPr/>
        </p:nvCxnSpPr>
        <p:spPr>
          <a:xfrm>
            <a:off x="4636475" y="2511037"/>
            <a:ext cx="3364529" cy="0"/>
          </a:xfrm>
          <a:prstGeom prst="line">
            <a:avLst/>
          </a:prstGeom>
          <a:ln w="6350">
            <a:solidFill>
              <a:srgbClr val="E64A0E"/>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718649" y="1688215"/>
            <a:ext cx="0" cy="1731974"/>
          </a:xfrm>
          <a:prstGeom prst="line">
            <a:avLst/>
          </a:prstGeom>
          <a:ln w="6350">
            <a:solidFill>
              <a:srgbClr val="007C92"/>
            </a:solidFill>
            <a:prstDash val="sysDash"/>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4241986" y="1564751"/>
            <a:ext cx="396262"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100</a:t>
            </a:r>
          </a:p>
        </p:txBody>
      </p:sp>
      <p:sp>
        <p:nvSpPr>
          <p:cNvPr id="101" name="TextBox 100"/>
          <p:cNvSpPr txBox="1"/>
          <p:nvPr/>
        </p:nvSpPr>
        <p:spPr>
          <a:xfrm>
            <a:off x="4315723" y="1989687"/>
            <a:ext cx="325730"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75</a:t>
            </a:r>
          </a:p>
        </p:txBody>
      </p:sp>
      <p:sp>
        <p:nvSpPr>
          <p:cNvPr id="102" name="TextBox 101"/>
          <p:cNvSpPr txBox="1"/>
          <p:nvPr/>
        </p:nvSpPr>
        <p:spPr>
          <a:xfrm>
            <a:off x="4315723" y="2413924"/>
            <a:ext cx="325730"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50</a:t>
            </a:r>
          </a:p>
        </p:txBody>
      </p:sp>
      <p:sp>
        <p:nvSpPr>
          <p:cNvPr id="103" name="TextBox 102"/>
          <p:cNvSpPr txBox="1"/>
          <p:nvPr/>
        </p:nvSpPr>
        <p:spPr>
          <a:xfrm>
            <a:off x="4315723" y="2835602"/>
            <a:ext cx="325730"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25</a:t>
            </a:r>
          </a:p>
        </p:txBody>
      </p:sp>
      <p:sp>
        <p:nvSpPr>
          <p:cNvPr id="104" name="TextBox 103"/>
          <p:cNvSpPr txBox="1"/>
          <p:nvPr/>
        </p:nvSpPr>
        <p:spPr>
          <a:xfrm>
            <a:off x="4603095" y="3454376"/>
            <a:ext cx="255198"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0</a:t>
            </a:r>
          </a:p>
        </p:txBody>
      </p:sp>
      <p:sp>
        <p:nvSpPr>
          <p:cNvPr id="105" name="TextBox 104"/>
          <p:cNvSpPr txBox="1"/>
          <p:nvPr/>
        </p:nvSpPr>
        <p:spPr>
          <a:xfrm>
            <a:off x="5117276" y="3454376"/>
            <a:ext cx="255198"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4</a:t>
            </a:r>
          </a:p>
        </p:txBody>
      </p:sp>
      <p:sp>
        <p:nvSpPr>
          <p:cNvPr id="106" name="TextBox 105"/>
          <p:cNvSpPr txBox="1"/>
          <p:nvPr/>
        </p:nvSpPr>
        <p:spPr>
          <a:xfrm>
            <a:off x="5621934" y="3454376"/>
            <a:ext cx="255198"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8</a:t>
            </a:r>
          </a:p>
        </p:txBody>
      </p:sp>
      <p:sp>
        <p:nvSpPr>
          <p:cNvPr id="107" name="TextBox 106"/>
          <p:cNvSpPr txBox="1"/>
          <p:nvPr/>
        </p:nvSpPr>
        <p:spPr>
          <a:xfrm>
            <a:off x="6093249" y="3454376"/>
            <a:ext cx="325730"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12</a:t>
            </a:r>
          </a:p>
        </p:txBody>
      </p:sp>
      <p:sp>
        <p:nvSpPr>
          <p:cNvPr id="108" name="TextBox 107"/>
          <p:cNvSpPr txBox="1"/>
          <p:nvPr/>
        </p:nvSpPr>
        <p:spPr>
          <a:xfrm>
            <a:off x="6595441" y="3454376"/>
            <a:ext cx="325730"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16</a:t>
            </a:r>
          </a:p>
        </p:txBody>
      </p:sp>
      <p:sp>
        <p:nvSpPr>
          <p:cNvPr id="109" name="TextBox 108"/>
          <p:cNvSpPr txBox="1"/>
          <p:nvPr/>
        </p:nvSpPr>
        <p:spPr>
          <a:xfrm>
            <a:off x="7107156" y="3454376"/>
            <a:ext cx="325730" cy="246221"/>
          </a:xfrm>
          <a:prstGeom prst="rect">
            <a:avLst/>
          </a:prstGeom>
          <a:solidFill>
            <a:schemeClr val="bg1"/>
          </a:solidFill>
        </p:spPr>
        <p:txBody>
          <a:bodyPr wrap="none" rtlCol="0">
            <a:spAutoFit/>
          </a:bodyPr>
          <a:lstStyle/>
          <a:p>
            <a:pPr defTabSz="914400" eaLnBrk="1" hangingPunct="1"/>
            <a:r>
              <a:rPr lang="en-GB" sz="1000" dirty="0">
                <a:solidFill>
                  <a:srgbClr val="001965"/>
                </a:solidFill>
                <a:latin typeface="Arial" pitchFamily="34" charset="0"/>
              </a:rPr>
              <a:t>20</a:t>
            </a:r>
          </a:p>
        </p:txBody>
      </p:sp>
      <p:sp>
        <p:nvSpPr>
          <p:cNvPr id="110" name="TextBox 109"/>
          <p:cNvSpPr txBox="1"/>
          <p:nvPr/>
        </p:nvSpPr>
        <p:spPr>
          <a:xfrm rot="16200000">
            <a:off x="3213972" y="2393428"/>
            <a:ext cx="1832945" cy="246221"/>
          </a:xfrm>
          <a:prstGeom prst="rect">
            <a:avLst/>
          </a:prstGeom>
          <a:solidFill>
            <a:schemeClr val="bg1"/>
          </a:solidFill>
        </p:spPr>
        <p:txBody>
          <a:bodyPr wrap="square" rtlCol="0">
            <a:spAutoFit/>
          </a:bodyPr>
          <a:lstStyle/>
          <a:p>
            <a:pPr algn="ctr" defTabSz="914400" eaLnBrk="1" hangingPunct="1"/>
            <a:r>
              <a:rPr lang="en-GB" sz="1000" b="1" dirty="0">
                <a:solidFill>
                  <a:srgbClr val="001965"/>
                </a:solidFill>
                <a:latin typeface="Arial" pitchFamily="34" charset="0"/>
              </a:rPr>
              <a:t>Cumulative mortality (%)</a:t>
            </a:r>
          </a:p>
        </p:txBody>
      </p:sp>
      <p:cxnSp>
        <p:nvCxnSpPr>
          <p:cNvPr id="111" name="Straight Connector 110"/>
          <p:cNvCxnSpPr/>
          <p:nvPr/>
        </p:nvCxnSpPr>
        <p:spPr>
          <a:xfrm>
            <a:off x="4605311" y="1662558"/>
            <a:ext cx="6145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664613" y="1601885"/>
            <a:ext cx="0" cy="182019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4605311" y="2086798"/>
            <a:ext cx="6145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4605311" y="2511037"/>
            <a:ext cx="6145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4605311" y="2935277"/>
            <a:ext cx="6145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4605311" y="3359515"/>
            <a:ext cx="6145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4664613" y="3422084"/>
            <a:ext cx="291272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6200000">
            <a:off x="4706825" y="3444654"/>
            <a:ext cx="4893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rot="16200000">
            <a:off x="7249999" y="3446550"/>
            <a:ext cx="4893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rot="16200000">
            <a:off x="5215460" y="3444654"/>
            <a:ext cx="4893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rot="16200000">
            <a:off x="5724095" y="3444654"/>
            <a:ext cx="4893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rot="16200000">
            <a:off x="6232730" y="3444654"/>
            <a:ext cx="4893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rot="16200000">
            <a:off x="6741365" y="3444653"/>
            <a:ext cx="4893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4" name="Group 4"/>
          <p:cNvGrpSpPr>
            <a:grpSpLocks noChangeAspect="1"/>
          </p:cNvGrpSpPr>
          <p:nvPr/>
        </p:nvGrpSpPr>
        <p:grpSpPr bwMode="auto">
          <a:xfrm>
            <a:off x="4739879" y="2191138"/>
            <a:ext cx="2777728" cy="1181234"/>
            <a:chOff x="4773" y="1814"/>
            <a:chExt cx="2333" cy="1246"/>
          </a:xfrm>
        </p:grpSpPr>
        <p:sp>
          <p:nvSpPr>
            <p:cNvPr id="125" name="Freeform 5"/>
            <p:cNvSpPr>
              <a:spLocks/>
            </p:cNvSpPr>
            <p:nvPr/>
          </p:nvSpPr>
          <p:spPr bwMode="auto">
            <a:xfrm>
              <a:off x="4791" y="1814"/>
              <a:ext cx="2287" cy="1246"/>
            </a:xfrm>
            <a:custGeom>
              <a:avLst/>
              <a:gdLst>
                <a:gd name="T0" fmla="*/ 1903 w 2287"/>
                <a:gd name="T1" fmla="*/ 0 h 1246"/>
                <a:gd name="T2" fmla="*/ 1870 w 2287"/>
                <a:gd name="T3" fmla="*/ 28 h 1246"/>
                <a:gd name="T4" fmla="*/ 1838 w 2287"/>
                <a:gd name="T5" fmla="*/ 46 h 1246"/>
                <a:gd name="T6" fmla="*/ 1806 w 2287"/>
                <a:gd name="T7" fmla="*/ 76 h 1246"/>
                <a:gd name="T8" fmla="*/ 1782 w 2287"/>
                <a:gd name="T9" fmla="*/ 100 h 1246"/>
                <a:gd name="T10" fmla="*/ 1772 w 2287"/>
                <a:gd name="T11" fmla="*/ 122 h 1246"/>
                <a:gd name="T12" fmla="*/ 1748 w 2287"/>
                <a:gd name="T13" fmla="*/ 147 h 1246"/>
                <a:gd name="T14" fmla="*/ 1716 w 2287"/>
                <a:gd name="T15" fmla="*/ 167 h 1246"/>
                <a:gd name="T16" fmla="*/ 1696 w 2287"/>
                <a:gd name="T17" fmla="*/ 183 h 1246"/>
                <a:gd name="T18" fmla="*/ 1686 w 2287"/>
                <a:gd name="T19" fmla="*/ 219 h 1246"/>
                <a:gd name="T20" fmla="*/ 1674 w 2287"/>
                <a:gd name="T21" fmla="*/ 239 h 1246"/>
                <a:gd name="T22" fmla="*/ 1660 w 2287"/>
                <a:gd name="T23" fmla="*/ 255 h 1246"/>
                <a:gd name="T24" fmla="*/ 1644 w 2287"/>
                <a:gd name="T25" fmla="*/ 281 h 1246"/>
                <a:gd name="T26" fmla="*/ 1634 w 2287"/>
                <a:gd name="T27" fmla="*/ 301 h 1246"/>
                <a:gd name="T28" fmla="*/ 1496 w 2287"/>
                <a:gd name="T29" fmla="*/ 331 h 1246"/>
                <a:gd name="T30" fmla="*/ 1436 w 2287"/>
                <a:gd name="T31" fmla="*/ 351 h 1246"/>
                <a:gd name="T32" fmla="*/ 1376 w 2287"/>
                <a:gd name="T33" fmla="*/ 373 h 1246"/>
                <a:gd name="T34" fmla="*/ 1324 w 2287"/>
                <a:gd name="T35" fmla="*/ 395 h 1246"/>
                <a:gd name="T36" fmla="*/ 1314 w 2287"/>
                <a:gd name="T37" fmla="*/ 411 h 1246"/>
                <a:gd name="T38" fmla="*/ 1292 w 2287"/>
                <a:gd name="T39" fmla="*/ 437 h 1246"/>
                <a:gd name="T40" fmla="*/ 1254 w 2287"/>
                <a:gd name="T41" fmla="*/ 460 h 1246"/>
                <a:gd name="T42" fmla="*/ 1216 w 2287"/>
                <a:gd name="T43" fmla="*/ 482 h 1246"/>
                <a:gd name="T44" fmla="*/ 1210 w 2287"/>
                <a:gd name="T45" fmla="*/ 512 h 1246"/>
                <a:gd name="T46" fmla="*/ 1198 w 2287"/>
                <a:gd name="T47" fmla="*/ 528 h 1246"/>
                <a:gd name="T48" fmla="*/ 1124 w 2287"/>
                <a:gd name="T49" fmla="*/ 554 h 1246"/>
                <a:gd name="T50" fmla="*/ 1073 w 2287"/>
                <a:gd name="T51" fmla="*/ 578 h 1246"/>
                <a:gd name="T52" fmla="*/ 1061 w 2287"/>
                <a:gd name="T53" fmla="*/ 608 h 1246"/>
                <a:gd name="T54" fmla="*/ 1013 w 2287"/>
                <a:gd name="T55" fmla="*/ 640 h 1246"/>
                <a:gd name="T56" fmla="*/ 1007 w 2287"/>
                <a:gd name="T57" fmla="*/ 656 h 1246"/>
                <a:gd name="T58" fmla="*/ 989 w 2287"/>
                <a:gd name="T59" fmla="*/ 682 h 1246"/>
                <a:gd name="T60" fmla="*/ 971 w 2287"/>
                <a:gd name="T61" fmla="*/ 704 h 1246"/>
                <a:gd name="T62" fmla="*/ 965 w 2287"/>
                <a:gd name="T63" fmla="*/ 742 h 1246"/>
                <a:gd name="T64" fmla="*/ 955 w 2287"/>
                <a:gd name="T65" fmla="*/ 777 h 1246"/>
                <a:gd name="T66" fmla="*/ 941 w 2287"/>
                <a:gd name="T67" fmla="*/ 799 h 1246"/>
                <a:gd name="T68" fmla="*/ 919 w 2287"/>
                <a:gd name="T69" fmla="*/ 819 h 1246"/>
                <a:gd name="T70" fmla="*/ 905 w 2287"/>
                <a:gd name="T71" fmla="*/ 843 h 1246"/>
                <a:gd name="T72" fmla="*/ 871 w 2287"/>
                <a:gd name="T73" fmla="*/ 863 h 1246"/>
                <a:gd name="T74" fmla="*/ 843 w 2287"/>
                <a:gd name="T75" fmla="*/ 883 h 1246"/>
                <a:gd name="T76" fmla="*/ 783 w 2287"/>
                <a:gd name="T77" fmla="*/ 905 h 1246"/>
                <a:gd name="T78" fmla="*/ 751 w 2287"/>
                <a:gd name="T79" fmla="*/ 931 h 1246"/>
                <a:gd name="T80" fmla="*/ 723 w 2287"/>
                <a:gd name="T81" fmla="*/ 957 h 1246"/>
                <a:gd name="T82" fmla="*/ 709 w 2287"/>
                <a:gd name="T83" fmla="*/ 975 h 1246"/>
                <a:gd name="T84" fmla="*/ 655 w 2287"/>
                <a:gd name="T85" fmla="*/ 999 h 1246"/>
                <a:gd name="T86" fmla="*/ 617 w 2287"/>
                <a:gd name="T87" fmla="*/ 1023 h 1246"/>
                <a:gd name="T88" fmla="*/ 563 w 2287"/>
                <a:gd name="T89" fmla="*/ 1043 h 1246"/>
                <a:gd name="T90" fmla="*/ 519 w 2287"/>
                <a:gd name="T91" fmla="*/ 1063 h 1246"/>
                <a:gd name="T92" fmla="*/ 501 w 2287"/>
                <a:gd name="T93" fmla="*/ 1086 h 1246"/>
                <a:gd name="T94" fmla="*/ 491 w 2287"/>
                <a:gd name="T95" fmla="*/ 1112 h 1246"/>
                <a:gd name="T96" fmla="*/ 477 w 2287"/>
                <a:gd name="T97" fmla="*/ 1132 h 1246"/>
                <a:gd name="T98" fmla="*/ 459 w 2287"/>
                <a:gd name="T99" fmla="*/ 1152 h 1246"/>
                <a:gd name="T100" fmla="*/ 445 w 2287"/>
                <a:gd name="T101" fmla="*/ 1184 h 1246"/>
                <a:gd name="T102" fmla="*/ 296 w 2287"/>
                <a:gd name="T103" fmla="*/ 1202 h 1246"/>
                <a:gd name="T104" fmla="*/ 260 w 2287"/>
                <a:gd name="T105" fmla="*/ 1224 h 1246"/>
                <a:gd name="T106" fmla="*/ 0 w 2287"/>
                <a:gd name="T107" fmla="*/ 1246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87" h="1246">
                  <a:moveTo>
                    <a:pt x="2287" y="0"/>
                  </a:moveTo>
                  <a:lnTo>
                    <a:pt x="1903" y="0"/>
                  </a:lnTo>
                  <a:lnTo>
                    <a:pt x="1903" y="28"/>
                  </a:lnTo>
                  <a:lnTo>
                    <a:pt x="1870" y="28"/>
                  </a:lnTo>
                  <a:lnTo>
                    <a:pt x="1870" y="46"/>
                  </a:lnTo>
                  <a:lnTo>
                    <a:pt x="1838" y="46"/>
                  </a:lnTo>
                  <a:lnTo>
                    <a:pt x="1838" y="76"/>
                  </a:lnTo>
                  <a:lnTo>
                    <a:pt x="1806" y="76"/>
                  </a:lnTo>
                  <a:lnTo>
                    <a:pt x="1806" y="100"/>
                  </a:lnTo>
                  <a:lnTo>
                    <a:pt x="1782" y="100"/>
                  </a:lnTo>
                  <a:lnTo>
                    <a:pt x="1782" y="122"/>
                  </a:lnTo>
                  <a:lnTo>
                    <a:pt x="1772" y="122"/>
                  </a:lnTo>
                  <a:lnTo>
                    <a:pt x="1772" y="147"/>
                  </a:lnTo>
                  <a:lnTo>
                    <a:pt x="1748" y="147"/>
                  </a:lnTo>
                  <a:lnTo>
                    <a:pt x="1748" y="167"/>
                  </a:lnTo>
                  <a:lnTo>
                    <a:pt x="1716" y="167"/>
                  </a:lnTo>
                  <a:lnTo>
                    <a:pt x="1716" y="183"/>
                  </a:lnTo>
                  <a:lnTo>
                    <a:pt x="1696" y="183"/>
                  </a:lnTo>
                  <a:lnTo>
                    <a:pt x="1696" y="219"/>
                  </a:lnTo>
                  <a:lnTo>
                    <a:pt x="1686" y="219"/>
                  </a:lnTo>
                  <a:lnTo>
                    <a:pt x="1686" y="239"/>
                  </a:lnTo>
                  <a:lnTo>
                    <a:pt x="1674" y="239"/>
                  </a:lnTo>
                  <a:lnTo>
                    <a:pt x="1674" y="255"/>
                  </a:lnTo>
                  <a:lnTo>
                    <a:pt x="1660" y="255"/>
                  </a:lnTo>
                  <a:lnTo>
                    <a:pt x="1660" y="281"/>
                  </a:lnTo>
                  <a:lnTo>
                    <a:pt x="1644" y="281"/>
                  </a:lnTo>
                  <a:lnTo>
                    <a:pt x="1644" y="301"/>
                  </a:lnTo>
                  <a:lnTo>
                    <a:pt x="1634" y="301"/>
                  </a:lnTo>
                  <a:lnTo>
                    <a:pt x="1634" y="331"/>
                  </a:lnTo>
                  <a:lnTo>
                    <a:pt x="1496" y="331"/>
                  </a:lnTo>
                  <a:lnTo>
                    <a:pt x="1496" y="351"/>
                  </a:lnTo>
                  <a:lnTo>
                    <a:pt x="1436" y="351"/>
                  </a:lnTo>
                  <a:lnTo>
                    <a:pt x="1436" y="373"/>
                  </a:lnTo>
                  <a:lnTo>
                    <a:pt x="1376" y="373"/>
                  </a:lnTo>
                  <a:lnTo>
                    <a:pt x="1376" y="395"/>
                  </a:lnTo>
                  <a:lnTo>
                    <a:pt x="1324" y="395"/>
                  </a:lnTo>
                  <a:lnTo>
                    <a:pt x="1324" y="411"/>
                  </a:lnTo>
                  <a:lnTo>
                    <a:pt x="1314" y="411"/>
                  </a:lnTo>
                  <a:lnTo>
                    <a:pt x="1314" y="437"/>
                  </a:lnTo>
                  <a:lnTo>
                    <a:pt x="1292" y="437"/>
                  </a:lnTo>
                  <a:lnTo>
                    <a:pt x="1292" y="460"/>
                  </a:lnTo>
                  <a:lnTo>
                    <a:pt x="1254" y="460"/>
                  </a:lnTo>
                  <a:lnTo>
                    <a:pt x="1254" y="482"/>
                  </a:lnTo>
                  <a:lnTo>
                    <a:pt x="1216" y="482"/>
                  </a:lnTo>
                  <a:lnTo>
                    <a:pt x="1216" y="512"/>
                  </a:lnTo>
                  <a:lnTo>
                    <a:pt x="1210" y="512"/>
                  </a:lnTo>
                  <a:lnTo>
                    <a:pt x="1210" y="528"/>
                  </a:lnTo>
                  <a:lnTo>
                    <a:pt x="1198" y="528"/>
                  </a:lnTo>
                  <a:lnTo>
                    <a:pt x="1198" y="554"/>
                  </a:lnTo>
                  <a:lnTo>
                    <a:pt x="1124" y="554"/>
                  </a:lnTo>
                  <a:lnTo>
                    <a:pt x="1124" y="578"/>
                  </a:lnTo>
                  <a:lnTo>
                    <a:pt x="1073" y="578"/>
                  </a:lnTo>
                  <a:lnTo>
                    <a:pt x="1073" y="608"/>
                  </a:lnTo>
                  <a:lnTo>
                    <a:pt x="1061" y="608"/>
                  </a:lnTo>
                  <a:lnTo>
                    <a:pt x="1061" y="640"/>
                  </a:lnTo>
                  <a:lnTo>
                    <a:pt x="1013" y="640"/>
                  </a:lnTo>
                  <a:lnTo>
                    <a:pt x="1013" y="656"/>
                  </a:lnTo>
                  <a:lnTo>
                    <a:pt x="1007" y="656"/>
                  </a:lnTo>
                  <a:lnTo>
                    <a:pt x="1007" y="682"/>
                  </a:lnTo>
                  <a:lnTo>
                    <a:pt x="989" y="682"/>
                  </a:lnTo>
                  <a:lnTo>
                    <a:pt x="989" y="704"/>
                  </a:lnTo>
                  <a:lnTo>
                    <a:pt x="971" y="704"/>
                  </a:lnTo>
                  <a:lnTo>
                    <a:pt x="971" y="742"/>
                  </a:lnTo>
                  <a:lnTo>
                    <a:pt x="965" y="742"/>
                  </a:lnTo>
                  <a:lnTo>
                    <a:pt x="965" y="777"/>
                  </a:lnTo>
                  <a:lnTo>
                    <a:pt x="955" y="777"/>
                  </a:lnTo>
                  <a:lnTo>
                    <a:pt x="955" y="799"/>
                  </a:lnTo>
                  <a:lnTo>
                    <a:pt x="941" y="799"/>
                  </a:lnTo>
                  <a:lnTo>
                    <a:pt x="941" y="819"/>
                  </a:lnTo>
                  <a:lnTo>
                    <a:pt x="919" y="819"/>
                  </a:lnTo>
                  <a:lnTo>
                    <a:pt x="919" y="843"/>
                  </a:lnTo>
                  <a:lnTo>
                    <a:pt x="905" y="843"/>
                  </a:lnTo>
                  <a:lnTo>
                    <a:pt x="905" y="863"/>
                  </a:lnTo>
                  <a:lnTo>
                    <a:pt x="871" y="863"/>
                  </a:lnTo>
                  <a:lnTo>
                    <a:pt x="871" y="883"/>
                  </a:lnTo>
                  <a:lnTo>
                    <a:pt x="843" y="883"/>
                  </a:lnTo>
                  <a:lnTo>
                    <a:pt x="843" y="905"/>
                  </a:lnTo>
                  <a:lnTo>
                    <a:pt x="783" y="905"/>
                  </a:lnTo>
                  <a:lnTo>
                    <a:pt x="783" y="931"/>
                  </a:lnTo>
                  <a:lnTo>
                    <a:pt x="751" y="931"/>
                  </a:lnTo>
                  <a:lnTo>
                    <a:pt x="751" y="957"/>
                  </a:lnTo>
                  <a:lnTo>
                    <a:pt x="723" y="957"/>
                  </a:lnTo>
                  <a:lnTo>
                    <a:pt x="723" y="975"/>
                  </a:lnTo>
                  <a:lnTo>
                    <a:pt x="709" y="975"/>
                  </a:lnTo>
                  <a:lnTo>
                    <a:pt x="709" y="999"/>
                  </a:lnTo>
                  <a:lnTo>
                    <a:pt x="655" y="999"/>
                  </a:lnTo>
                  <a:lnTo>
                    <a:pt x="655" y="1023"/>
                  </a:lnTo>
                  <a:lnTo>
                    <a:pt x="617" y="1023"/>
                  </a:lnTo>
                  <a:lnTo>
                    <a:pt x="617" y="1043"/>
                  </a:lnTo>
                  <a:lnTo>
                    <a:pt x="563" y="1043"/>
                  </a:lnTo>
                  <a:lnTo>
                    <a:pt x="563" y="1063"/>
                  </a:lnTo>
                  <a:lnTo>
                    <a:pt x="519" y="1063"/>
                  </a:lnTo>
                  <a:lnTo>
                    <a:pt x="519" y="1086"/>
                  </a:lnTo>
                  <a:lnTo>
                    <a:pt x="501" y="1086"/>
                  </a:lnTo>
                  <a:lnTo>
                    <a:pt x="501" y="1112"/>
                  </a:lnTo>
                  <a:lnTo>
                    <a:pt x="491" y="1112"/>
                  </a:lnTo>
                  <a:lnTo>
                    <a:pt x="491" y="1132"/>
                  </a:lnTo>
                  <a:lnTo>
                    <a:pt x="477" y="1132"/>
                  </a:lnTo>
                  <a:lnTo>
                    <a:pt x="477" y="1152"/>
                  </a:lnTo>
                  <a:lnTo>
                    <a:pt x="459" y="1152"/>
                  </a:lnTo>
                  <a:lnTo>
                    <a:pt x="459" y="1184"/>
                  </a:lnTo>
                  <a:lnTo>
                    <a:pt x="445" y="1184"/>
                  </a:lnTo>
                  <a:lnTo>
                    <a:pt x="445" y="1202"/>
                  </a:lnTo>
                  <a:lnTo>
                    <a:pt x="296" y="1202"/>
                  </a:lnTo>
                  <a:lnTo>
                    <a:pt x="296" y="1224"/>
                  </a:lnTo>
                  <a:lnTo>
                    <a:pt x="260" y="1224"/>
                  </a:lnTo>
                  <a:lnTo>
                    <a:pt x="260" y="1246"/>
                  </a:lnTo>
                  <a:lnTo>
                    <a:pt x="0" y="1246"/>
                  </a:lnTo>
                </a:path>
              </a:pathLst>
            </a:custGeom>
            <a:noFill/>
            <a:ln w="25400" cap="flat">
              <a:solidFill>
                <a:srgbClr val="009FD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914400" eaLnBrk="1" hangingPunct="1"/>
              <a:endParaRPr lang="en-US">
                <a:solidFill>
                  <a:srgbClr val="001965"/>
                </a:solidFill>
                <a:latin typeface="Arial" pitchFamily="34" charset="0"/>
              </a:endParaRPr>
            </a:p>
          </p:txBody>
        </p:sp>
        <p:sp>
          <p:nvSpPr>
            <p:cNvPr id="126" name="Freeform 6"/>
            <p:cNvSpPr>
              <a:spLocks/>
            </p:cNvSpPr>
            <p:nvPr/>
          </p:nvSpPr>
          <p:spPr bwMode="auto">
            <a:xfrm>
              <a:off x="4773" y="2193"/>
              <a:ext cx="2333" cy="867"/>
            </a:xfrm>
            <a:custGeom>
              <a:avLst/>
              <a:gdLst>
                <a:gd name="T0" fmla="*/ 180 w 2333"/>
                <a:gd name="T1" fmla="*/ 867 h 867"/>
                <a:gd name="T2" fmla="*/ 198 w 2333"/>
                <a:gd name="T3" fmla="*/ 845 h 867"/>
                <a:gd name="T4" fmla="*/ 294 w 2333"/>
                <a:gd name="T5" fmla="*/ 823 h 867"/>
                <a:gd name="T6" fmla="*/ 373 w 2333"/>
                <a:gd name="T7" fmla="*/ 801 h 867"/>
                <a:gd name="T8" fmla="*/ 483 w 2333"/>
                <a:gd name="T9" fmla="*/ 769 h 867"/>
                <a:gd name="T10" fmla="*/ 559 w 2333"/>
                <a:gd name="T11" fmla="*/ 751 h 867"/>
                <a:gd name="T12" fmla="*/ 597 w 2333"/>
                <a:gd name="T13" fmla="*/ 727 h 867"/>
                <a:gd name="T14" fmla="*/ 661 w 2333"/>
                <a:gd name="T15" fmla="*/ 709 h 867"/>
                <a:gd name="T16" fmla="*/ 667 w 2333"/>
                <a:gd name="T17" fmla="*/ 684 h 867"/>
                <a:gd name="T18" fmla="*/ 719 w 2333"/>
                <a:gd name="T19" fmla="*/ 664 h 867"/>
                <a:gd name="T20" fmla="*/ 793 w 2333"/>
                <a:gd name="T21" fmla="*/ 642 h 867"/>
                <a:gd name="T22" fmla="*/ 823 w 2333"/>
                <a:gd name="T23" fmla="*/ 622 h 867"/>
                <a:gd name="T24" fmla="*/ 837 w 2333"/>
                <a:gd name="T25" fmla="*/ 602 h 867"/>
                <a:gd name="T26" fmla="*/ 845 w 2333"/>
                <a:gd name="T27" fmla="*/ 572 h 867"/>
                <a:gd name="T28" fmla="*/ 889 w 2333"/>
                <a:gd name="T29" fmla="*/ 550 h 867"/>
                <a:gd name="T30" fmla="*/ 913 w 2333"/>
                <a:gd name="T31" fmla="*/ 528 h 867"/>
                <a:gd name="T32" fmla="*/ 1001 w 2333"/>
                <a:gd name="T33" fmla="*/ 506 h 867"/>
                <a:gd name="T34" fmla="*/ 1103 w 2333"/>
                <a:gd name="T35" fmla="*/ 486 h 867"/>
                <a:gd name="T36" fmla="*/ 1134 w 2333"/>
                <a:gd name="T37" fmla="*/ 464 h 867"/>
                <a:gd name="T38" fmla="*/ 1204 w 2333"/>
                <a:gd name="T39" fmla="*/ 420 h 867"/>
                <a:gd name="T40" fmla="*/ 1222 w 2333"/>
                <a:gd name="T41" fmla="*/ 398 h 867"/>
                <a:gd name="T42" fmla="*/ 1302 w 2333"/>
                <a:gd name="T43" fmla="*/ 375 h 867"/>
                <a:gd name="T44" fmla="*/ 1390 w 2333"/>
                <a:gd name="T45" fmla="*/ 355 h 867"/>
                <a:gd name="T46" fmla="*/ 1666 w 2333"/>
                <a:gd name="T47" fmla="*/ 323 h 867"/>
                <a:gd name="T48" fmla="*/ 1690 w 2333"/>
                <a:gd name="T49" fmla="*/ 305 h 867"/>
                <a:gd name="T50" fmla="*/ 1726 w 2333"/>
                <a:gd name="T51" fmla="*/ 283 h 867"/>
                <a:gd name="T52" fmla="*/ 1730 w 2333"/>
                <a:gd name="T53" fmla="*/ 263 h 867"/>
                <a:gd name="T54" fmla="*/ 1748 w 2333"/>
                <a:gd name="T55" fmla="*/ 217 h 867"/>
                <a:gd name="T56" fmla="*/ 1774 w 2333"/>
                <a:gd name="T57" fmla="*/ 197 h 867"/>
                <a:gd name="T58" fmla="*/ 1810 w 2333"/>
                <a:gd name="T59" fmla="*/ 175 h 867"/>
                <a:gd name="T60" fmla="*/ 1937 w 2333"/>
                <a:gd name="T61" fmla="*/ 151 h 867"/>
                <a:gd name="T62" fmla="*/ 1959 w 2333"/>
                <a:gd name="T63" fmla="*/ 129 h 867"/>
                <a:gd name="T64" fmla="*/ 1985 w 2333"/>
                <a:gd name="T65" fmla="*/ 105 h 867"/>
                <a:gd name="T66" fmla="*/ 2021 w 2333"/>
                <a:gd name="T67" fmla="*/ 78 h 867"/>
                <a:gd name="T68" fmla="*/ 2039 w 2333"/>
                <a:gd name="T69" fmla="*/ 56 h 867"/>
                <a:gd name="T70" fmla="*/ 2231 w 2333"/>
                <a:gd name="T71" fmla="*/ 40 h 867"/>
                <a:gd name="T72" fmla="*/ 2333 w 2333"/>
                <a:gd name="T73" fmla="*/ 0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33" h="867">
                  <a:moveTo>
                    <a:pt x="0" y="867"/>
                  </a:moveTo>
                  <a:lnTo>
                    <a:pt x="180" y="867"/>
                  </a:lnTo>
                  <a:lnTo>
                    <a:pt x="180" y="845"/>
                  </a:lnTo>
                  <a:lnTo>
                    <a:pt x="198" y="845"/>
                  </a:lnTo>
                  <a:lnTo>
                    <a:pt x="198" y="823"/>
                  </a:lnTo>
                  <a:lnTo>
                    <a:pt x="294" y="823"/>
                  </a:lnTo>
                  <a:lnTo>
                    <a:pt x="294" y="801"/>
                  </a:lnTo>
                  <a:lnTo>
                    <a:pt x="373" y="801"/>
                  </a:lnTo>
                  <a:lnTo>
                    <a:pt x="373" y="769"/>
                  </a:lnTo>
                  <a:lnTo>
                    <a:pt x="483" y="769"/>
                  </a:lnTo>
                  <a:lnTo>
                    <a:pt x="483" y="751"/>
                  </a:lnTo>
                  <a:lnTo>
                    <a:pt x="559" y="751"/>
                  </a:lnTo>
                  <a:lnTo>
                    <a:pt x="559" y="727"/>
                  </a:lnTo>
                  <a:lnTo>
                    <a:pt x="597" y="727"/>
                  </a:lnTo>
                  <a:lnTo>
                    <a:pt x="597" y="709"/>
                  </a:lnTo>
                  <a:lnTo>
                    <a:pt x="661" y="709"/>
                  </a:lnTo>
                  <a:lnTo>
                    <a:pt x="661" y="684"/>
                  </a:lnTo>
                  <a:lnTo>
                    <a:pt x="667" y="684"/>
                  </a:lnTo>
                  <a:lnTo>
                    <a:pt x="667" y="664"/>
                  </a:lnTo>
                  <a:lnTo>
                    <a:pt x="719" y="664"/>
                  </a:lnTo>
                  <a:lnTo>
                    <a:pt x="719" y="642"/>
                  </a:lnTo>
                  <a:lnTo>
                    <a:pt x="793" y="642"/>
                  </a:lnTo>
                  <a:lnTo>
                    <a:pt x="793" y="622"/>
                  </a:lnTo>
                  <a:lnTo>
                    <a:pt x="823" y="622"/>
                  </a:lnTo>
                  <a:lnTo>
                    <a:pt x="823" y="602"/>
                  </a:lnTo>
                  <a:lnTo>
                    <a:pt x="837" y="602"/>
                  </a:lnTo>
                  <a:lnTo>
                    <a:pt x="837" y="572"/>
                  </a:lnTo>
                  <a:lnTo>
                    <a:pt x="845" y="572"/>
                  </a:lnTo>
                  <a:lnTo>
                    <a:pt x="845" y="550"/>
                  </a:lnTo>
                  <a:lnTo>
                    <a:pt x="889" y="550"/>
                  </a:lnTo>
                  <a:lnTo>
                    <a:pt x="889" y="528"/>
                  </a:lnTo>
                  <a:lnTo>
                    <a:pt x="913" y="528"/>
                  </a:lnTo>
                  <a:lnTo>
                    <a:pt x="913" y="506"/>
                  </a:lnTo>
                  <a:lnTo>
                    <a:pt x="1001" y="506"/>
                  </a:lnTo>
                  <a:lnTo>
                    <a:pt x="1001" y="486"/>
                  </a:lnTo>
                  <a:lnTo>
                    <a:pt x="1103" y="486"/>
                  </a:lnTo>
                  <a:lnTo>
                    <a:pt x="1103" y="464"/>
                  </a:lnTo>
                  <a:lnTo>
                    <a:pt x="1134" y="464"/>
                  </a:lnTo>
                  <a:lnTo>
                    <a:pt x="1134" y="420"/>
                  </a:lnTo>
                  <a:lnTo>
                    <a:pt x="1204" y="420"/>
                  </a:lnTo>
                  <a:lnTo>
                    <a:pt x="1204" y="398"/>
                  </a:lnTo>
                  <a:lnTo>
                    <a:pt x="1222" y="398"/>
                  </a:lnTo>
                  <a:lnTo>
                    <a:pt x="1222" y="375"/>
                  </a:lnTo>
                  <a:lnTo>
                    <a:pt x="1302" y="375"/>
                  </a:lnTo>
                  <a:lnTo>
                    <a:pt x="1302" y="355"/>
                  </a:lnTo>
                  <a:lnTo>
                    <a:pt x="1390" y="355"/>
                  </a:lnTo>
                  <a:lnTo>
                    <a:pt x="1390" y="323"/>
                  </a:lnTo>
                  <a:lnTo>
                    <a:pt x="1666" y="323"/>
                  </a:lnTo>
                  <a:lnTo>
                    <a:pt x="1666" y="305"/>
                  </a:lnTo>
                  <a:lnTo>
                    <a:pt x="1690" y="305"/>
                  </a:lnTo>
                  <a:lnTo>
                    <a:pt x="1690" y="283"/>
                  </a:lnTo>
                  <a:lnTo>
                    <a:pt x="1726" y="283"/>
                  </a:lnTo>
                  <a:lnTo>
                    <a:pt x="1726" y="263"/>
                  </a:lnTo>
                  <a:lnTo>
                    <a:pt x="1730" y="263"/>
                  </a:lnTo>
                  <a:lnTo>
                    <a:pt x="1730" y="217"/>
                  </a:lnTo>
                  <a:lnTo>
                    <a:pt x="1748" y="217"/>
                  </a:lnTo>
                  <a:lnTo>
                    <a:pt x="1748" y="197"/>
                  </a:lnTo>
                  <a:lnTo>
                    <a:pt x="1774" y="197"/>
                  </a:lnTo>
                  <a:lnTo>
                    <a:pt x="1774" y="175"/>
                  </a:lnTo>
                  <a:lnTo>
                    <a:pt x="1810" y="175"/>
                  </a:lnTo>
                  <a:lnTo>
                    <a:pt x="1810" y="151"/>
                  </a:lnTo>
                  <a:lnTo>
                    <a:pt x="1937" y="151"/>
                  </a:lnTo>
                  <a:lnTo>
                    <a:pt x="1937" y="129"/>
                  </a:lnTo>
                  <a:lnTo>
                    <a:pt x="1959" y="129"/>
                  </a:lnTo>
                  <a:lnTo>
                    <a:pt x="1959" y="105"/>
                  </a:lnTo>
                  <a:lnTo>
                    <a:pt x="1985" y="105"/>
                  </a:lnTo>
                  <a:lnTo>
                    <a:pt x="1985" y="78"/>
                  </a:lnTo>
                  <a:lnTo>
                    <a:pt x="2021" y="78"/>
                  </a:lnTo>
                  <a:lnTo>
                    <a:pt x="2021" y="56"/>
                  </a:lnTo>
                  <a:lnTo>
                    <a:pt x="2039" y="56"/>
                  </a:lnTo>
                  <a:lnTo>
                    <a:pt x="2039" y="40"/>
                  </a:lnTo>
                  <a:lnTo>
                    <a:pt x="2231" y="40"/>
                  </a:lnTo>
                  <a:lnTo>
                    <a:pt x="2231" y="0"/>
                  </a:lnTo>
                  <a:lnTo>
                    <a:pt x="2333" y="0"/>
                  </a:lnTo>
                </a:path>
              </a:pathLst>
            </a:custGeom>
            <a:noFill/>
            <a:ln w="25400" cap="flat">
              <a:solidFill>
                <a:srgbClr val="00196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914400" eaLnBrk="1" hangingPunct="1"/>
              <a:endParaRPr lang="en-US">
                <a:solidFill>
                  <a:srgbClr val="001965"/>
                </a:solidFill>
                <a:latin typeface="Arial" pitchFamily="34" charset="0"/>
              </a:endParaRPr>
            </a:p>
          </p:txBody>
        </p:sp>
      </p:grpSp>
      <p:sp>
        <p:nvSpPr>
          <p:cNvPr id="127" name="Rectangle 126"/>
          <p:cNvSpPr/>
          <p:nvPr/>
        </p:nvSpPr>
        <p:spPr>
          <a:xfrm>
            <a:off x="5594700" y="1465206"/>
            <a:ext cx="3093441" cy="338554"/>
          </a:xfrm>
          <a:prstGeom prst="rect">
            <a:avLst/>
          </a:prstGeom>
        </p:spPr>
        <p:txBody>
          <a:bodyPr wrap="square">
            <a:spAutoFit/>
          </a:bodyPr>
          <a:lstStyle/>
          <a:p>
            <a:pPr defTabSz="914400" eaLnBrk="1" hangingPunct="1"/>
            <a:r>
              <a:rPr lang="en-GB" sz="800" dirty="0">
                <a:solidFill>
                  <a:srgbClr val="001965"/>
                </a:solidFill>
                <a:latin typeface="Arial" pitchFamily="34" charset="0"/>
              </a:rPr>
              <a:t>End of trial and start of intensification of </a:t>
            </a:r>
            <a:br>
              <a:rPr lang="en-GB" sz="800" dirty="0">
                <a:solidFill>
                  <a:srgbClr val="001965"/>
                </a:solidFill>
                <a:latin typeface="Arial" pitchFamily="34" charset="0"/>
              </a:rPr>
            </a:br>
            <a:r>
              <a:rPr lang="en-GB" sz="800" dirty="0">
                <a:solidFill>
                  <a:srgbClr val="001965"/>
                </a:solidFill>
                <a:latin typeface="Arial" pitchFamily="34" charset="0"/>
              </a:rPr>
              <a:t>conventional therapy group patients’ treatment</a:t>
            </a:r>
          </a:p>
        </p:txBody>
      </p:sp>
      <p:sp>
        <p:nvSpPr>
          <p:cNvPr id="128" name="Rectangle 127"/>
          <p:cNvSpPr/>
          <p:nvPr/>
        </p:nvSpPr>
        <p:spPr>
          <a:xfrm>
            <a:off x="7962994" y="2397115"/>
            <a:ext cx="864206" cy="338554"/>
          </a:xfrm>
          <a:prstGeom prst="rect">
            <a:avLst/>
          </a:prstGeom>
        </p:spPr>
        <p:txBody>
          <a:bodyPr wrap="square">
            <a:spAutoFit/>
          </a:bodyPr>
          <a:lstStyle/>
          <a:p>
            <a:pPr defTabSz="914400" eaLnBrk="1" hangingPunct="1"/>
            <a:r>
              <a:rPr lang="en-GB" sz="800" dirty="0">
                <a:solidFill>
                  <a:srgbClr val="001965"/>
                </a:solidFill>
                <a:latin typeface="Arial" pitchFamily="34" charset="0"/>
              </a:rPr>
              <a:t>Median </a:t>
            </a:r>
            <a:br>
              <a:rPr lang="en-GB" sz="800" dirty="0">
                <a:solidFill>
                  <a:srgbClr val="001965"/>
                </a:solidFill>
                <a:latin typeface="Arial" pitchFamily="34" charset="0"/>
              </a:rPr>
            </a:br>
            <a:r>
              <a:rPr lang="en-GB" sz="800" dirty="0">
                <a:solidFill>
                  <a:srgbClr val="001965"/>
                </a:solidFill>
                <a:latin typeface="Arial" pitchFamily="34" charset="0"/>
              </a:rPr>
              <a:t>survival time</a:t>
            </a:r>
          </a:p>
        </p:txBody>
      </p:sp>
      <p:sp>
        <p:nvSpPr>
          <p:cNvPr id="129" name="Rounded Rectangle 128"/>
          <p:cNvSpPr/>
          <p:nvPr/>
        </p:nvSpPr>
        <p:spPr>
          <a:xfrm>
            <a:off x="7577341" y="2739260"/>
            <a:ext cx="1274221" cy="533013"/>
          </a:xfrm>
          <a:prstGeom prst="roundRect">
            <a:avLst/>
          </a:prstGeom>
          <a:noFill/>
          <a:ln>
            <a:solidFill>
              <a:srgbClr val="009FDA"/>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eaLnBrk="1" hangingPunct="1"/>
            <a:r>
              <a:rPr lang="en-GB" sz="800" dirty="0">
                <a:solidFill>
                  <a:srgbClr val="001965"/>
                </a:solidFill>
              </a:rPr>
              <a:t>Difference in median survival time of at least 7.9 years*</a:t>
            </a:r>
          </a:p>
        </p:txBody>
      </p:sp>
      <p:cxnSp>
        <p:nvCxnSpPr>
          <p:cNvPr id="130" name="Straight Connector 129"/>
          <p:cNvCxnSpPr/>
          <p:nvPr/>
        </p:nvCxnSpPr>
        <p:spPr>
          <a:xfrm rot="2700000">
            <a:off x="6341435" y="2463094"/>
            <a:ext cx="104890" cy="0"/>
          </a:xfrm>
          <a:prstGeom prst="line">
            <a:avLst/>
          </a:prstGeom>
          <a:ln w="19050">
            <a:solidFill>
              <a:srgbClr val="009FDA"/>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5911648" y="2297084"/>
            <a:ext cx="667170" cy="215444"/>
          </a:xfrm>
          <a:prstGeom prst="rect">
            <a:avLst/>
          </a:prstGeom>
          <a:noFill/>
        </p:spPr>
        <p:txBody>
          <a:bodyPr wrap="none" rtlCol="0">
            <a:spAutoFit/>
          </a:bodyPr>
          <a:lstStyle/>
          <a:p>
            <a:pPr defTabSz="914400" eaLnBrk="1" hangingPunct="1"/>
            <a:r>
              <a:rPr lang="en-GB" sz="800" dirty="0">
                <a:solidFill>
                  <a:srgbClr val="001965"/>
                </a:solidFill>
                <a:latin typeface="Arial" pitchFamily="34" charset="0"/>
              </a:rPr>
              <a:t>13.3 years</a:t>
            </a:r>
          </a:p>
        </p:txBody>
      </p:sp>
      <p:sp>
        <p:nvSpPr>
          <p:cNvPr id="46" name="TextBox 45"/>
          <p:cNvSpPr txBox="1"/>
          <p:nvPr/>
        </p:nvSpPr>
        <p:spPr>
          <a:xfrm rot="16200000">
            <a:off x="-296296" y="2489966"/>
            <a:ext cx="1534502" cy="400110"/>
          </a:xfrm>
          <a:prstGeom prst="rect">
            <a:avLst/>
          </a:prstGeom>
          <a:solidFill>
            <a:schemeClr val="bg1"/>
          </a:solidFill>
        </p:spPr>
        <p:txBody>
          <a:bodyPr wrap="square" rtlCol="0">
            <a:spAutoFit/>
          </a:bodyPr>
          <a:lstStyle/>
          <a:p>
            <a:pPr algn="ctr" defTabSz="914400" eaLnBrk="1" hangingPunct="1"/>
            <a:r>
              <a:rPr lang="en-GB" sz="1000" b="1" dirty="0">
                <a:solidFill>
                  <a:srgbClr val="001965"/>
                </a:solidFill>
                <a:latin typeface="Arial" pitchFamily="34" charset="0"/>
              </a:rPr>
              <a:t>Proportion of patients that died (%)</a:t>
            </a:r>
          </a:p>
        </p:txBody>
      </p:sp>
    </p:spTree>
    <p:extLst>
      <p:ext uri="{BB962C8B-B14F-4D97-AF65-F5344CB8AC3E}">
        <p14:creationId xmlns:p14="http://schemas.microsoft.com/office/powerpoint/2010/main" val="310320668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a:stretch>
            <a:fillRect/>
          </a:stretch>
        </p:blipFill>
        <p:spPr bwMode="auto">
          <a:xfrm>
            <a:off x="642910" y="1064828"/>
            <a:ext cx="3424484" cy="1651478"/>
          </a:xfrm>
          <a:prstGeom prst="rect">
            <a:avLst/>
          </a:prstGeom>
          <a:noFill/>
          <a:ln w="9525">
            <a:noFill/>
            <a:miter lim="800000"/>
            <a:headEnd/>
            <a:tailEnd/>
          </a:ln>
          <a:effectLst/>
        </p:spPr>
      </p:pic>
      <p:sp>
        <p:nvSpPr>
          <p:cNvPr id="3" name="Nadpis 2"/>
          <p:cNvSpPr>
            <a:spLocks noGrp="1"/>
          </p:cNvSpPr>
          <p:nvPr>
            <p:ph type="title"/>
          </p:nvPr>
        </p:nvSpPr>
        <p:spPr>
          <a:xfrm>
            <a:off x="0" y="-12"/>
            <a:ext cx="8786874" cy="857250"/>
          </a:xfrm>
        </p:spPr>
        <p:txBody>
          <a:bodyPr/>
          <a:lstStyle/>
          <a:p>
            <a:r>
              <a:rPr lang="cs-CZ" sz="2400" b="1" dirty="0" smtClean="0"/>
              <a:t>Dlouhodobé výsledky </a:t>
            </a:r>
            <a:r>
              <a:rPr lang="cs-CZ" sz="2400" b="1" dirty="0" err="1" smtClean="0"/>
              <a:t>bariatrické</a:t>
            </a:r>
            <a:r>
              <a:rPr lang="cs-CZ" sz="2400" b="1" dirty="0" smtClean="0"/>
              <a:t> chirurgie (</a:t>
            </a:r>
            <a:r>
              <a:rPr lang="cs-CZ" sz="2400" b="1" dirty="0" err="1" smtClean="0"/>
              <a:t>Swedish</a:t>
            </a:r>
            <a:r>
              <a:rPr lang="cs-CZ" sz="2400" b="1" dirty="0" smtClean="0"/>
              <a:t> </a:t>
            </a:r>
            <a:r>
              <a:rPr lang="cs-CZ" sz="2400" b="1" dirty="0" err="1" smtClean="0"/>
              <a:t>obese</a:t>
            </a:r>
            <a:r>
              <a:rPr lang="cs-CZ" sz="2400" b="1" dirty="0" smtClean="0"/>
              <a:t> </a:t>
            </a:r>
            <a:r>
              <a:rPr lang="cs-CZ" sz="2400" b="1" dirty="0" err="1" smtClean="0"/>
              <a:t>subjects</a:t>
            </a:r>
            <a:r>
              <a:rPr lang="cs-CZ" sz="2400" b="1" dirty="0" smtClean="0"/>
              <a:t> study) </a:t>
            </a:r>
            <a:endParaRPr lang="cs-CZ" sz="2400" b="1" dirty="0"/>
          </a:p>
        </p:txBody>
      </p:sp>
      <p:pic>
        <p:nvPicPr>
          <p:cNvPr id="1027" name="Picture 3"/>
          <p:cNvPicPr>
            <a:picLocks noChangeAspect="1" noChangeArrowheads="1"/>
          </p:cNvPicPr>
          <p:nvPr/>
        </p:nvPicPr>
        <p:blipFill>
          <a:blip r:embed="rId3"/>
          <a:srcRect/>
          <a:stretch>
            <a:fillRect/>
          </a:stretch>
        </p:blipFill>
        <p:spPr bwMode="auto">
          <a:xfrm>
            <a:off x="4643438" y="1125132"/>
            <a:ext cx="3364286" cy="1718922"/>
          </a:xfrm>
          <a:prstGeom prst="rect">
            <a:avLst/>
          </a:prstGeom>
          <a:noFill/>
          <a:ln w="9525">
            <a:noFill/>
            <a:miter lim="800000"/>
            <a:headEnd/>
            <a:tailEnd/>
          </a:ln>
          <a:effectLst/>
        </p:spPr>
      </p:pic>
      <p:pic>
        <p:nvPicPr>
          <p:cNvPr id="1028" name="Picture 4"/>
          <p:cNvPicPr>
            <a:picLocks noChangeAspect="1" noChangeArrowheads="1"/>
          </p:cNvPicPr>
          <p:nvPr/>
        </p:nvPicPr>
        <p:blipFill>
          <a:blip r:embed="rId4"/>
          <a:srcRect/>
          <a:stretch>
            <a:fillRect/>
          </a:stretch>
        </p:blipFill>
        <p:spPr bwMode="auto">
          <a:xfrm>
            <a:off x="610962" y="3121945"/>
            <a:ext cx="3456432" cy="2048256"/>
          </a:xfrm>
          <a:prstGeom prst="rect">
            <a:avLst/>
          </a:prstGeom>
          <a:noFill/>
          <a:ln w="9525">
            <a:noFill/>
            <a:miter lim="800000"/>
            <a:headEnd/>
            <a:tailEnd/>
          </a:ln>
          <a:effectLst/>
        </p:spPr>
      </p:pic>
      <p:pic>
        <p:nvPicPr>
          <p:cNvPr id="1029" name="Picture 5"/>
          <p:cNvPicPr>
            <a:picLocks noChangeAspect="1" noChangeArrowheads="1"/>
          </p:cNvPicPr>
          <p:nvPr/>
        </p:nvPicPr>
        <p:blipFill>
          <a:blip r:embed="rId5"/>
          <a:srcRect/>
          <a:stretch>
            <a:fillRect/>
          </a:stretch>
        </p:blipFill>
        <p:spPr bwMode="auto">
          <a:xfrm>
            <a:off x="5002300" y="3200678"/>
            <a:ext cx="3397758" cy="1976247"/>
          </a:xfrm>
          <a:prstGeom prst="rect">
            <a:avLst/>
          </a:prstGeom>
          <a:noFill/>
          <a:ln w="9525">
            <a:noFill/>
            <a:miter lim="800000"/>
            <a:headEnd/>
            <a:tailEnd/>
          </a:ln>
          <a:effectLst/>
        </p:spPr>
      </p:pic>
      <p:sp>
        <p:nvSpPr>
          <p:cNvPr id="7" name="TextovéPole 6"/>
          <p:cNvSpPr txBox="1"/>
          <p:nvPr/>
        </p:nvSpPr>
        <p:spPr>
          <a:xfrm>
            <a:off x="447355" y="695496"/>
            <a:ext cx="1967205" cy="369332"/>
          </a:xfrm>
          <a:prstGeom prst="rect">
            <a:avLst/>
          </a:prstGeom>
          <a:noFill/>
        </p:spPr>
        <p:txBody>
          <a:bodyPr wrap="none" rtlCol="0">
            <a:spAutoFit/>
          </a:bodyPr>
          <a:lstStyle/>
          <a:p>
            <a:pPr defTabSz="914400" fontAlgn="base">
              <a:spcBef>
                <a:spcPct val="0"/>
              </a:spcBef>
              <a:spcAft>
                <a:spcPct val="0"/>
              </a:spcAft>
            </a:pPr>
            <a:r>
              <a:rPr lang="cs-CZ" sz="1800" dirty="0" smtClean="0">
                <a:solidFill>
                  <a:srgbClr val="000000"/>
                </a:solidFill>
              </a:rPr>
              <a:t>Změna hmotnosti</a:t>
            </a:r>
            <a:endParaRPr lang="cs-CZ" sz="1800" dirty="0">
              <a:solidFill>
                <a:srgbClr val="000000"/>
              </a:solidFill>
            </a:endParaRPr>
          </a:p>
        </p:txBody>
      </p:sp>
      <p:sp>
        <p:nvSpPr>
          <p:cNvPr id="8" name="TextovéPole 7"/>
          <p:cNvSpPr txBox="1"/>
          <p:nvPr/>
        </p:nvSpPr>
        <p:spPr>
          <a:xfrm>
            <a:off x="5941088" y="755799"/>
            <a:ext cx="2339102" cy="369332"/>
          </a:xfrm>
          <a:prstGeom prst="rect">
            <a:avLst/>
          </a:prstGeom>
          <a:noFill/>
        </p:spPr>
        <p:txBody>
          <a:bodyPr wrap="none" rtlCol="0">
            <a:spAutoFit/>
          </a:bodyPr>
          <a:lstStyle/>
          <a:p>
            <a:pPr defTabSz="914400" fontAlgn="base">
              <a:spcBef>
                <a:spcPct val="0"/>
              </a:spcBef>
              <a:spcAft>
                <a:spcPct val="0"/>
              </a:spcAft>
            </a:pPr>
            <a:r>
              <a:rPr lang="cs-CZ" sz="1800" dirty="0" smtClean="0">
                <a:solidFill>
                  <a:srgbClr val="000000"/>
                </a:solidFill>
              </a:rPr>
              <a:t>Kumulativní mortalita</a:t>
            </a:r>
            <a:endParaRPr lang="cs-CZ" sz="1800" dirty="0">
              <a:solidFill>
                <a:srgbClr val="000000"/>
              </a:solidFill>
            </a:endParaRPr>
          </a:p>
        </p:txBody>
      </p:sp>
      <p:sp>
        <p:nvSpPr>
          <p:cNvPr id="9" name="TextovéPole 8"/>
          <p:cNvSpPr txBox="1"/>
          <p:nvPr/>
        </p:nvSpPr>
        <p:spPr>
          <a:xfrm>
            <a:off x="447355" y="2908428"/>
            <a:ext cx="3493264" cy="369332"/>
          </a:xfrm>
          <a:prstGeom prst="rect">
            <a:avLst/>
          </a:prstGeom>
          <a:solidFill>
            <a:schemeClr val="accent3"/>
          </a:solidFill>
        </p:spPr>
        <p:txBody>
          <a:bodyPr wrap="none" rtlCol="0">
            <a:spAutoFit/>
          </a:bodyPr>
          <a:lstStyle/>
          <a:p>
            <a:pPr defTabSz="914400" fontAlgn="base">
              <a:spcBef>
                <a:spcPct val="0"/>
              </a:spcBef>
              <a:spcAft>
                <a:spcPct val="0"/>
              </a:spcAft>
            </a:pPr>
            <a:r>
              <a:rPr lang="cs-CZ" sz="1800" dirty="0" smtClean="0">
                <a:solidFill>
                  <a:srgbClr val="000000"/>
                </a:solidFill>
              </a:rPr>
              <a:t>Remise diabetu po 2 a 10 letech</a:t>
            </a:r>
            <a:endParaRPr lang="cs-CZ" sz="1800" dirty="0">
              <a:solidFill>
                <a:srgbClr val="000000"/>
              </a:solidFill>
            </a:endParaRPr>
          </a:p>
        </p:txBody>
      </p:sp>
      <p:sp>
        <p:nvSpPr>
          <p:cNvPr id="10" name="TextovéPole 9"/>
          <p:cNvSpPr txBox="1"/>
          <p:nvPr/>
        </p:nvSpPr>
        <p:spPr>
          <a:xfrm>
            <a:off x="5000629" y="2953096"/>
            <a:ext cx="3749744" cy="369332"/>
          </a:xfrm>
          <a:prstGeom prst="rect">
            <a:avLst/>
          </a:prstGeom>
          <a:solidFill>
            <a:schemeClr val="accent3"/>
          </a:solidFill>
        </p:spPr>
        <p:txBody>
          <a:bodyPr wrap="none" rtlCol="0">
            <a:spAutoFit/>
          </a:bodyPr>
          <a:lstStyle/>
          <a:p>
            <a:pPr defTabSz="914400" fontAlgn="base">
              <a:spcBef>
                <a:spcPct val="0"/>
              </a:spcBef>
              <a:spcAft>
                <a:spcPct val="0"/>
              </a:spcAft>
            </a:pPr>
            <a:r>
              <a:rPr lang="cs-CZ" sz="1800" dirty="0" smtClean="0">
                <a:solidFill>
                  <a:srgbClr val="000000"/>
                </a:solidFill>
              </a:rPr>
              <a:t>Nově dg. diabetes po 2 a 10 letech</a:t>
            </a:r>
            <a:endParaRPr lang="cs-CZ" sz="1800" dirty="0">
              <a:solidFill>
                <a:srgbClr val="000000"/>
              </a:solidFill>
            </a:endParaRPr>
          </a:p>
        </p:txBody>
      </p:sp>
      <p:sp>
        <p:nvSpPr>
          <p:cNvPr id="11" name="TextovéPole 10"/>
          <p:cNvSpPr txBox="1"/>
          <p:nvPr/>
        </p:nvSpPr>
        <p:spPr>
          <a:xfrm>
            <a:off x="7929591" y="4751087"/>
            <a:ext cx="1244251" cy="461665"/>
          </a:xfrm>
          <a:prstGeom prst="rect">
            <a:avLst/>
          </a:prstGeom>
          <a:noFill/>
        </p:spPr>
        <p:txBody>
          <a:bodyPr wrap="none" rtlCol="0">
            <a:spAutoFit/>
          </a:bodyPr>
          <a:lstStyle/>
          <a:p>
            <a:pPr defTabSz="914400" fontAlgn="base">
              <a:spcBef>
                <a:spcPct val="0"/>
              </a:spcBef>
              <a:spcAft>
                <a:spcPct val="0"/>
              </a:spcAft>
            </a:pPr>
            <a:r>
              <a:rPr lang="cs-CZ" sz="1200" dirty="0" err="1" smtClean="0">
                <a:solidFill>
                  <a:srgbClr val="000000"/>
                </a:solidFill>
              </a:rPr>
              <a:t>Sjostrom</a:t>
            </a:r>
            <a:r>
              <a:rPr lang="cs-CZ" sz="1200" dirty="0" smtClean="0">
                <a:solidFill>
                  <a:srgbClr val="000000"/>
                </a:solidFill>
              </a:rPr>
              <a:t> </a:t>
            </a:r>
            <a:r>
              <a:rPr lang="cs-CZ" sz="1200" dirty="0" err="1" smtClean="0">
                <a:solidFill>
                  <a:srgbClr val="000000"/>
                </a:solidFill>
              </a:rPr>
              <a:t>et</a:t>
            </a:r>
            <a:r>
              <a:rPr lang="cs-CZ" sz="1200" dirty="0" smtClean="0">
                <a:solidFill>
                  <a:srgbClr val="000000"/>
                </a:solidFill>
              </a:rPr>
              <a:t> </a:t>
            </a:r>
            <a:r>
              <a:rPr lang="cs-CZ" sz="1200" dirty="0" err="1" smtClean="0">
                <a:solidFill>
                  <a:srgbClr val="000000"/>
                </a:solidFill>
              </a:rPr>
              <a:t>al</a:t>
            </a:r>
            <a:r>
              <a:rPr lang="cs-CZ" sz="1200" dirty="0" smtClean="0">
                <a:solidFill>
                  <a:srgbClr val="000000"/>
                </a:solidFill>
              </a:rPr>
              <a:t>, </a:t>
            </a:r>
          </a:p>
          <a:p>
            <a:pPr defTabSz="914400" fontAlgn="base">
              <a:spcBef>
                <a:spcPct val="0"/>
              </a:spcBef>
              <a:spcAft>
                <a:spcPct val="0"/>
              </a:spcAft>
            </a:pPr>
            <a:r>
              <a:rPr lang="cs-CZ" sz="1200" dirty="0" smtClean="0">
                <a:solidFill>
                  <a:srgbClr val="000000"/>
                </a:solidFill>
              </a:rPr>
              <a:t>J </a:t>
            </a:r>
            <a:r>
              <a:rPr lang="cs-CZ" sz="1200" dirty="0" err="1" smtClean="0">
                <a:solidFill>
                  <a:srgbClr val="000000"/>
                </a:solidFill>
              </a:rPr>
              <a:t>Int</a:t>
            </a:r>
            <a:r>
              <a:rPr lang="cs-CZ" sz="1200" dirty="0" smtClean="0">
                <a:solidFill>
                  <a:srgbClr val="000000"/>
                </a:solidFill>
              </a:rPr>
              <a:t> Med, 2012</a:t>
            </a:r>
            <a:endParaRPr lang="cs-CZ" sz="1200" dirty="0">
              <a:solidFill>
                <a:srgbClr val="000000"/>
              </a:solidFill>
            </a:endParaRPr>
          </a:p>
        </p:txBody>
      </p:sp>
    </p:spTree>
    <p:extLst>
      <p:ext uri="{BB962C8B-B14F-4D97-AF65-F5344CB8AC3E}">
        <p14:creationId xmlns:p14="http://schemas.microsoft.com/office/powerpoint/2010/main" val="36939748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394" name="Title 2"/>
          <p:cNvSpPr>
            <a:spLocks noGrp="1"/>
          </p:cNvSpPr>
          <p:nvPr>
            <p:ph type="title"/>
          </p:nvPr>
        </p:nvSpPr>
        <p:spPr>
          <a:xfrm>
            <a:off x="192089" y="151212"/>
            <a:ext cx="8759825" cy="912019"/>
          </a:xfrm>
        </p:spPr>
        <p:txBody>
          <a:bodyPr/>
          <a:lstStyle/>
          <a:p>
            <a:pPr algn="ctr" eaLnBrk="1" hangingPunct="1"/>
            <a:r>
              <a:rPr lang="cs-CZ" altLang="ja-JP" sz="3200" b="1" dirty="0" smtClean="0"/>
              <a:t>Studie </a:t>
            </a:r>
            <a:r>
              <a:rPr lang="cs-CZ" altLang="ja-JP" sz="3200" b="1" dirty="0" err="1" smtClean="0"/>
              <a:t>PROactive</a:t>
            </a:r>
            <a:r>
              <a:rPr lang="cs-CZ" altLang="ja-JP" sz="3200" b="1" dirty="0" smtClean="0"/>
              <a:t> </a:t>
            </a:r>
            <a:r>
              <a:rPr lang="en-GB" altLang="ja-JP" sz="3200" b="1" dirty="0" smtClean="0"/>
              <a:t>: </a:t>
            </a:r>
            <a:r>
              <a:rPr lang="cs-CZ" altLang="ja-JP" sz="3200" b="1" dirty="0" smtClean="0"/>
              <a:t>primární kombinovaný cíl</a:t>
            </a:r>
            <a:endParaRPr lang="en-AU" altLang="cs-CZ" sz="3200" b="1" dirty="0" smtClean="0"/>
          </a:p>
        </p:txBody>
      </p:sp>
      <p:sp>
        <p:nvSpPr>
          <p:cNvPr id="59395" name="Text Box 5"/>
          <p:cNvSpPr txBox="1">
            <a:spLocks noChangeArrowheads="1"/>
          </p:cNvSpPr>
          <p:nvPr/>
        </p:nvSpPr>
        <p:spPr bwMode="auto">
          <a:xfrm>
            <a:off x="42863" y="4839893"/>
            <a:ext cx="91440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400" fontAlgn="base">
              <a:spcBef>
                <a:spcPct val="0"/>
              </a:spcBef>
              <a:spcAft>
                <a:spcPct val="0"/>
              </a:spcAft>
            </a:pPr>
            <a:r>
              <a:rPr lang="en-US" altLang="en-US" sz="1000">
                <a:solidFill>
                  <a:srgbClr val="595959"/>
                </a:solidFill>
                <a:latin typeface="Arial" pitchFamily="34" charset="0"/>
                <a:ea typeface="ＭＳ Ｐゴシック" pitchFamily="34" charset="-128"/>
              </a:rPr>
              <a:t>Dormandy et al. </a:t>
            </a:r>
            <a:r>
              <a:rPr lang="en-US" altLang="en-US" sz="1000" i="1">
                <a:solidFill>
                  <a:srgbClr val="595959"/>
                </a:solidFill>
                <a:latin typeface="Arial" pitchFamily="34" charset="0"/>
                <a:ea typeface="ＭＳ Ｐゴシック" pitchFamily="34" charset="-128"/>
              </a:rPr>
              <a:t>Lancet. </a:t>
            </a:r>
            <a:r>
              <a:rPr lang="en-US" altLang="en-US" sz="1000">
                <a:solidFill>
                  <a:srgbClr val="595959"/>
                </a:solidFill>
                <a:latin typeface="Arial" pitchFamily="34" charset="0"/>
                <a:ea typeface="ＭＳ Ｐゴシック" pitchFamily="34" charset="-128"/>
              </a:rPr>
              <a:t>2005;366:1279–1289</a:t>
            </a:r>
          </a:p>
        </p:txBody>
      </p:sp>
      <p:sp>
        <p:nvSpPr>
          <p:cNvPr id="70" name="Rectangle 7"/>
          <p:cNvSpPr>
            <a:spLocks noChangeArrowheads="1"/>
          </p:cNvSpPr>
          <p:nvPr/>
        </p:nvSpPr>
        <p:spPr bwMode="auto">
          <a:xfrm>
            <a:off x="1484313" y="3918497"/>
            <a:ext cx="6318250"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spcBef>
                <a:spcPct val="20000"/>
              </a:spcBef>
              <a:buFont typeface="Arial" pitchFamily="34" charset="0"/>
              <a:buChar char="•"/>
              <a:defRPr sz="3200">
                <a:solidFill>
                  <a:schemeClr val="tx1"/>
                </a:solidFill>
                <a:latin typeface="Arial" pitchFamily="34" charset="0"/>
                <a:ea typeface="ＭＳ Ｐゴシック" pitchFamily="34" charset="-128"/>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ea typeface="ＭＳ Ｐゴシック" pitchFamily="34" charset="-128"/>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ea typeface="ＭＳ Ｐゴシック" pitchFamily="34" charset="-128"/>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ea typeface="ＭＳ Ｐゴシック" pitchFamily="34" charset="-128"/>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cs typeface="Arial" pitchFamily="34" charset="0"/>
              </a:defRPr>
            </a:lvl9pPr>
          </a:lstStyle>
          <a:p>
            <a:pPr algn="ctr" defTabSz="914400" fontAlgn="base">
              <a:spcBef>
                <a:spcPct val="0"/>
              </a:spcBef>
              <a:spcAft>
                <a:spcPct val="0"/>
              </a:spcAft>
              <a:buFontTx/>
              <a:buNone/>
            </a:pPr>
            <a:r>
              <a:rPr lang="cs-CZ" altLang="en-US" sz="1600">
                <a:solidFill>
                  <a:srgbClr val="000000"/>
                </a:solidFill>
              </a:rPr>
              <a:t>Doba do primárního cílového ukazatele (úmrtí z jakékoli příčiny, nefatální infarkt myokardu včetně klinicky němého infarktu myokardu, mrtvice, ACS, amputace nohy, koronární revaskularizace nebo revaskularizace nohy</a:t>
            </a:r>
            <a:r>
              <a:rPr lang="en-GB" altLang="en-US" sz="1600" baseline="30000">
                <a:solidFill>
                  <a:srgbClr val="000000"/>
                </a:solidFill>
              </a:rPr>
              <a:t>1</a:t>
            </a:r>
            <a:r>
              <a:rPr lang="en-US" altLang="en-US" sz="1600">
                <a:solidFill>
                  <a:srgbClr val="000000"/>
                </a:solidFill>
              </a:rPr>
              <a:t>)</a:t>
            </a:r>
            <a:endParaRPr lang="en-GB" altLang="en-US" sz="1600" baseline="30000">
              <a:solidFill>
                <a:srgbClr val="000000"/>
              </a:solidFill>
            </a:endParaRPr>
          </a:p>
        </p:txBody>
      </p:sp>
      <p:sp>
        <p:nvSpPr>
          <p:cNvPr id="59397" name="TextBox 70"/>
          <p:cNvSpPr txBox="1">
            <a:spLocks noChangeArrowheads="1"/>
          </p:cNvSpPr>
          <p:nvPr/>
        </p:nvSpPr>
        <p:spPr bwMode="auto">
          <a:xfrm>
            <a:off x="5445125" y="2516981"/>
            <a:ext cx="22129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400" fontAlgn="base">
              <a:spcBef>
                <a:spcPct val="0"/>
              </a:spcBef>
              <a:spcAft>
                <a:spcPct val="0"/>
              </a:spcAft>
            </a:pPr>
            <a:r>
              <a:rPr lang="en-US" altLang="en-US" sz="1400">
                <a:solidFill>
                  <a:srgbClr val="000000"/>
                </a:solidFill>
                <a:latin typeface="Arial" pitchFamily="34" charset="0"/>
                <a:ea typeface="ＭＳ Ｐゴシック" pitchFamily="34" charset="-128"/>
              </a:rPr>
              <a:t>HR=0</a:t>
            </a:r>
            <a:r>
              <a:rPr lang="cs-CZ" altLang="en-US" sz="1400">
                <a:solidFill>
                  <a:srgbClr val="000000"/>
                </a:solidFill>
                <a:latin typeface="Arial" pitchFamily="34" charset="0"/>
                <a:ea typeface="ＭＳ Ｐゴシック" pitchFamily="34" charset="-128"/>
              </a:rPr>
              <a:t>,</a:t>
            </a:r>
            <a:r>
              <a:rPr lang="en-US" altLang="en-US" sz="1400">
                <a:solidFill>
                  <a:srgbClr val="000000"/>
                </a:solidFill>
                <a:latin typeface="Arial" pitchFamily="34" charset="0"/>
                <a:ea typeface="ＭＳ Ｐゴシック" pitchFamily="34" charset="-128"/>
              </a:rPr>
              <a:t>90; </a:t>
            </a:r>
          </a:p>
          <a:p>
            <a:pPr defTabSz="914400" fontAlgn="base">
              <a:spcBef>
                <a:spcPct val="0"/>
              </a:spcBef>
              <a:spcAft>
                <a:spcPct val="0"/>
              </a:spcAft>
            </a:pPr>
            <a:r>
              <a:rPr lang="en-US" altLang="en-US" sz="1400">
                <a:solidFill>
                  <a:srgbClr val="000000"/>
                </a:solidFill>
                <a:latin typeface="Arial" pitchFamily="34" charset="0"/>
                <a:ea typeface="ＭＳ Ｐゴシック" pitchFamily="34" charset="-128"/>
              </a:rPr>
              <a:t>95% CI=0</a:t>
            </a:r>
            <a:r>
              <a:rPr lang="cs-CZ" altLang="en-US" sz="1400">
                <a:solidFill>
                  <a:srgbClr val="000000"/>
                </a:solidFill>
                <a:latin typeface="Arial" pitchFamily="34" charset="0"/>
                <a:ea typeface="ＭＳ Ｐゴシック" pitchFamily="34" charset="-128"/>
              </a:rPr>
              <a:t>,</a:t>
            </a:r>
            <a:r>
              <a:rPr lang="en-US" altLang="en-US" sz="1400">
                <a:solidFill>
                  <a:srgbClr val="000000"/>
                </a:solidFill>
                <a:latin typeface="Arial" pitchFamily="34" charset="0"/>
                <a:ea typeface="ＭＳ Ｐゴシック" pitchFamily="34" charset="-128"/>
              </a:rPr>
              <a:t>80–1</a:t>
            </a:r>
            <a:r>
              <a:rPr lang="cs-CZ" altLang="en-US" sz="1400">
                <a:solidFill>
                  <a:srgbClr val="000000"/>
                </a:solidFill>
                <a:latin typeface="Arial" pitchFamily="34" charset="0"/>
                <a:ea typeface="ＭＳ Ｐゴシック" pitchFamily="34" charset="-128"/>
              </a:rPr>
              <a:t>,</a:t>
            </a:r>
            <a:r>
              <a:rPr lang="en-US" altLang="en-US" sz="1400">
                <a:solidFill>
                  <a:srgbClr val="000000"/>
                </a:solidFill>
                <a:latin typeface="Arial" pitchFamily="34" charset="0"/>
                <a:ea typeface="ＭＳ Ｐゴシック" pitchFamily="34" charset="-128"/>
              </a:rPr>
              <a:t>02; p=0</a:t>
            </a:r>
            <a:r>
              <a:rPr lang="cs-CZ" altLang="en-US" sz="1400">
                <a:solidFill>
                  <a:srgbClr val="000000"/>
                </a:solidFill>
                <a:latin typeface="Arial" pitchFamily="34" charset="0"/>
                <a:ea typeface="ＭＳ Ｐゴシック" pitchFamily="34" charset="-128"/>
              </a:rPr>
              <a:t>,</a:t>
            </a:r>
            <a:r>
              <a:rPr lang="en-US" altLang="en-US" sz="1400">
                <a:solidFill>
                  <a:srgbClr val="000000"/>
                </a:solidFill>
                <a:latin typeface="Arial" pitchFamily="34" charset="0"/>
                <a:ea typeface="ＭＳ Ｐゴシック" pitchFamily="34" charset="-128"/>
              </a:rPr>
              <a:t>095</a:t>
            </a:r>
            <a:endParaRPr lang="en-GB" altLang="cs-CZ" sz="1400">
              <a:solidFill>
                <a:srgbClr val="000000"/>
              </a:solidFill>
              <a:latin typeface="Arial" pitchFamily="34" charset="0"/>
              <a:ea typeface="ＭＳ Ｐゴシック" pitchFamily="34" charset="-128"/>
            </a:endParaRPr>
          </a:p>
        </p:txBody>
      </p:sp>
      <p:cxnSp>
        <p:nvCxnSpPr>
          <p:cNvPr id="59398" name="Straight Connector 71"/>
          <p:cNvCxnSpPr>
            <a:cxnSpLocks noChangeShapeType="1"/>
          </p:cNvCxnSpPr>
          <p:nvPr/>
        </p:nvCxnSpPr>
        <p:spPr bwMode="auto">
          <a:xfrm>
            <a:off x="1789113" y="1410892"/>
            <a:ext cx="0" cy="2041922"/>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399" name="Straight Connector 72"/>
          <p:cNvCxnSpPr>
            <a:cxnSpLocks noChangeShapeType="1"/>
          </p:cNvCxnSpPr>
          <p:nvPr/>
        </p:nvCxnSpPr>
        <p:spPr bwMode="auto">
          <a:xfrm>
            <a:off x="1712913" y="3395663"/>
            <a:ext cx="574040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grpSp>
        <p:nvGrpSpPr>
          <p:cNvPr id="59400" name="Group 73"/>
          <p:cNvGrpSpPr>
            <a:grpSpLocks/>
          </p:cNvGrpSpPr>
          <p:nvPr/>
        </p:nvGrpSpPr>
        <p:grpSpPr bwMode="auto">
          <a:xfrm>
            <a:off x="1712918" y="1414465"/>
            <a:ext cx="79375" cy="1584722"/>
            <a:chOff x="1752600" y="2819400"/>
            <a:chExt cx="5740400" cy="2113280"/>
          </a:xfrm>
        </p:grpSpPr>
        <p:cxnSp>
          <p:nvCxnSpPr>
            <p:cNvPr id="59424" name="Straight Connector 74"/>
            <p:cNvCxnSpPr>
              <a:cxnSpLocks noChangeShapeType="1"/>
            </p:cNvCxnSpPr>
            <p:nvPr/>
          </p:nvCxnSpPr>
          <p:spPr bwMode="auto">
            <a:xfrm>
              <a:off x="1752600" y="4932680"/>
              <a:ext cx="574040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425" name="Straight Connector 75"/>
            <p:cNvCxnSpPr>
              <a:cxnSpLocks noChangeShapeType="1"/>
            </p:cNvCxnSpPr>
            <p:nvPr/>
          </p:nvCxnSpPr>
          <p:spPr bwMode="auto">
            <a:xfrm>
              <a:off x="1752600" y="4404360"/>
              <a:ext cx="574040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426" name="Straight Connector 76"/>
            <p:cNvCxnSpPr>
              <a:cxnSpLocks noChangeShapeType="1"/>
            </p:cNvCxnSpPr>
            <p:nvPr/>
          </p:nvCxnSpPr>
          <p:spPr bwMode="auto">
            <a:xfrm>
              <a:off x="1752600" y="3876040"/>
              <a:ext cx="574040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427" name="Straight Connector 77"/>
            <p:cNvCxnSpPr>
              <a:cxnSpLocks noChangeShapeType="1"/>
            </p:cNvCxnSpPr>
            <p:nvPr/>
          </p:nvCxnSpPr>
          <p:spPr bwMode="auto">
            <a:xfrm>
              <a:off x="1752600" y="3347720"/>
              <a:ext cx="574040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428" name="Straight Connector 78"/>
            <p:cNvCxnSpPr>
              <a:cxnSpLocks noChangeShapeType="1"/>
            </p:cNvCxnSpPr>
            <p:nvPr/>
          </p:nvCxnSpPr>
          <p:spPr bwMode="auto">
            <a:xfrm>
              <a:off x="1752600" y="2819400"/>
              <a:ext cx="574040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grpSp>
      <p:grpSp>
        <p:nvGrpSpPr>
          <p:cNvPr id="59401" name="Group 79"/>
          <p:cNvGrpSpPr>
            <a:grpSpLocks/>
          </p:cNvGrpSpPr>
          <p:nvPr/>
        </p:nvGrpSpPr>
        <p:grpSpPr bwMode="auto">
          <a:xfrm>
            <a:off x="2732088" y="3388521"/>
            <a:ext cx="4716462" cy="64294"/>
            <a:chOff x="2772128" y="2815167"/>
            <a:chExt cx="4716638" cy="2722033"/>
          </a:xfrm>
        </p:grpSpPr>
        <p:cxnSp>
          <p:nvCxnSpPr>
            <p:cNvPr id="59418" name="Straight Connector 80"/>
            <p:cNvCxnSpPr>
              <a:cxnSpLocks noChangeShapeType="1"/>
            </p:cNvCxnSpPr>
            <p:nvPr/>
          </p:nvCxnSpPr>
          <p:spPr bwMode="auto">
            <a:xfrm>
              <a:off x="2772128" y="2815167"/>
              <a:ext cx="0" cy="2722033"/>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419" name="Straight Connector 81"/>
            <p:cNvCxnSpPr>
              <a:cxnSpLocks noChangeShapeType="1"/>
            </p:cNvCxnSpPr>
            <p:nvPr/>
          </p:nvCxnSpPr>
          <p:spPr bwMode="auto">
            <a:xfrm>
              <a:off x="3715456" y="2815167"/>
              <a:ext cx="0" cy="2722033"/>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420" name="Straight Connector 82"/>
            <p:cNvCxnSpPr>
              <a:cxnSpLocks noChangeShapeType="1"/>
            </p:cNvCxnSpPr>
            <p:nvPr/>
          </p:nvCxnSpPr>
          <p:spPr bwMode="auto">
            <a:xfrm>
              <a:off x="4658784" y="2815167"/>
              <a:ext cx="0" cy="2722033"/>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421" name="Straight Connector 83"/>
            <p:cNvCxnSpPr>
              <a:cxnSpLocks noChangeShapeType="1"/>
            </p:cNvCxnSpPr>
            <p:nvPr/>
          </p:nvCxnSpPr>
          <p:spPr bwMode="auto">
            <a:xfrm>
              <a:off x="5602112" y="2815167"/>
              <a:ext cx="0" cy="2722033"/>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422" name="Straight Connector 84"/>
            <p:cNvCxnSpPr>
              <a:cxnSpLocks noChangeShapeType="1"/>
            </p:cNvCxnSpPr>
            <p:nvPr/>
          </p:nvCxnSpPr>
          <p:spPr bwMode="auto">
            <a:xfrm>
              <a:off x="6545440" y="2815167"/>
              <a:ext cx="0" cy="2722033"/>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cxnSp>
          <p:nvCxnSpPr>
            <p:cNvPr id="59423" name="Straight Connector 85"/>
            <p:cNvCxnSpPr>
              <a:cxnSpLocks noChangeShapeType="1"/>
            </p:cNvCxnSpPr>
            <p:nvPr/>
          </p:nvCxnSpPr>
          <p:spPr bwMode="auto">
            <a:xfrm>
              <a:off x="7488766" y="2815167"/>
              <a:ext cx="0" cy="2722033"/>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grpSp>
      <p:sp>
        <p:nvSpPr>
          <p:cNvPr id="59402" name="TextBox 86"/>
          <p:cNvSpPr txBox="1">
            <a:spLocks noChangeArrowheads="1"/>
          </p:cNvSpPr>
          <p:nvPr/>
        </p:nvSpPr>
        <p:spPr bwMode="auto">
          <a:xfrm>
            <a:off x="3468917" y="3405187"/>
            <a:ext cx="4122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600">
                <a:solidFill>
                  <a:srgbClr val="000000"/>
                </a:solidFill>
                <a:latin typeface="Arial" pitchFamily="34" charset="0"/>
                <a:ea typeface="ＭＳ Ｐゴシック" pitchFamily="34" charset="-128"/>
              </a:rPr>
              <a:t>12</a:t>
            </a:r>
          </a:p>
        </p:txBody>
      </p:sp>
      <p:sp>
        <p:nvSpPr>
          <p:cNvPr id="59403" name="TextBox 87"/>
          <p:cNvSpPr txBox="1">
            <a:spLocks noChangeArrowheads="1"/>
          </p:cNvSpPr>
          <p:nvPr/>
        </p:nvSpPr>
        <p:spPr bwMode="auto">
          <a:xfrm rot="-5400000">
            <a:off x="306340" y="2232214"/>
            <a:ext cx="178286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cs-CZ" altLang="cs-CZ" sz="1600">
                <a:solidFill>
                  <a:srgbClr val="000000"/>
                </a:solidFill>
                <a:latin typeface="Arial" pitchFamily="34" charset="0"/>
                <a:ea typeface="ＭＳ Ｐゴシック" pitchFamily="34" charset="-128"/>
              </a:rPr>
              <a:t>Podíl případů</a:t>
            </a:r>
            <a:r>
              <a:rPr lang="en-US" altLang="cs-CZ" sz="1600">
                <a:solidFill>
                  <a:srgbClr val="000000"/>
                </a:solidFill>
                <a:latin typeface="Arial" pitchFamily="34" charset="0"/>
                <a:ea typeface="ＭＳ Ｐゴシック" pitchFamily="34" charset="-128"/>
              </a:rPr>
              <a:t> (%)</a:t>
            </a:r>
          </a:p>
        </p:txBody>
      </p:sp>
      <p:sp>
        <p:nvSpPr>
          <p:cNvPr id="59404" name="TextBox 88"/>
          <p:cNvSpPr txBox="1">
            <a:spLocks noChangeArrowheads="1"/>
          </p:cNvSpPr>
          <p:nvPr/>
        </p:nvSpPr>
        <p:spPr bwMode="auto">
          <a:xfrm>
            <a:off x="2578085" y="3405187"/>
            <a:ext cx="29848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600">
                <a:solidFill>
                  <a:srgbClr val="000000"/>
                </a:solidFill>
                <a:latin typeface="Arial" pitchFamily="34" charset="0"/>
                <a:ea typeface="ＭＳ Ｐゴシック" pitchFamily="34" charset="-128"/>
              </a:rPr>
              <a:t>6</a:t>
            </a:r>
          </a:p>
        </p:txBody>
      </p:sp>
      <p:sp>
        <p:nvSpPr>
          <p:cNvPr id="59405" name="TextBox 89"/>
          <p:cNvSpPr txBox="1">
            <a:spLocks noChangeArrowheads="1"/>
          </p:cNvSpPr>
          <p:nvPr/>
        </p:nvSpPr>
        <p:spPr bwMode="auto">
          <a:xfrm>
            <a:off x="1641460" y="3405187"/>
            <a:ext cx="29848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600">
                <a:solidFill>
                  <a:srgbClr val="000000"/>
                </a:solidFill>
                <a:latin typeface="Arial" pitchFamily="34" charset="0"/>
                <a:ea typeface="ＭＳ Ｐゴシック" pitchFamily="34" charset="-128"/>
              </a:rPr>
              <a:t>0</a:t>
            </a:r>
          </a:p>
        </p:txBody>
      </p:sp>
      <p:sp>
        <p:nvSpPr>
          <p:cNvPr id="59406" name="TextBox 90"/>
          <p:cNvSpPr txBox="1">
            <a:spLocks noChangeArrowheads="1"/>
          </p:cNvSpPr>
          <p:nvPr/>
        </p:nvSpPr>
        <p:spPr bwMode="auto">
          <a:xfrm>
            <a:off x="4421417" y="3405187"/>
            <a:ext cx="4122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600">
                <a:solidFill>
                  <a:srgbClr val="000000"/>
                </a:solidFill>
                <a:latin typeface="Arial" pitchFamily="34" charset="0"/>
                <a:ea typeface="ＭＳ Ｐゴシック" pitchFamily="34" charset="-128"/>
              </a:rPr>
              <a:t>18</a:t>
            </a:r>
          </a:p>
        </p:txBody>
      </p:sp>
      <p:sp>
        <p:nvSpPr>
          <p:cNvPr id="59407" name="TextBox 91"/>
          <p:cNvSpPr txBox="1">
            <a:spLocks noChangeArrowheads="1"/>
          </p:cNvSpPr>
          <p:nvPr/>
        </p:nvSpPr>
        <p:spPr bwMode="auto">
          <a:xfrm>
            <a:off x="5357248" y="3405187"/>
            <a:ext cx="4122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600">
                <a:solidFill>
                  <a:srgbClr val="000000"/>
                </a:solidFill>
                <a:latin typeface="Arial" pitchFamily="34" charset="0"/>
                <a:ea typeface="ＭＳ Ｐゴシック" pitchFamily="34" charset="-128"/>
              </a:rPr>
              <a:t>24</a:t>
            </a:r>
          </a:p>
        </p:txBody>
      </p:sp>
      <p:sp>
        <p:nvSpPr>
          <p:cNvPr id="59408" name="TextBox 92"/>
          <p:cNvSpPr txBox="1">
            <a:spLocks noChangeArrowheads="1"/>
          </p:cNvSpPr>
          <p:nvPr/>
        </p:nvSpPr>
        <p:spPr bwMode="auto">
          <a:xfrm>
            <a:off x="6301017" y="3405187"/>
            <a:ext cx="4122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600">
                <a:solidFill>
                  <a:srgbClr val="000000"/>
                </a:solidFill>
                <a:latin typeface="Arial" pitchFamily="34" charset="0"/>
                <a:ea typeface="ＭＳ Ｐゴシック" pitchFamily="34" charset="-128"/>
              </a:rPr>
              <a:t>30</a:t>
            </a:r>
          </a:p>
        </p:txBody>
      </p:sp>
      <p:sp>
        <p:nvSpPr>
          <p:cNvPr id="59409" name="TextBox 93"/>
          <p:cNvSpPr txBox="1">
            <a:spLocks noChangeArrowheads="1"/>
          </p:cNvSpPr>
          <p:nvPr/>
        </p:nvSpPr>
        <p:spPr bwMode="auto">
          <a:xfrm>
            <a:off x="7245579" y="3405187"/>
            <a:ext cx="4122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600">
                <a:solidFill>
                  <a:srgbClr val="000000"/>
                </a:solidFill>
                <a:latin typeface="Arial" pitchFamily="34" charset="0"/>
                <a:ea typeface="ＭＳ Ｐゴシック" pitchFamily="34" charset="-128"/>
              </a:rPr>
              <a:t>36</a:t>
            </a:r>
          </a:p>
        </p:txBody>
      </p:sp>
      <p:sp>
        <p:nvSpPr>
          <p:cNvPr id="59410" name="TextBox 94"/>
          <p:cNvSpPr txBox="1">
            <a:spLocks noChangeArrowheads="1"/>
          </p:cNvSpPr>
          <p:nvPr/>
        </p:nvSpPr>
        <p:spPr bwMode="auto">
          <a:xfrm>
            <a:off x="3103749" y="3579019"/>
            <a:ext cx="304762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cs-CZ" altLang="cs-CZ" sz="1600">
                <a:solidFill>
                  <a:srgbClr val="000000"/>
                </a:solidFill>
                <a:latin typeface="Arial" pitchFamily="34" charset="0"/>
                <a:ea typeface="ＭＳ Ｐゴシック" pitchFamily="34" charset="-128"/>
              </a:rPr>
              <a:t>Doba od randomizace (měsíce</a:t>
            </a:r>
            <a:r>
              <a:rPr lang="en-US" altLang="cs-CZ" sz="1600">
                <a:solidFill>
                  <a:srgbClr val="000000"/>
                </a:solidFill>
                <a:latin typeface="Arial" pitchFamily="34" charset="0"/>
                <a:ea typeface="ＭＳ Ｐゴシック" pitchFamily="34" charset="-128"/>
              </a:rPr>
              <a:t>)</a:t>
            </a:r>
          </a:p>
        </p:txBody>
      </p:sp>
      <p:sp>
        <p:nvSpPr>
          <p:cNvPr id="59411" name="TextBox 95"/>
          <p:cNvSpPr txBox="1">
            <a:spLocks noChangeArrowheads="1"/>
          </p:cNvSpPr>
          <p:nvPr/>
        </p:nvSpPr>
        <p:spPr bwMode="auto">
          <a:xfrm>
            <a:off x="2327279" y="1391841"/>
            <a:ext cx="2183611" cy="609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400" fontAlgn="base">
              <a:lnSpc>
                <a:spcPct val="120000"/>
              </a:lnSpc>
              <a:spcBef>
                <a:spcPct val="0"/>
              </a:spcBef>
              <a:spcAft>
                <a:spcPct val="0"/>
              </a:spcAft>
            </a:pPr>
            <a:r>
              <a:rPr lang="en-US" altLang="cs-CZ" sz="1400">
                <a:solidFill>
                  <a:srgbClr val="000000"/>
                </a:solidFill>
                <a:latin typeface="Arial" pitchFamily="34" charset="0"/>
                <a:ea typeface="ＭＳ Ｐゴシック" pitchFamily="34" charset="-128"/>
              </a:rPr>
              <a:t>Pioglitazon (514 </a:t>
            </a:r>
            <a:r>
              <a:rPr lang="cs-CZ" altLang="cs-CZ" sz="1400">
                <a:solidFill>
                  <a:srgbClr val="000000"/>
                </a:solidFill>
                <a:latin typeface="Arial" pitchFamily="34" charset="0"/>
                <a:ea typeface="ＭＳ Ｐゴシック" pitchFamily="34" charset="-128"/>
              </a:rPr>
              <a:t>případů</a:t>
            </a:r>
            <a:r>
              <a:rPr lang="en-US" altLang="cs-CZ" sz="1400">
                <a:solidFill>
                  <a:srgbClr val="000000"/>
                </a:solidFill>
                <a:latin typeface="Arial" pitchFamily="34" charset="0"/>
                <a:ea typeface="ＭＳ Ｐゴシック" pitchFamily="34" charset="-128"/>
              </a:rPr>
              <a:t>)</a:t>
            </a:r>
          </a:p>
          <a:p>
            <a:pPr defTabSz="914400" fontAlgn="base">
              <a:lnSpc>
                <a:spcPct val="120000"/>
              </a:lnSpc>
              <a:spcBef>
                <a:spcPct val="0"/>
              </a:spcBef>
              <a:spcAft>
                <a:spcPct val="0"/>
              </a:spcAft>
            </a:pPr>
            <a:r>
              <a:rPr lang="en-US" altLang="cs-CZ" sz="1400">
                <a:solidFill>
                  <a:srgbClr val="000000"/>
                </a:solidFill>
                <a:latin typeface="Arial" pitchFamily="34" charset="0"/>
                <a:ea typeface="ＭＳ Ｐゴシック" pitchFamily="34" charset="-128"/>
              </a:rPr>
              <a:t>Placebo (572 </a:t>
            </a:r>
            <a:r>
              <a:rPr lang="cs-CZ" altLang="cs-CZ" sz="1400">
                <a:solidFill>
                  <a:srgbClr val="000000"/>
                </a:solidFill>
                <a:latin typeface="Arial" pitchFamily="34" charset="0"/>
                <a:ea typeface="ＭＳ Ｐゴシック" pitchFamily="34" charset="-128"/>
              </a:rPr>
              <a:t>případů</a:t>
            </a:r>
            <a:r>
              <a:rPr lang="en-US" altLang="cs-CZ" sz="1400">
                <a:solidFill>
                  <a:srgbClr val="000000"/>
                </a:solidFill>
                <a:latin typeface="Arial" pitchFamily="34" charset="0"/>
                <a:ea typeface="ＭＳ Ｐゴシック" pitchFamily="34" charset="-128"/>
              </a:rPr>
              <a:t>)</a:t>
            </a:r>
          </a:p>
        </p:txBody>
      </p:sp>
      <p:cxnSp>
        <p:nvCxnSpPr>
          <p:cNvPr id="59412" name="Straight Connector 96"/>
          <p:cNvCxnSpPr>
            <a:cxnSpLocks noChangeShapeType="1"/>
          </p:cNvCxnSpPr>
          <p:nvPr/>
        </p:nvCxnSpPr>
        <p:spPr bwMode="auto">
          <a:xfrm flipH="1">
            <a:off x="2025655" y="1569244"/>
            <a:ext cx="322263" cy="0"/>
          </a:xfrm>
          <a:prstGeom prst="line">
            <a:avLst/>
          </a:prstGeom>
          <a:noFill/>
          <a:ln w="28575">
            <a:solidFill>
              <a:srgbClr val="7661FB"/>
            </a:solidFill>
            <a:round/>
            <a:headEnd/>
            <a:tailEnd/>
          </a:ln>
          <a:extLst>
            <a:ext uri="{909E8E84-426E-40DD-AFC4-6F175D3DCCD1}">
              <a14:hiddenFill xmlns:a14="http://schemas.microsoft.com/office/drawing/2010/main">
                <a:noFill/>
              </a14:hiddenFill>
            </a:ext>
          </a:extLst>
        </p:spPr>
      </p:cxnSp>
      <p:cxnSp>
        <p:nvCxnSpPr>
          <p:cNvPr id="59413" name="Straight Connector 97"/>
          <p:cNvCxnSpPr>
            <a:cxnSpLocks noChangeShapeType="1"/>
          </p:cNvCxnSpPr>
          <p:nvPr/>
        </p:nvCxnSpPr>
        <p:spPr bwMode="auto">
          <a:xfrm flipH="1">
            <a:off x="2025655" y="1778794"/>
            <a:ext cx="322263" cy="0"/>
          </a:xfrm>
          <a:prstGeom prst="line">
            <a:avLst/>
          </a:prstGeom>
          <a:noFill/>
          <a:ln w="28575">
            <a:solidFill>
              <a:srgbClr val="595959"/>
            </a:solidFill>
            <a:round/>
            <a:headEnd/>
            <a:tailEnd/>
          </a:ln>
          <a:extLst>
            <a:ext uri="{909E8E84-426E-40DD-AFC4-6F175D3DCCD1}">
              <a14:hiddenFill xmlns:a14="http://schemas.microsoft.com/office/drawing/2010/main">
                <a:noFill/>
              </a14:hiddenFill>
            </a:ext>
          </a:extLst>
        </p:spPr>
      </p:cxnSp>
      <p:sp>
        <p:nvSpPr>
          <p:cNvPr id="99" name="Freeform 98"/>
          <p:cNvSpPr/>
          <p:nvPr/>
        </p:nvSpPr>
        <p:spPr>
          <a:xfrm>
            <a:off x="1792288" y="1550195"/>
            <a:ext cx="5643562" cy="1838325"/>
          </a:xfrm>
          <a:custGeom>
            <a:avLst/>
            <a:gdLst>
              <a:gd name="connsiteX0" fmla="*/ 0 w 5643034"/>
              <a:gd name="connsiteY0" fmla="*/ 2451100 h 2451100"/>
              <a:gd name="connsiteX1" fmla="*/ 554567 w 5643034"/>
              <a:gd name="connsiteY1" fmla="*/ 2269067 h 2451100"/>
              <a:gd name="connsiteX2" fmla="*/ 905934 w 5643034"/>
              <a:gd name="connsiteY2" fmla="*/ 2078567 h 2451100"/>
              <a:gd name="connsiteX3" fmla="*/ 1312334 w 5643034"/>
              <a:gd name="connsiteY3" fmla="*/ 1888067 h 2451100"/>
              <a:gd name="connsiteX4" fmla="*/ 1612900 w 5643034"/>
              <a:gd name="connsiteY4" fmla="*/ 1748367 h 2451100"/>
              <a:gd name="connsiteX5" fmla="*/ 1947334 w 5643034"/>
              <a:gd name="connsiteY5" fmla="*/ 1536700 h 2451100"/>
              <a:gd name="connsiteX6" fmla="*/ 2421467 w 5643034"/>
              <a:gd name="connsiteY6" fmla="*/ 1333500 h 2451100"/>
              <a:gd name="connsiteX7" fmla="*/ 2823634 w 5643034"/>
              <a:gd name="connsiteY7" fmla="*/ 1202267 h 2451100"/>
              <a:gd name="connsiteX8" fmla="*/ 3022600 w 5643034"/>
              <a:gd name="connsiteY8" fmla="*/ 1126067 h 2451100"/>
              <a:gd name="connsiteX9" fmla="*/ 3221567 w 5643034"/>
              <a:gd name="connsiteY9" fmla="*/ 1007534 h 2451100"/>
              <a:gd name="connsiteX10" fmla="*/ 3551767 w 5643034"/>
              <a:gd name="connsiteY10" fmla="*/ 897467 h 2451100"/>
              <a:gd name="connsiteX11" fmla="*/ 3763434 w 5643034"/>
              <a:gd name="connsiteY11" fmla="*/ 817034 h 2451100"/>
              <a:gd name="connsiteX12" fmla="*/ 3937000 w 5643034"/>
              <a:gd name="connsiteY12" fmla="*/ 728134 h 2451100"/>
              <a:gd name="connsiteX13" fmla="*/ 4089400 w 5643034"/>
              <a:gd name="connsiteY13" fmla="*/ 698500 h 2451100"/>
              <a:gd name="connsiteX14" fmla="*/ 4385734 w 5643034"/>
              <a:gd name="connsiteY14" fmla="*/ 575734 h 2451100"/>
              <a:gd name="connsiteX15" fmla="*/ 4715934 w 5643034"/>
              <a:gd name="connsiteY15" fmla="*/ 431800 h 2451100"/>
              <a:gd name="connsiteX16" fmla="*/ 4965700 w 5643034"/>
              <a:gd name="connsiteY16" fmla="*/ 309034 h 2451100"/>
              <a:gd name="connsiteX17" fmla="*/ 5219700 w 5643034"/>
              <a:gd name="connsiteY17" fmla="*/ 215900 h 2451100"/>
              <a:gd name="connsiteX18" fmla="*/ 5393267 w 5643034"/>
              <a:gd name="connsiteY18" fmla="*/ 160867 h 2451100"/>
              <a:gd name="connsiteX19" fmla="*/ 5469467 w 5643034"/>
              <a:gd name="connsiteY19" fmla="*/ 152400 h 2451100"/>
              <a:gd name="connsiteX20" fmla="*/ 5643034 w 5643034"/>
              <a:gd name="connsiteY20" fmla="*/ 0 h 2451100"/>
              <a:gd name="connsiteX0" fmla="*/ 0 w 5643034"/>
              <a:gd name="connsiteY0" fmla="*/ 2451100 h 2451100"/>
              <a:gd name="connsiteX1" fmla="*/ 554567 w 5643034"/>
              <a:gd name="connsiteY1" fmla="*/ 2269067 h 2451100"/>
              <a:gd name="connsiteX2" fmla="*/ 905934 w 5643034"/>
              <a:gd name="connsiteY2" fmla="*/ 2078567 h 2451100"/>
              <a:gd name="connsiteX3" fmla="*/ 1312334 w 5643034"/>
              <a:gd name="connsiteY3" fmla="*/ 1888067 h 2451100"/>
              <a:gd name="connsiteX4" fmla="*/ 1612900 w 5643034"/>
              <a:gd name="connsiteY4" fmla="*/ 1748367 h 2451100"/>
              <a:gd name="connsiteX5" fmla="*/ 1947334 w 5643034"/>
              <a:gd name="connsiteY5" fmla="*/ 1536700 h 2451100"/>
              <a:gd name="connsiteX6" fmla="*/ 2421467 w 5643034"/>
              <a:gd name="connsiteY6" fmla="*/ 1333500 h 2451100"/>
              <a:gd name="connsiteX7" fmla="*/ 2823634 w 5643034"/>
              <a:gd name="connsiteY7" fmla="*/ 1202267 h 2451100"/>
              <a:gd name="connsiteX8" fmla="*/ 3022600 w 5643034"/>
              <a:gd name="connsiteY8" fmla="*/ 1126067 h 2451100"/>
              <a:gd name="connsiteX9" fmla="*/ 3221567 w 5643034"/>
              <a:gd name="connsiteY9" fmla="*/ 1007534 h 2451100"/>
              <a:gd name="connsiteX10" fmla="*/ 3551767 w 5643034"/>
              <a:gd name="connsiteY10" fmla="*/ 897467 h 2451100"/>
              <a:gd name="connsiteX11" fmla="*/ 3763434 w 5643034"/>
              <a:gd name="connsiteY11" fmla="*/ 817034 h 2451100"/>
              <a:gd name="connsiteX12" fmla="*/ 3937000 w 5643034"/>
              <a:gd name="connsiteY12" fmla="*/ 728134 h 2451100"/>
              <a:gd name="connsiteX13" fmla="*/ 4089400 w 5643034"/>
              <a:gd name="connsiteY13" fmla="*/ 698500 h 2451100"/>
              <a:gd name="connsiteX14" fmla="*/ 4385734 w 5643034"/>
              <a:gd name="connsiteY14" fmla="*/ 575734 h 2451100"/>
              <a:gd name="connsiteX15" fmla="*/ 4715934 w 5643034"/>
              <a:gd name="connsiteY15" fmla="*/ 431800 h 2451100"/>
              <a:gd name="connsiteX16" fmla="*/ 4965700 w 5643034"/>
              <a:gd name="connsiteY16" fmla="*/ 309034 h 2451100"/>
              <a:gd name="connsiteX17" fmla="*/ 5219700 w 5643034"/>
              <a:gd name="connsiteY17" fmla="*/ 215900 h 2451100"/>
              <a:gd name="connsiteX18" fmla="*/ 5393267 w 5643034"/>
              <a:gd name="connsiteY18" fmla="*/ 160867 h 2451100"/>
              <a:gd name="connsiteX19" fmla="*/ 5494867 w 5643034"/>
              <a:gd name="connsiteY19" fmla="*/ 122766 h 2451100"/>
              <a:gd name="connsiteX20" fmla="*/ 5643034 w 5643034"/>
              <a:gd name="connsiteY20" fmla="*/ 0 h 245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3034" h="2451100">
                <a:moveTo>
                  <a:pt x="0" y="2451100"/>
                </a:moveTo>
                <a:cubicBezTo>
                  <a:pt x="201789" y="2391128"/>
                  <a:pt x="403578" y="2331156"/>
                  <a:pt x="554567" y="2269067"/>
                </a:cubicBezTo>
                <a:cubicBezTo>
                  <a:pt x="705556" y="2206978"/>
                  <a:pt x="779639" y="2142067"/>
                  <a:pt x="905934" y="2078567"/>
                </a:cubicBezTo>
                <a:cubicBezTo>
                  <a:pt x="1032229" y="2015067"/>
                  <a:pt x="1312334" y="1888067"/>
                  <a:pt x="1312334" y="1888067"/>
                </a:cubicBezTo>
                <a:cubicBezTo>
                  <a:pt x="1430162" y="1833034"/>
                  <a:pt x="1507067" y="1806928"/>
                  <a:pt x="1612900" y="1748367"/>
                </a:cubicBezTo>
                <a:cubicBezTo>
                  <a:pt x="1718733" y="1689806"/>
                  <a:pt x="1812573" y="1605845"/>
                  <a:pt x="1947334" y="1536700"/>
                </a:cubicBezTo>
                <a:cubicBezTo>
                  <a:pt x="2082095" y="1467555"/>
                  <a:pt x="2275417" y="1389239"/>
                  <a:pt x="2421467" y="1333500"/>
                </a:cubicBezTo>
                <a:cubicBezTo>
                  <a:pt x="2567517" y="1277761"/>
                  <a:pt x="2723445" y="1236839"/>
                  <a:pt x="2823634" y="1202267"/>
                </a:cubicBezTo>
                <a:cubicBezTo>
                  <a:pt x="2923823" y="1167695"/>
                  <a:pt x="2956278" y="1158522"/>
                  <a:pt x="3022600" y="1126067"/>
                </a:cubicBezTo>
                <a:cubicBezTo>
                  <a:pt x="3088922" y="1093611"/>
                  <a:pt x="3133373" y="1045634"/>
                  <a:pt x="3221567" y="1007534"/>
                </a:cubicBezTo>
                <a:cubicBezTo>
                  <a:pt x="3309761" y="969434"/>
                  <a:pt x="3461456" y="929217"/>
                  <a:pt x="3551767" y="897467"/>
                </a:cubicBezTo>
                <a:cubicBezTo>
                  <a:pt x="3642078" y="865717"/>
                  <a:pt x="3699229" y="845256"/>
                  <a:pt x="3763434" y="817034"/>
                </a:cubicBezTo>
                <a:cubicBezTo>
                  <a:pt x="3827639" y="788812"/>
                  <a:pt x="3882672" y="747890"/>
                  <a:pt x="3937000" y="728134"/>
                </a:cubicBezTo>
                <a:cubicBezTo>
                  <a:pt x="3991328" y="708378"/>
                  <a:pt x="4014611" y="723900"/>
                  <a:pt x="4089400" y="698500"/>
                </a:cubicBezTo>
                <a:cubicBezTo>
                  <a:pt x="4164189" y="673100"/>
                  <a:pt x="4281312" y="620184"/>
                  <a:pt x="4385734" y="575734"/>
                </a:cubicBezTo>
                <a:cubicBezTo>
                  <a:pt x="4490156" y="531284"/>
                  <a:pt x="4619273" y="476250"/>
                  <a:pt x="4715934" y="431800"/>
                </a:cubicBezTo>
                <a:cubicBezTo>
                  <a:pt x="4812595" y="387350"/>
                  <a:pt x="4881739" y="345017"/>
                  <a:pt x="4965700" y="309034"/>
                </a:cubicBezTo>
                <a:cubicBezTo>
                  <a:pt x="5049661" y="273051"/>
                  <a:pt x="5148439" y="240594"/>
                  <a:pt x="5219700" y="215900"/>
                </a:cubicBezTo>
                <a:cubicBezTo>
                  <a:pt x="5290961" y="191205"/>
                  <a:pt x="5347406" y="176389"/>
                  <a:pt x="5393267" y="160867"/>
                </a:cubicBezTo>
                <a:cubicBezTo>
                  <a:pt x="5439128" y="145345"/>
                  <a:pt x="5453239" y="149577"/>
                  <a:pt x="5494867" y="122766"/>
                </a:cubicBezTo>
                <a:cubicBezTo>
                  <a:pt x="5536495" y="95955"/>
                  <a:pt x="5643034" y="0"/>
                  <a:pt x="5643034" y="0"/>
                </a:cubicBezTo>
              </a:path>
            </a:pathLst>
          </a:custGeom>
          <a:noFill/>
          <a:ln w="28575" cap="flat" cmpd="sng" algn="ctr">
            <a:solidFill>
              <a:srgbClr val="595959"/>
            </a:solidFill>
            <a:prstDash val="solid"/>
          </a:ln>
          <a:effectLst/>
        </p:spPr>
        <p:txBody>
          <a:bodyPr anchor="ctr"/>
          <a:lstStyle/>
          <a:p>
            <a:pPr algn="ctr" defTabSz="914400">
              <a:defRPr/>
            </a:pPr>
            <a:endParaRPr lang="en-US" sz="1800" kern="0" dirty="0">
              <a:solidFill>
                <a:prstClr val="black"/>
              </a:solidFill>
              <a:latin typeface="Arial" panose="020B0604020202020204" pitchFamily="34" charset="0"/>
              <a:ea typeface="ＭＳ Ｐゴシック" pitchFamily="34" charset="-128"/>
            </a:endParaRPr>
          </a:p>
        </p:txBody>
      </p:sp>
      <p:sp>
        <p:nvSpPr>
          <p:cNvPr id="100" name="Freeform 99"/>
          <p:cNvSpPr/>
          <p:nvPr/>
        </p:nvSpPr>
        <p:spPr>
          <a:xfrm>
            <a:off x="1792289" y="1747837"/>
            <a:ext cx="5648325" cy="1644254"/>
          </a:xfrm>
          <a:custGeom>
            <a:avLst/>
            <a:gdLst>
              <a:gd name="connsiteX0" fmla="*/ 0 w 5647267"/>
              <a:gd name="connsiteY0" fmla="*/ 2192867 h 2192867"/>
              <a:gd name="connsiteX1" fmla="*/ 385234 w 5647267"/>
              <a:gd name="connsiteY1" fmla="*/ 2023533 h 2192867"/>
              <a:gd name="connsiteX2" fmla="*/ 613834 w 5647267"/>
              <a:gd name="connsiteY2" fmla="*/ 1913467 h 2192867"/>
              <a:gd name="connsiteX3" fmla="*/ 965200 w 5647267"/>
              <a:gd name="connsiteY3" fmla="*/ 1710267 h 2192867"/>
              <a:gd name="connsiteX4" fmla="*/ 1286934 w 5647267"/>
              <a:gd name="connsiteY4" fmla="*/ 1574800 h 2192867"/>
              <a:gd name="connsiteX5" fmla="*/ 1498600 w 5647267"/>
              <a:gd name="connsiteY5" fmla="*/ 1498600 h 2192867"/>
              <a:gd name="connsiteX6" fmla="*/ 1710267 w 5647267"/>
              <a:gd name="connsiteY6" fmla="*/ 1371600 h 2192867"/>
              <a:gd name="connsiteX7" fmla="*/ 1993900 w 5647267"/>
              <a:gd name="connsiteY7" fmla="*/ 1240367 h 2192867"/>
              <a:gd name="connsiteX8" fmla="*/ 2391834 w 5647267"/>
              <a:gd name="connsiteY8" fmla="*/ 1134533 h 2192867"/>
              <a:gd name="connsiteX9" fmla="*/ 2611967 w 5647267"/>
              <a:gd name="connsiteY9" fmla="*/ 1075267 h 2192867"/>
              <a:gd name="connsiteX10" fmla="*/ 2789767 w 5647267"/>
              <a:gd name="connsiteY10" fmla="*/ 977900 h 2192867"/>
              <a:gd name="connsiteX11" fmla="*/ 2954867 w 5647267"/>
              <a:gd name="connsiteY11" fmla="*/ 922867 h 2192867"/>
              <a:gd name="connsiteX12" fmla="*/ 3200400 w 5647267"/>
              <a:gd name="connsiteY12" fmla="*/ 863600 h 2192867"/>
              <a:gd name="connsiteX13" fmla="*/ 3331634 w 5647267"/>
              <a:gd name="connsiteY13" fmla="*/ 833967 h 2192867"/>
              <a:gd name="connsiteX14" fmla="*/ 3560234 w 5647267"/>
              <a:gd name="connsiteY14" fmla="*/ 719667 h 2192867"/>
              <a:gd name="connsiteX15" fmla="*/ 3877734 w 5647267"/>
              <a:gd name="connsiteY15" fmla="*/ 630767 h 2192867"/>
              <a:gd name="connsiteX16" fmla="*/ 4326467 w 5647267"/>
              <a:gd name="connsiteY16" fmla="*/ 495300 h 2192867"/>
              <a:gd name="connsiteX17" fmla="*/ 4931834 w 5647267"/>
              <a:gd name="connsiteY17" fmla="*/ 249767 h 2192867"/>
              <a:gd name="connsiteX18" fmla="*/ 5295900 w 5647267"/>
              <a:gd name="connsiteY18" fmla="*/ 114300 h 2192867"/>
              <a:gd name="connsiteX19" fmla="*/ 5647267 w 5647267"/>
              <a:gd name="connsiteY19" fmla="*/ 0 h 2192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47267" h="2192867">
                <a:moveTo>
                  <a:pt x="0" y="2192867"/>
                </a:moveTo>
                <a:lnTo>
                  <a:pt x="385234" y="2023533"/>
                </a:lnTo>
                <a:cubicBezTo>
                  <a:pt x="487540" y="1976966"/>
                  <a:pt x="517173" y="1965678"/>
                  <a:pt x="613834" y="1913467"/>
                </a:cubicBezTo>
                <a:cubicBezTo>
                  <a:pt x="710495" y="1861256"/>
                  <a:pt x="853017" y="1766711"/>
                  <a:pt x="965200" y="1710267"/>
                </a:cubicBezTo>
                <a:cubicBezTo>
                  <a:pt x="1077383" y="1653823"/>
                  <a:pt x="1198034" y="1610078"/>
                  <a:pt x="1286934" y="1574800"/>
                </a:cubicBezTo>
                <a:cubicBezTo>
                  <a:pt x="1375834" y="1539522"/>
                  <a:pt x="1428044" y="1532467"/>
                  <a:pt x="1498600" y="1498600"/>
                </a:cubicBezTo>
                <a:cubicBezTo>
                  <a:pt x="1569156" y="1464733"/>
                  <a:pt x="1627717" y="1414639"/>
                  <a:pt x="1710267" y="1371600"/>
                </a:cubicBezTo>
                <a:cubicBezTo>
                  <a:pt x="1792817" y="1328561"/>
                  <a:pt x="1880306" y="1279878"/>
                  <a:pt x="1993900" y="1240367"/>
                </a:cubicBezTo>
                <a:cubicBezTo>
                  <a:pt x="2107494" y="1200856"/>
                  <a:pt x="2391834" y="1134533"/>
                  <a:pt x="2391834" y="1134533"/>
                </a:cubicBezTo>
                <a:cubicBezTo>
                  <a:pt x="2494845" y="1107016"/>
                  <a:pt x="2545645" y="1101372"/>
                  <a:pt x="2611967" y="1075267"/>
                </a:cubicBezTo>
                <a:cubicBezTo>
                  <a:pt x="2678289" y="1049161"/>
                  <a:pt x="2732617" y="1003300"/>
                  <a:pt x="2789767" y="977900"/>
                </a:cubicBezTo>
                <a:cubicBezTo>
                  <a:pt x="2846917" y="952500"/>
                  <a:pt x="2886428" y="941917"/>
                  <a:pt x="2954867" y="922867"/>
                </a:cubicBezTo>
                <a:cubicBezTo>
                  <a:pt x="3023306" y="903817"/>
                  <a:pt x="3137606" y="878417"/>
                  <a:pt x="3200400" y="863600"/>
                </a:cubicBezTo>
                <a:cubicBezTo>
                  <a:pt x="3263195" y="848783"/>
                  <a:pt x="3271662" y="857956"/>
                  <a:pt x="3331634" y="833967"/>
                </a:cubicBezTo>
                <a:cubicBezTo>
                  <a:pt x="3391606" y="809978"/>
                  <a:pt x="3469217" y="753534"/>
                  <a:pt x="3560234" y="719667"/>
                </a:cubicBezTo>
                <a:cubicBezTo>
                  <a:pt x="3651251" y="685800"/>
                  <a:pt x="3877734" y="630767"/>
                  <a:pt x="3877734" y="630767"/>
                </a:cubicBezTo>
                <a:cubicBezTo>
                  <a:pt x="4005439" y="593373"/>
                  <a:pt x="4150784" y="558800"/>
                  <a:pt x="4326467" y="495300"/>
                </a:cubicBezTo>
                <a:cubicBezTo>
                  <a:pt x="4502150" y="431800"/>
                  <a:pt x="4770262" y="313267"/>
                  <a:pt x="4931834" y="249767"/>
                </a:cubicBezTo>
                <a:cubicBezTo>
                  <a:pt x="5093406" y="186267"/>
                  <a:pt x="5176661" y="155928"/>
                  <a:pt x="5295900" y="114300"/>
                </a:cubicBezTo>
                <a:cubicBezTo>
                  <a:pt x="5415139" y="72672"/>
                  <a:pt x="5647267" y="0"/>
                  <a:pt x="5647267" y="0"/>
                </a:cubicBezTo>
              </a:path>
            </a:pathLst>
          </a:custGeom>
          <a:noFill/>
          <a:ln w="28575" cap="flat" cmpd="sng" algn="ctr">
            <a:solidFill>
              <a:srgbClr val="7661FB"/>
            </a:solidFill>
            <a:prstDash val="solid"/>
          </a:ln>
          <a:effectLst/>
        </p:spPr>
        <p:txBody>
          <a:bodyPr anchor="ctr"/>
          <a:lstStyle/>
          <a:p>
            <a:pPr algn="ctr" defTabSz="914400">
              <a:defRPr/>
            </a:pPr>
            <a:endParaRPr lang="en-US" sz="1800" kern="0" dirty="0">
              <a:solidFill>
                <a:prstClr val="black"/>
              </a:solidFill>
              <a:latin typeface="Arial" panose="020B0604020202020204" pitchFamily="34" charset="0"/>
              <a:ea typeface="ＭＳ Ｐゴシック" pitchFamily="34" charset="-128"/>
            </a:endParaRPr>
          </a:p>
        </p:txBody>
      </p:sp>
      <p:sp>
        <p:nvSpPr>
          <p:cNvPr id="59416" name="TextBox 6"/>
          <p:cNvSpPr txBox="1">
            <a:spLocks noChangeArrowheads="1"/>
          </p:cNvSpPr>
          <p:nvPr/>
        </p:nvSpPr>
        <p:spPr bwMode="auto">
          <a:xfrm>
            <a:off x="7548568" y="1482331"/>
            <a:ext cx="121602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400" fontAlgn="base">
              <a:spcBef>
                <a:spcPct val="0"/>
              </a:spcBef>
              <a:spcAft>
                <a:spcPct val="0"/>
              </a:spcAft>
            </a:pPr>
            <a:r>
              <a:rPr lang="en-GB" altLang="cs-CZ" sz="1600" b="1">
                <a:solidFill>
                  <a:srgbClr val="000000"/>
                </a:solidFill>
                <a:latin typeface="Calibri" pitchFamily="34" charset="0"/>
                <a:ea typeface="ＭＳ Ｐゴシック" pitchFamily="34" charset="-128"/>
              </a:rPr>
              <a:t>10</a:t>
            </a:r>
            <a:r>
              <a:rPr lang="cs-CZ" altLang="cs-CZ" sz="1600" b="1">
                <a:solidFill>
                  <a:srgbClr val="000000"/>
                </a:solidFill>
                <a:latin typeface="Calibri" pitchFamily="34" charset="0"/>
                <a:ea typeface="ＭＳ Ｐゴシック" pitchFamily="34" charset="-128"/>
              </a:rPr>
              <a:t> </a:t>
            </a:r>
            <a:r>
              <a:rPr lang="en-GB" altLang="cs-CZ" sz="1600" b="1">
                <a:solidFill>
                  <a:srgbClr val="000000"/>
                </a:solidFill>
                <a:latin typeface="Calibri" pitchFamily="34" charset="0"/>
                <a:ea typeface="ＭＳ Ｐゴシック" pitchFamily="34" charset="-128"/>
              </a:rPr>
              <a:t>% </a:t>
            </a:r>
            <a:r>
              <a:rPr lang="cs-CZ" altLang="cs-CZ" sz="1600" b="1">
                <a:solidFill>
                  <a:srgbClr val="000000"/>
                </a:solidFill>
                <a:latin typeface="Calibri" pitchFamily="34" charset="0"/>
                <a:ea typeface="ＭＳ Ｐゴシック" pitchFamily="34" charset="-128"/>
              </a:rPr>
              <a:t>snížení rizika</a:t>
            </a:r>
            <a:endParaRPr lang="en-GB" altLang="cs-CZ" sz="1600" b="1">
              <a:solidFill>
                <a:srgbClr val="000000"/>
              </a:solidFill>
              <a:latin typeface="Calibri" pitchFamily="34" charset="0"/>
              <a:ea typeface="ＭＳ Ｐゴシック" pitchFamily="34" charset="-128"/>
            </a:endParaRPr>
          </a:p>
        </p:txBody>
      </p:sp>
      <p:cxnSp>
        <p:nvCxnSpPr>
          <p:cNvPr id="8" name="Straight Arrow Connector 7"/>
          <p:cNvCxnSpPr/>
          <p:nvPr/>
        </p:nvCxnSpPr>
        <p:spPr>
          <a:xfrm>
            <a:off x="7523168" y="1550194"/>
            <a:ext cx="9525" cy="2286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73819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a:xfrm>
            <a:off x="368301" y="89297"/>
            <a:ext cx="8761413" cy="912019"/>
          </a:xfrm>
        </p:spPr>
        <p:txBody>
          <a:bodyPr/>
          <a:lstStyle/>
          <a:p>
            <a:pPr algn="ctr" eaLnBrk="1" hangingPunct="1"/>
            <a:r>
              <a:rPr lang="cs-CZ" altLang="ja-JP" sz="2400" b="1" dirty="0" smtClean="0"/>
              <a:t>Studie </a:t>
            </a:r>
            <a:r>
              <a:rPr lang="en-GB" altLang="ja-JP" sz="2400" b="1" dirty="0" err="1" smtClean="0"/>
              <a:t>PROactive</a:t>
            </a:r>
            <a:r>
              <a:rPr lang="cs-CZ" altLang="ja-JP" sz="2400" b="1" dirty="0" smtClean="0"/>
              <a:t>:</a:t>
            </a:r>
            <a:r>
              <a:rPr lang="en-GB" altLang="ja-JP" sz="2400" b="1" dirty="0" smtClean="0"/>
              <a:t> </a:t>
            </a:r>
            <a:r>
              <a:rPr lang="cs-CZ" altLang="ja-JP" sz="2400" b="1" dirty="0" smtClean="0"/>
              <a:t>významný přínos léčby u sekundárního kombinovaného cíle</a:t>
            </a:r>
            <a:endParaRPr lang="en-GB" altLang="cs-CZ" sz="2400" b="1" dirty="0" smtClean="0"/>
          </a:p>
        </p:txBody>
      </p:sp>
      <p:sp>
        <p:nvSpPr>
          <p:cNvPr id="61443" name="Text Box 5"/>
          <p:cNvSpPr txBox="1">
            <a:spLocks noChangeArrowheads="1"/>
          </p:cNvSpPr>
          <p:nvPr/>
        </p:nvSpPr>
        <p:spPr bwMode="auto">
          <a:xfrm>
            <a:off x="42863" y="4712614"/>
            <a:ext cx="91440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400" fontAlgn="base">
              <a:spcBef>
                <a:spcPct val="0"/>
              </a:spcBef>
              <a:spcAft>
                <a:spcPct val="0"/>
              </a:spcAft>
            </a:pPr>
            <a:endParaRPr lang="en-US" altLang="en-US" sz="1200" dirty="0">
              <a:solidFill>
                <a:srgbClr val="595959"/>
              </a:solidFill>
              <a:latin typeface="Arial" pitchFamily="34" charset="0"/>
              <a:ea typeface="ＭＳ Ｐゴシック" pitchFamily="34" charset="-128"/>
            </a:endParaRPr>
          </a:p>
          <a:p>
            <a:pPr defTabSz="914400" fontAlgn="base">
              <a:spcBef>
                <a:spcPct val="0"/>
              </a:spcBef>
              <a:spcAft>
                <a:spcPct val="0"/>
              </a:spcAft>
            </a:pPr>
            <a:r>
              <a:rPr lang="en-US" altLang="en-US" sz="1000" dirty="0" err="1">
                <a:solidFill>
                  <a:srgbClr val="595959"/>
                </a:solidFill>
                <a:latin typeface="Arial" pitchFamily="34" charset="0"/>
                <a:ea typeface="ＭＳ Ｐゴシック" pitchFamily="34" charset="-128"/>
              </a:rPr>
              <a:t>Dormandy</a:t>
            </a:r>
            <a:r>
              <a:rPr lang="en-US" altLang="en-US" sz="1000" dirty="0">
                <a:solidFill>
                  <a:srgbClr val="595959"/>
                </a:solidFill>
                <a:latin typeface="Arial" pitchFamily="34" charset="0"/>
                <a:ea typeface="ＭＳ Ｐゴシック" pitchFamily="34" charset="-128"/>
              </a:rPr>
              <a:t> et al. </a:t>
            </a:r>
            <a:r>
              <a:rPr lang="en-US" altLang="en-US" sz="1000" i="1" dirty="0">
                <a:solidFill>
                  <a:srgbClr val="595959"/>
                </a:solidFill>
                <a:latin typeface="Arial" pitchFamily="34" charset="0"/>
                <a:ea typeface="ＭＳ Ｐゴシック" pitchFamily="34" charset="-128"/>
              </a:rPr>
              <a:t>Lancet. </a:t>
            </a:r>
            <a:r>
              <a:rPr lang="en-US" altLang="en-US" sz="1000" dirty="0">
                <a:solidFill>
                  <a:srgbClr val="595959"/>
                </a:solidFill>
                <a:latin typeface="Arial" pitchFamily="34" charset="0"/>
                <a:ea typeface="ＭＳ Ｐゴシック" pitchFamily="34" charset="-128"/>
              </a:rPr>
              <a:t>2005;366:1279–1289</a:t>
            </a:r>
          </a:p>
        </p:txBody>
      </p:sp>
      <p:sp>
        <p:nvSpPr>
          <p:cNvPr id="43" name="Freeform 42"/>
          <p:cNvSpPr/>
          <p:nvPr/>
        </p:nvSpPr>
        <p:spPr>
          <a:xfrm>
            <a:off x="1960563" y="2218135"/>
            <a:ext cx="4864100" cy="1066800"/>
          </a:xfrm>
          <a:custGeom>
            <a:avLst/>
            <a:gdLst>
              <a:gd name="connsiteX0" fmla="*/ 4864100 w 4864100"/>
              <a:gd name="connsiteY0" fmla="*/ 0 h 1422412"/>
              <a:gd name="connsiteX1" fmla="*/ 4038600 w 4864100"/>
              <a:gd name="connsiteY1" fmla="*/ 241300 h 1422412"/>
              <a:gd name="connsiteX2" fmla="*/ 3670300 w 4864100"/>
              <a:gd name="connsiteY2" fmla="*/ 368300 h 1422412"/>
              <a:gd name="connsiteX3" fmla="*/ 3357034 w 4864100"/>
              <a:gd name="connsiteY3" fmla="*/ 436033 h 1422412"/>
              <a:gd name="connsiteX4" fmla="*/ 2916767 w 4864100"/>
              <a:gd name="connsiteY4" fmla="*/ 541866 h 1422412"/>
              <a:gd name="connsiteX5" fmla="*/ 2328334 w 4864100"/>
              <a:gd name="connsiteY5" fmla="*/ 732366 h 1422412"/>
              <a:gd name="connsiteX6" fmla="*/ 1617134 w 4864100"/>
              <a:gd name="connsiteY6" fmla="*/ 939800 h 1422412"/>
              <a:gd name="connsiteX7" fmla="*/ 690034 w 4864100"/>
              <a:gd name="connsiteY7" fmla="*/ 1223433 h 1422412"/>
              <a:gd name="connsiteX8" fmla="*/ 275167 w 4864100"/>
              <a:gd name="connsiteY8" fmla="*/ 1367366 h 1422412"/>
              <a:gd name="connsiteX9" fmla="*/ 67734 w 4864100"/>
              <a:gd name="connsiteY9" fmla="*/ 1413933 h 1422412"/>
              <a:gd name="connsiteX10" fmla="*/ 0 w 4864100"/>
              <a:gd name="connsiteY10" fmla="*/ 1422400 h 142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64100" h="1422412">
                <a:moveTo>
                  <a:pt x="4864100" y="0"/>
                </a:moveTo>
                <a:lnTo>
                  <a:pt x="4038600" y="241300"/>
                </a:lnTo>
                <a:cubicBezTo>
                  <a:pt x="3839633" y="302683"/>
                  <a:pt x="3783894" y="335845"/>
                  <a:pt x="3670300" y="368300"/>
                </a:cubicBezTo>
                <a:cubicBezTo>
                  <a:pt x="3556706" y="400755"/>
                  <a:pt x="3482623" y="407105"/>
                  <a:pt x="3357034" y="436033"/>
                </a:cubicBezTo>
                <a:cubicBezTo>
                  <a:pt x="3231445" y="464961"/>
                  <a:pt x="3088217" y="492477"/>
                  <a:pt x="2916767" y="541866"/>
                </a:cubicBezTo>
                <a:cubicBezTo>
                  <a:pt x="2745317" y="591255"/>
                  <a:pt x="2544939" y="666044"/>
                  <a:pt x="2328334" y="732366"/>
                </a:cubicBezTo>
                <a:cubicBezTo>
                  <a:pt x="2111728" y="798688"/>
                  <a:pt x="1617134" y="939800"/>
                  <a:pt x="1617134" y="939800"/>
                </a:cubicBezTo>
                <a:lnTo>
                  <a:pt x="690034" y="1223433"/>
                </a:lnTo>
                <a:cubicBezTo>
                  <a:pt x="466373" y="1294694"/>
                  <a:pt x="378884" y="1335616"/>
                  <a:pt x="275167" y="1367366"/>
                </a:cubicBezTo>
                <a:cubicBezTo>
                  <a:pt x="171450" y="1399116"/>
                  <a:pt x="113595" y="1404761"/>
                  <a:pt x="67734" y="1413933"/>
                </a:cubicBezTo>
                <a:cubicBezTo>
                  <a:pt x="21873" y="1423105"/>
                  <a:pt x="0" y="1422400"/>
                  <a:pt x="0" y="1422400"/>
                </a:cubicBezTo>
              </a:path>
            </a:pathLst>
          </a:custGeom>
          <a:ln w="2857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txBody>
          <a:bodyPr anchor="ctr"/>
          <a:lstStyle/>
          <a:p>
            <a:pPr algn="ctr" defTabSz="914400">
              <a:defRPr/>
            </a:pPr>
            <a:endParaRPr lang="en-US" sz="1800" dirty="0">
              <a:solidFill>
                <a:prstClr val="black"/>
              </a:solidFill>
            </a:endParaRPr>
          </a:p>
        </p:txBody>
      </p:sp>
      <p:sp>
        <p:nvSpPr>
          <p:cNvPr id="61445" name="Rectangle 8"/>
          <p:cNvSpPr>
            <a:spLocks noChangeArrowheads="1"/>
          </p:cNvSpPr>
          <p:nvPr/>
        </p:nvSpPr>
        <p:spPr bwMode="auto">
          <a:xfrm>
            <a:off x="1381126" y="3888811"/>
            <a:ext cx="646747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400" fontAlgn="base">
              <a:spcBef>
                <a:spcPct val="0"/>
              </a:spcBef>
              <a:spcAft>
                <a:spcPct val="0"/>
              </a:spcAft>
            </a:pPr>
            <a:r>
              <a:rPr lang="cs-CZ" altLang="cs-CZ" sz="1800" dirty="0">
                <a:solidFill>
                  <a:srgbClr val="000000"/>
                </a:solidFill>
                <a:latin typeface="Calibri" pitchFamily="34" charset="0"/>
                <a:ea typeface="ＭＳ Ｐゴシック" pitchFamily="34" charset="-128"/>
              </a:rPr>
              <a:t>Doba do druhé koncového cílového ukazatele (úmrtí z jakéhokoli důvodu, nefatální infarkt myokardu kromě klinicky němých infarktů myokardu nebo mrtvice)</a:t>
            </a:r>
            <a:endParaRPr lang="en-GB" altLang="cs-CZ" sz="1800" baseline="30000" dirty="0">
              <a:solidFill>
                <a:srgbClr val="000000"/>
              </a:solidFill>
              <a:latin typeface="Calibri" pitchFamily="34" charset="0"/>
              <a:ea typeface="ＭＳ Ｐゴシック" pitchFamily="34" charset="-128"/>
            </a:endParaRPr>
          </a:p>
        </p:txBody>
      </p:sp>
      <p:sp>
        <p:nvSpPr>
          <p:cNvPr id="61446" name="Rectangle 8"/>
          <p:cNvSpPr>
            <a:spLocks noChangeArrowheads="1"/>
          </p:cNvSpPr>
          <p:nvPr/>
        </p:nvSpPr>
        <p:spPr bwMode="auto">
          <a:xfrm>
            <a:off x="5262568" y="2659949"/>
            <a:ext cx="15462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400" fontAlgn="base">
              <a:spcBef>
                <a:spcPct val="0"/>
              </a:spcBef>
              <a:spcAft>
                <a:spcPct val="0"/>
              </a:spcAft>
            </a:pPr>
            <a:r>
              <a:rPr lang="en-US" altLang="cs-CZ" sz="1200">
                <a:solidFill>
                  <a:srgbClr val="000000"/>
                </a:solidFill>
                <a:latin typeface="Calibri" pitchFamily="34" charset="0"/>
                <a:ea typeface="ＭＳ Ｐゴシック" pitchFamily="34" charset="-128"/>
              </a:rPr>
              <a:t>HR=0</a:t>
            </a:r>
            <a:r>
              <a:rPr lang="cs-CZ" altLang="cs-CZ" sz="1200">
                <a:solidFill>
                  <a:srgbClr val="000000"/>
                </a:solidFill>
                <a:latin typeface="Calibri" pitchFamily="34" charset="0"/>
                <a:ea typeface="ＭＳ Ｐゴシック" pitchFamily="34" charset="-128"/>
              </a:rPr>
              <a:t>,</a:t>
            </a:r>
            <a:r>
              <a:rPr lang="en-US" altLang="cs-CZ" sz="1200">
                <a:solidFill>
                  <a:srgbClr val="000000"/>
                </a:solidFill>
                <a:latin typeface="Calibri" pitchFamily="34" charset="0"/>
                <a:ea typeface="ＭＳ Ｐゴシック" pitchFamily="34" charset="-128"/>
              </a:rPr>
              <a:t>84; </a:t>
            </a:r>
          </a:p>
          <a:p>
            <a:pPr defTabSz="914400" fontAlgn="base">
              <a:spcBef>
                <a:spcPct val="0"/>
              </a:spcBef>
              <a:spcAft>
                <a:spcPct val="0"/>
              </a:spcAft>
            </a:pPr>
            <a:r>
              <a:rPr lang="en-US" altLang="cs-CZ" sz="1200">
                <a:solidFill>
                  <a:srgbClr val="000000"/>
                </a:solidFill>
                <a:latin typeface="Calibri" pitchFamily="34" charset="0"/>
                <a:ea typeface="ＭＳ Ｐゴシック" pitchFamily="34" charset="-128"/>
              </a:rPr>
              <a:t>95%CI=0</a:t>
            </a:r>
            <a:r>
              <a:rPr lang="cs-CZ" altLang="cs-CZ" sz="1200">
                <a:solidFill>
                  <a:srgbClr val="000000"/>
                </a:solidFill>
                <a:latin typeface="Calibri" pitchFamily="34" charset="0"/>
                <a:ea typeface="ＭＳ Ｐゴシック" pitchFamily="34" charset="-128"/>
              </a:rPr>
              <a:t>,</a:t>
            </a:r>
            <a:r>
              <a:rPr lang="en-US" altLang="cs-CZ" sz="1200">
                <a:solidFill>
                  <a:srgbClr val="000000"/>
                </a:solidFill>
                <a:latin typeface="Calibri" pitchFamily="34" charset="0"/>
                <a:ea typeface="ＭＳ Ｐゴシック" pitchFamily="34" charset="-128"/>
              </a:rPr>
              <a:t>72–0</a:t>
            </a:r>
            <a:r>
              <a:rPr lang="cs-CZ" altLang="cs-CZ" sz="1200">
                <a:solidFill>
                  <a:srgbClr val="000000"/>
                </a:solidFill>
                <a:latin typeface="Calibri" pitchFamily="34" charset="0"/>
                <a:ea typeface="ＭＳ Ｐゴシック" pitchFamily="34" charset="-128"/>
              </a:rPr>
              <a:t>,</a:t>
            </a:r>
            <a:r>
              <a:rPr lang="en-US" altLang="cs-CZ" sz="1200">
                <a:solidFill>
                  <a:srgbClr val="000000"/>
                </a:solidFill>
                <a:latin typeface="Calibri" pitchFamily="34" charset="0"/>
                <a:ea typeface="ＭＳ Ｐゴシック" pitchFamily="34" charset="-128"/>
              </a:rPr>
              <a:t>98; </a:t>
            </a:r>
          </a:p>
          <a:p>
            <a:pPr defTabSz="914400" fontAlgn="base">
              <a:spcBef>
                <a:spcPct val="0"/>
              </a:spcBef>
              <a:spcAft>
                <a:spcPct val="0"/>
              </a:spcAft>
            </a:pPr>
            <a:r>
              <a:rPr lang="en-US" altLang="cs-CZ" sz="1200">
                <a:solidFill>
                  <a:srgbClr val="000000"/>
                </a:solidFill>
                <a:latin typeface="Calibri" pitchFamily="34" charset="0"/>
                <a:ea typeface="ＭＳ Ｐゴシック" pitchFamily="34" charset="-128"/>
              </a:rPr>
              <a:t>p=0</a:t>
            </a:r>
            <a:r>
              <a:rPr lang="cs-CZ" altLang="cs-CZ" sz="1200">
                <a:solidFill>
                  <a:srgbClr val="000000"/>
                </a:solidFill>
                <a:latin typeface="Calibri" pitchFamily="34" charset="0"/>
                <a:ea typeface="ＭＳ Ｐゴシック" pitchFamily="34" charset="-128"/>
              </a:rPr>
              <a:t>,</a:t>
            </a:r>
            <a:r>
              <a:rPr lang="en-US" altLang="cs-CZ" sz="1200">
                <a:solidFill>
                  <a:srgbClr val="000000"/>
                </a:solidFill>
                <a:latin typeface="Calibri" pitchFamily="34" charset="0"/>
                <a:ea typeface="ＭＳ Ｐゴシック" pitchFamily="34" charset="-128"/>
              </a:rPr>
              <a:t>027</a:t>
            </a:r>
            <a:r>
              <a:rPr lang="en-GB" altLang="cs-CZ" sz="1200">
                <a:solidFill>
                  <a:srgbClr val="000000"/>
                </a:solidFill>
                <a:latin typeface="Calibri" pitchFamily="34" charset="0"/>
                <a:ea typeface="ＭＳ Ｐゴシック" pitchFamily="34" charset="-128"/>
              </a:rPr>
              <a:t> </a:t>
            </a:r>
            <a:endParaRPr lang="en-GB" altLang="cs-CZ" sz="1200" baseline="30000">
              <a:solidFill>
                <a:srgbClr val="000000"/>
              </a:solidFill>
              <a:latin typeface="Calibri" pitchFamily="34" charset="0"/>
              <a:ea typeface="ＭＳ Ｐゴシック" pitchFamily="34" charset="-128"/>
            </a:endParaRPr>
          </a:p>
        </p:txBody>
      </p:sp>
      <p:cxnSp>
        <p:nvCxnSpPr>
          <p:cNvPr id="46" name="Straight Connector 45"/>
          <p:cNvCxnSpPr/>
          <p:nvPr/>
        </p:nvCxnSpPr>
        <p:spPr>
          <a:xfrm>
            <a:off x="1954213" y="1443040"/>
            <a:ext cx="0" cy="1889522"/>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a:off x="1892300" y="3294460"/>
            <a:ext cx="4910138" cy="0"/>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nvGrpSpPr>
          <p:cNvPr id="61449" name="Group 47"/>
          <p:cNvGrpSpPr>
            <a:grpSpLocks/>
          </p:cNvGrpSpPr>
          <p:nvPr/>
        </p:nvGrpSpPr>
        <p:grpSpPr bwMode="auto">
          <a:xfrm>
            <a:off x="1892300" y="1446612"/>
            <a:ext cx="63500" cy="1477565"/>
            <a:chOff x="1892300" y="3158068"/>
            <a:chExt cx="4910667" cy="1971040"/>
          </a:xfrm>
        </p:grpSpPr>
        <p:cxnSp>
          <p:nvCxnSpPr>
            <p:cNvPr id="49" name="Straight Connector 48"/>
            <p:cNvCxnSpPr/>
            <p:nvPr/>
          </p:nvCxnSpPr>
          <p:spPr>
            <a:xfrm>
              <a:off x="1892300" y="5129108"/>
              <a:ext cx="4910667" cy="0"/>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1892300" y="4636745"/>
              <a:ext cx="4910667" cy="0"/>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1892300" y="4144382"/>
              <a:ext cx="4910667" cy="0"/>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a:off x="1892300" y="3650431"/>
              <a:ext cx="4910667" cy="0"/>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a:off x="1892300" y="3158068"/>
              <a:ext cx="4910667" cy="0"/>
            </a:xfrm>
            <a:prstGeom prst="line">
              <a:avLst/>
            </a:pr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61450" name="Rectangle 8"/>
          <p:cNvSpPr>
            <a:spLocks noChangeArrowheads="1"/>
          </p:cNvSpPr>
          <p:nvPr/>
        </p:nvSpPr>
        <p:spPr bwMode="auto">
          <a:xfrm>
            <a:off x="2024066" y="3506779"/>
            <a:ext cx="47323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cs-CZ" altLang="cs-CZ" sz="1600">
                <a:solidFill>
                  <a:srgbClr val="000000"/>
                </a:solidFill>
                <a:latin typeface="Calibri" pitchFamily="34" charset="0"/>
                <a:ea typeface="ＭＳ Ｐゴシック" pitchFamily="34" charset="-128"/>
              </a:rPr>
              <a:t>Doba od randomizace (měsíce</a:t>
            </a:r>
            <a:r>
              <a:rPr lang="en-US" altLang="cs-CZ" sz="1600">
                <a:solidFill>
                  <a:srgbClr val="000000"/>
                </a:solidFill>
                <a:latin typeface="Calibri" pitchFamily="34" charset="0"/>
                <a:ea typeface="ＭＳ Ｐゴシック" pitchFamily="34" charset="-128"/>
              </a:rPr>
              <a:t>)</a:t>
            </a:r>
            <a:endParaRPr lang="en-GB" altLang="cs-CZ" sz="1600" baseline="30000">
              <a:solidFill>
                <a:srgbClr val="000000"/>
              </a:solidFill>
              <a:latin typeface="Calibri" pitchFamily="34" charset="0"/>
              <a:ea typeface="ＭＳ Ｐゴシック" pitchFamily="34" charset="-128"/>
            </a:endParaRPr>
          </a:p>
        </p:txBody>
      </p:sp>
      <p:grpSp>
        <p:nvGrpSpPr>
          <p:cNvPr id="61451" name="Group 54"/>
          <p:cNvGrpSpPr>
            <a:grpSpLocks/>
          </p:cNvGrpSpPr>
          <p:nvPr/>
        </p:nvGrpSpPr>
        <p:grpSpPr bwMode="auto">
          <a:xfrm>
            <a:off x="2762250" y="3290890"/>
            <a:ext cx="4038600" cy="41672"/>
            <a:chOff x="2762175" y="3153667"/>
            <a:chExt cx="4039306" cy="2520280"/>
          </a:xfrm>
        </p:grpSpPr>
        <p:cxnSp>
          <p:nvCxnSpPr>
            <p:cNvPr id="56" name="Straight Connector 55"/>
            <p:cNvCxnSpPr/>
            <p:nvPr/>
          </p:nvCxnSpPr>
          <p:spPr>
            <a:xfrm>
              <a:off x="2762175" y="3153667"/>
              <a:ext cx="0" cy="2520280"/>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3570354" y="3153667"/>
              <a:ext cx="0" cy="2520280"/>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4378533" y="3153667"/>
              <a:ext cx="0" cy="2520280"/>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a:off x="5185123" y="3153667"/>
              <a:ext cx="0" cy="2520280"/>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5993303" y="3153667"/>
              <a:ext cx="0" cy="2520280"/>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6801481" y="3153667"/>
              <a:ext cx="0" cy="2520280"/>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sp>
        <p:nvSpPr>
          <p:cNvPr id="61452" name="Rectangle 8"/>
          <p:cNvSpPr>
            <a:spLocks noChangeArrowheads="1"/>
          </p:cNvSpPr>
          <p:nvPr/>
        </p:nvSpPr>
        <p:spPr bwMode="auto">
          <a:xfrm>
            <a:off x="5765800" y="3258446"/>
            <a:ext cx="457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400">
                <a:solidFill>
                  <a:srgbClr val="000000"/>
                </a:solidFill>
                <a:latin typeface="Calibri" pitchFamily="34" charset="0"/>
                <a:ea typeface="ＭＳ Ｐゴシック" pitchFamily="34" charset="-128"/>
              </a:rPr>
              <a:t>30</a:t>
            </a:r>
            <a:endParaRPr lang="en-GB" altLang="cs-CZ" sz="1400" baseline="30000">
              <a:solidFill>
                <a:srgbClr val="000000"/>
              </a:solidFill>
              <a:latin typeface="Calibri" pitchFamily="34" charset="0"/>
              <a:ea typeface="ＭＳ Ｐゴシック" pitchFamily="34" charset="-128"/>
            </a:endParaRPr>
          </a:p>
        </p:txBody>
      </p:sp>
      <p:sp>
        <p:nvSpPr>
          <p:cNvPr id="61453" name="Rectangle 8"/>
          <p:cNvSpPr>
            <a:spLocks noChangeArrowheads="1"/>
          </p:cNvSpPr>
          <p:nvPr/>
        </p:nvSpPr>
        <p:spPr bwMode="auto">
          <a:xfrm>
            <a:off x="4957763" y="3258446"/>
            <a:ext cx="4556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400">
                <a:solidFill>
                  <a:srgbClr val="000000"/>
                </a:solidFill>
                <a:latin typeface="Calibri" pitchFamily="34" charset="0"/>
                <a:ea typeface="ＭＳ Ｐゴシック" pitchFamily="34" charset="-128"/>
              </a:rPr>
              <a:t>24</a:t>
            </a:r>
            <a:endParaRPr lang="en-GB" altLang="cs-CZ" sz="1400" baseline="30000">
              <a:solidFill>
                <a:srgbClr val="000000"/>
              </a:solidFill>
              <a:latin typeface="Calibri" pitchFamily="34" charset="0"/>
              <a:ea typeface="ＭＳ Ｐゴシック" pitchFamily="34" charset="-128"/>
            </a:endParaRPr>
          </a:p>
        </p:txBody>
      </p:sp>
      <p:sp>
        <p:nvSpPr>
          <p:cNvPr id="61454" name="Rectangle 8"/>
          <p:cNvSpPr>
            <a:spLocks noChangeArrowheads="1"/>
          </p:cNvSpPr>
          <p:nvPr/>
        </p:nvSpPr>
        <p:spPr bwMode="auto">
          <a:xfrm>
            <a:off x="4148138" y="3258446"/>
            <a:ext cx="457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400">
                <a:solidFill>
                  <a:srgbClr val="000000"/>
                </a:solidFill>
                <a:latin typeface="Calibri" pitchFamily="34" charset="0"/>
                <a:ea typeface="ＭＳ Ｐゴシック" pitchFamily="34" charset="-128"/>
              </a:rPr>
              <a:t>18</a:t>
            </a:r>
            <a:endParaRPr lang="en-GB" altLang="cs-CZ" sz="1400" baseline="30000">
              <a:solidFill>
                <a:srgbClr val="000000"/>
              </a:solidFill>
              <a:latin typeface="Calibri" pitchFamily="34" charset="0"/>
              <a:ea typeface="ＭＳ Ｐゴシック" pitchFamily="34" charset="-128"/>
            </a:endParaRPr>
          </a:p>
        </p:txBody>
      </p:sp>
      <p:sp>
        <p:nvSpPr>
          <p:cNvPr id="61455" name="Rectangle 8"/>
          <p:cNvSpPr>
            <a:spLocks noChangeArrowheads="1"/>
          </p:cNvSpPr>
          <p:nvPr/>
        </p:nvSpPr>
        <p:spPr bwMode="auto">
          <a:xfrm>
            <a:off x="3340100" y="3258446"/>
            <a:ext cx="457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400">
                <a:solidFill>
                  <a:srgbClr val="000000"/>
                </a:solidFill>
                <a:latin typeface="Calibri" pitchFamily="34" charset="0"/>
                <a:ea typeface="ＭＳ Ｐゴシック" pitchFamily="34" charset="-128"/>
              </a:rPr>
              <a:t>12</a:t>
            </a:r>
            <a:endParaRPr lang="en-GB" altLang="cs-CZ" sz="1400" baseline="30000">
              <a:solidFill>
                <a:srgbClr val="000000"/>
              </a:solidFill>
              <a:latin typeface="Calibri" pitchFamily="34" charset="0"/>
              <a:ea typeface="ＭＳ Ｐゴシック" pitchFamily="34" charset="-128"/>
            </a:endParaRPr>
          </a:p>
        </p:txBody>
      </p:sp>
      <p:sp>
        <p:nvSpPr>
          <p:cNvPr id="61456" name="Rectangle 8"/>
          <p:cNvSpPr>
            <a:spLocks noChangeArrowheads="1"/>
          </p:cNvSpPr>
          <p:nvPr/>
        </p:nvSpPr>
        <p:spPr bwMode="auto">
          <a:xfrm>
            <a:off x="2532063" y="3258446"/>
            <a:ext cx="4556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400">
                <a:solidFill>
                  <a:srgbClr val="000000"/>
                </a:solidFill>
                <a:latin typeface="Calibri" pitchFamily="34" charset="0"/>
                <a:ea typeface="ＭＳ Ｐゴシック" pitchFamily="34" charset="-128"/>
              </a:rPr>
              <a:t>6</a:t>
            </a:r>
            <a:endParaRPr lang="en-GB" altLang="cs-CZ" sz="1400" baseline="30000">
              <a:solidFill>
                <a:srgbClr val="000000"/>
              </a:solidFill>
              <a:latin typeface="Calibri" pitchFamily="34" charset="0"/>
              <a:ea typeface="ＭＳ Ｐゴシック" pitchFamily="34" charset="-128"/>
            </a:endParaRPr>
          </a:p>
        </p:txBody>
      </p:sp>
      <p:sp>
        <p:nvSpPr>
          <p:cNvPr id="61457" name="Rectangle 8"/>
          <p:cNvSpPr>
            <a:spLocks noChangeArrowheads="1"/>
          </p:cNvSpPr>
          <p:nvPr/>
        </p:nvSpPr>
        <p:spPr bwMode="auto">
          <a:xfrm>
            <a:off x="1722438" y="3258446"/>
            <a:ext cx="457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400">
                <a:solidFill>
                  <a:srgbClr val="000000"/>
                </a:solidFill>
                <a:latin typeface="Calibri" pitchFamily="34" charset="0"/>
                <a:ea typeface="ＭＳ Ｐゴシック" pitchFamily="34" charset="-128"/>
              </a:rPr>
              <a:t>0</a:t>
            </a:r>
            <a:endParaRPr lang="en-GB" altLang="cs-CZ" sz="1400" baseline="30000">
              <a:solidFill>
                <a:srgbClr val="000000"/>
              </a:solidFill>
              <a:latin typeface="Calibri" pitchFamily="34" charset="0"/>
              <a:ea typeface="ＭＳ Ｐゴシック" pitchFamily="34" charset="-128"/>
            </a:endParaRPr>
          </a:p>
        </p:txBody>
      </p:sp>
      <p:sp>
        <p:nvSpPr>
          <p:cNvPr id="61458" name="Rectangle 8"/>
          <p:cNvSpPr>
            <a:spLocks noChangeArrowheads="1"/>
          </p:cNvSpPr>
          <p:nvPr/>
        </p:nvSpPr>
        <p:spPr bwMode="auto">
          <a:xfrm>
            <a:off x="6573838" y="3258446"/>
            <a:ext cx="457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en-US" altLang="cs-CZ" sz="1400">
                <a:solidFill>
                  <a:srgbClr val="000000"/>
                </a:solidFill>
                <a:latin typeface="Calibri" pitchFamily="34" charset="0"/>
                <a:ea typeface="ＭＳ Ｐゴシック" pitchFamily="34" charset="-128"/>
              </a:rPr>
              <a:t>36</a:t>
            </a:r>
            <a:endParaRPr lang="en-GB" altLang="cs-CZ" sz="1400" baseline="30000">
              <a:solidFill>
                <a:srgbClr val="000000"/>
              </a:solidFill>
              <a:latin typeface="Calibri" pitchFamily="34" charset="0"/>
              <a:ea typeface="ＭＳ Ｐゴシック" pitchFamily="34" charset="-128"/>
            </a:endParaRPr>
          </a:p>
        </p:txBody>
      </p:sp>
      <p:sp>
        <p:nvSpPr>
          <p:cNvPr id="61459" name="Rectangle 8"/>
          <p:cNvSpPr>
            <a:spLocks noChangeArrowheads="1"/>
          </p:cNvSpPr>
          <p:nvPr/>
        </p:nvSpPr>
        <p:spPr bwMode="auto">
          <a:xfrm>
            <a:off x="1498600" y="1310881"/>
            <a:ext cx="457200" cy="279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r" defTabSz="914400" fontAlgn="base">
              <a:spcBef>
                <a:spcPct val="0"/>
              </a:spcBef>
              <a:spcAft>
                <a:spcPts val="2200"/>
              </a:spcAft>
            </a:pPr>
            <a:r>
              <a:rPr lang="en-US" altLang="cs-CZ" sz="1400" dirty="0">
                <a:solidFill>
                  <a:srgbClr val="000000"/>
                </a:solidFill>
                <a:latin typeface="Calibri" pitchFamily="34" charset="0"/>
                <a:ea typeface="ＭＳ Ｐゴシック" pitchFamily="34" charset="-128"/>
              </a:rPr>
              <a:t>25</a:t>
            </a:r>
          </a:p>
          <a:p>
            <a:pPr algn="r" defTabSz="914400" fontAlgn="base">
              <a:spcBef>
                <a:spcPct val="0"/>
              </a:spcBef>
              <a:spcAft>
                <a:spcPts val="2200"/>
              </a:spcAft>
            </a:pPr>
            <a:r>
              <a:rPr lang="en-US" altLang="cs-CZ" sz="1400" dirty="0">
                <a:solidFill>
                  <a:srgbClr val="000000"/>
                </a:solidFill>
                <a:latin typeface="Calibri" pitchFamily="34" charset="0"/>
                <a:ea typeface="ＭＳ Ｐゴシック" pitchFamily="34" charset="-128"/>
              </a:rPr>
              <a:t>20</a:t>
            </a:r>
          </a:p>
          <a:p>
            <a:pPr algn="r" defTabSz="914400" fontAlgn="base">
              <a:spcBef>
                <a:spcPct val="0"/>
              </a:spcBef>
              <a:spcAft>
                <a:spcPts val="2200"/>
              </a:spcAft>
            </a:pPr>
            <a:r>
              <a:rPr lang="en-US" altLang="cs-CZ" sz="1400" dirty="0">
                <a:solidFill>
                  <a:srgbClr val="000000"/>
                </a:solidFill>
                <a:latin typeface="Calibri" pitchFamily="34" charset="0"/>
                <a:ea typeface="ＭＳ Ｐゴシック" pitchFamily="34" charset="-128"/>
              </a:rPr>
              <a:t>15</a:t>
            </a:r>
          </a:p>
          <a:p>
            <a:pPr algn="r" defTabSz="914400" fontAlgn="base">
              <a:spcBef>
                <a:spcPct val="0"/>
              </a:spcBef>
              <a:spcAft>
                <a:spcPts val="2200"/>
              </a:spcAft>
            </a:pPr>
            <a:r>
              <a:rPr lang="en-US" altLang="cs-CZ" sz="1400" dirty="0">
                <a:solidFill>
                  <a:srgbClr val="000000"/>
                </a:solidFill>
                <a:latin typeface="Calibri" pitchFamily="34" charset="0"/>
                <a:ea typeface="ＭＳ Ｐゴシック" pitchFamily="34" charset="-128"/>
              </a:rPr>
              <a:t>10</a:t>
            </a:r>
          </a:p>
          <a:p>
            <a:pPr algn="r" defTabSz="914400" fontAlgn="base">
              <a:spcBef>
                <a:spcPct val="0"/>
              </a:spcBef>
              <a:spcAft>
                <a:spcPts val="2200"/>
              </a:spcAft>
            </a:pPr>
            <a:endParaRPr lang="en-US" altLang="cs-CZ" sz="1400" dirty="0">
              <a:solidFill>
                <a:srgbClr val="000000"/>
              </a:solidFill>
              <a:latin typeface="Calibri" pitchFamily="34" charset="0"/>
              <a:ea typeface="ＭＳ Ｐゴシック" pitchFamily="34" charset="-128"/>
            </a:endParaRPr>
          </a:p>
          <a:p>
            <a:pPr algn="r" defTabSz="914400" fontAlgn="base">
              <a:spcBef>
                <a:spcPct val="0"/>
              </a:spcBef>
              <a:spcAft>
                <a:spcPts val="2200"/>
              </a:spcAft>
            </a:pPr>
            <a:endParaRPr lang="en-GB" altLang="cs-CZ" sz="1400" dirty="0">
              <a:solidFill>
                <a:srgbClr val="000000"/>
              </a:solidFill>
              <a:latin typeface="Calibri" pitchFamily="34" charset="0"/>
              <a:ea typeface="ＭＳ Ｐゴシック" pitchFamily="34" charset="-128"/>
            </a:endParaRPr>
          </a:p>
        </p:txBody>
      </p:sp>
      <p:sp>
        <p:nvSpPr>
          <p:cNvPr id="61460" name="Rectangle 8"/>
          <p:cNvSpPr>
            <a:spLocks noChangeArrowheads="1"/>
          </p:cNvSpPr>
          <p:nvPr/>
        </p:nvSpPr>
        <p:spPr bwMode="auto">
          <a:xfrm rot="-5400000">
            <a:off x="324447" y="2194920"/>
            <a:ext cx="187047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defTabSz="914400" fontAlgn="base">
              <a:spcBef>
                <a:spcPct val="0"/>
              </a:spcBef>
              <a:spcAft>
                <a:spcPct val="0"/>
              </a:spcAft>
            </a:pPr>
            <a:r>
              <a:rPr lang="cs-CZ" altLang="cs-CZ" sz="1600">
                <a:solidFill>
                  <a:srgbClr val="000000"/>
                </a:solidFill>
                <a:latin typeface="Calibri" pitchFamily="34" charset="0"/>
                <a:ea typeface="ＭＳ Ｐゴシック" pitchFamily="34" charset="-128"/>
              </a:rPr>
              <a:t>Podíl případů</a:t>
            </a:r>
            <a:r>
              <a:rPr lang="en-US" altLang="cs-CZ" sz="1600">
                <a:solidFill>
                  <a:srgbClr val="000000"/>
                </a:solidFill>
                <a:latin typeface="Calibri" pitchFamily="34" charset="0"/>
                <a:ea typeface="ＭＳ Ｐゴシック" pitchFamily="34" charset="-128"/>
              </a:rPr>
              <a:t> (%)</a:t>
            </a:r>
            <a:endParaRPr lang="en-GB" altLang="cs-CZ" sz="1600" baseline="30000">
              <a:solidFill>
                <a:srgbClr val="000000"/>
              </a:solidFill>
              <a:latin typeface="Calibri" pitchFamily="34" charset="0"/>
              <a:ea typeface="ＭＳ Ｐゴシック" pitchFamily="34" charset="-128"/>
            </a:endParaRPr>
          </a:p>
        </p:txBody>
      </p:sp>
      <p:sp>
        <p:nvSpPr>
          <p:cNvPr id="61461" name="Rectangle 8"/>
          <p:cNvSpPr>
            <a:spLocks noChangeArrowheads="1"/>
          </p:cNvSpPr>
          <p:nvPr/>
        </p:nvSpPr>
        <p:spPr bwMode="auto">
          <a:xfrm>
            <a:off x="2573343" y="1337531"/>
            <a:ext cx="3462337" cy="732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400" fontAlgn="base">
              <a:lnSpc>
                <a:spcPct val="130000"/>
              </a:lnSpc>
              <a:spcBef>
                <a:spcPct val="0"/>
              </a:spcBef>
              <a:spcAft>
                <a:spcPct val="0"/>
              </a:spcAft>
            </a:pPr>
            <a:r>
              <a:rPr lang="en-US" altLang="cs-CZ" sz="1600">
                <a:solidFill>
                  <a:srgbClr val="000000"/>
                </a:solidFill>
                <a:latin typeface="Calibri" pitchFamily="34" charset="0"/>
                <a:ea typeface="ＭＳ Ｐゴシック" pitchFamily="34" charset="-128"/>
              </a:rPr>
              <a:t>Pioglitazon (301 </a:t>
            </a:r>
            <a:r>
              <a:rPr lang="cs-CZ" altLang="cs-CZ" sz="1600">
                <a:solidFill>
                  <a:srgbClr val="000000"/>
                </a:solidFill>
                <a:latin typeface="Calibri" pitchFamily="34" charset="0"/>
                <a:ea typeface="ＭＳ Ｐゴシック" pitchFamily="34" charset="-128"/>
              </a:rPr>
              <a:t>případů</a:t>
            </a:r>
            <a:r>
              <a:rPr lang="en-US" altLang="cs-CZ" sz="1600">
                <a:solidFill>
                  <a:srgbClr val="000000"/>
                </a:solidFill>
                <a:latin typeface="Calibri" pitchFamily="34" charset="0"/>
                <a:ea typeface="ＭＳ Ｐゴシック" pitchFamily="34" charset="-128"/>
              </a:rPr>
              <a:t>)</a:t>
            </a:r>
          </a:p>
          <a:p>
            <a:pPr defTabSz="914400" fontAlgn="base">
              <a:lnSpc>
                <a:spcPct val="130000"/>
              </a:lnSpc>
              <a:spcBef>
                <a:spcPct val="0"/>
              </a:spcBef>
              <a:spcAft>
                <a:spcPct val="0"/>
              </a:spcAft>
            </a:pPr>
            <a:r>
              <a:rPr lang="en-US" altLang="cs-CZ" sz="1600">
                <a:solidFill>
                  <a:srgbClr val="000000"/>
                </a:solidFill>
                <a:latin typeface="Calibri" pitchFamily="34" charset="0"/>
                <a:ea typeface="ＭＳ Ｐゴシック" pitchFamily="34" charset="-128"/>
              </a:rPr>
              <a:t>Placebo (358 </a:t>
            </a:r>
            <a:r>
              <a:rPr lang="cs-CZ" altLang="cs-CZ" sz="1600">
                <a:solidFill>
                  <a:srgbClr val="000000"/>
                </a:solidFill>
                <a:latin typeface="Calibri" pitchFamily="34" charset="0"/>
                <a:ea typeface="ＭＳ Ｐゴシック" pitchFamily="34" charset="-128"/>
              </a:rPr>
              <a:t>případů</a:t>
            </a:r>
            <a:r>
              <a:rPr lang="en-US" altLang="cs-CZ" sz="1600">
                <a:solidFill>
                  <a:srgbClr val="000000"/>
                </a:solidFill>
                <a:latin typeface="Calibri" pitchFamily="34" charset="0"/>
                <a:ea typeface="ＭＳ Ｐゴシック" pitchFamily="34" charset="-128"/>
              </a:rPr>
              <a:t>)</a:t>
            </a:r>
            <a:endParaRPr lang="en-GB" altLang="cs-CZ" sz="1600">
              <a:solidFill>
                <a:srgbClr val="000000"/>
              </a:solidFill>
              <a:latin typeface="Calibri" pitchFamily="34" charset="0"/>
              <a:ea typeface="ＭＳ Ｐゴシック" pitchFamily="34" charset="-128"/>
            </a:endParaRPr>
          </a:p>
        </p:txBody>
      </p:sp>
      <p:sp>
        <p:nvSpPr>
          <p:cNvPr id="72" name="Freeform 71"/>
          <p:cNvSpPr/>
          <p:nvPr/>
        </p:nvSpPr>
        <p:spPr>
          <a:xfrm>
            <a:off x="1960563" y="2370537"/>
            <a:ext cx="4851400" cy="916781"/>
          </a:xfrm>
          <a:custGeom>
            <a:avLst/>
            <a:gdLst>
              <a:gd name="connsiteX0" fmla="*/ 4851400 w 4851400"/>
              <a:gd name="connsiteY0" fmla="*/ 0 h 1223433"/>
              <a:gd name="connsiteX1" fmla="*/ 4423834 w 4851400"/>
              <a:gd name="connsiteY1" fmla="*/ 127000 h 1223433"/>
              <a:gd name="connsiteX2" fmla="*/ 4021667 w 4851400"/>
              <a:gd name="connsiteY2" fmla="*/ 224366 h 1223433"/>
              <a:gd name="connsiteX3" fmla="*/ 3475567 w 4851400"/>
              <a:gd name="connsiteY3" fmla="*/ 355600 h 1223433"/>
              <a:gd name="connsiteX4" fmla="*/ 3179234 w 4851400"/>
              <a:gd name="connsiteY4" fmla="*/ 423333 h 1223433"/>
              <a:gd name="connsiteX5" fmla="*/ 3031067 w 4851400"/>
              <a:gd name="connsiteY5" fmla="*/ 444500 h 1223433"/>
              <a:gd name="connsiteX6" fmla="*/ 2768600 w 4851400"/>
              <a:gd name="connsiteY6" fmla="*/ 541866 h 1223433"/>
              <a:gd name="connsiteX7" fmla="*/ 2578100 w 4851400"/>
              <a:gd name="connsiteY7" fmla="*/ 575733 h 1223433"/>
              <a:gd name="connsiteX8" fmla="*/ 2459567 w 4851400"/>
              <a:gd name="connsiteY8" fmla="*/ 584200 h 1223433"/>
              <a:gd name="connsiteX9" fmla="*/ 2277534 w 4851400"/>
              <a:gd name="connsiteY9" fmla="*/ 647700 h 1223433"/>
              <a:gd name="connsiteX10" fmla="*/ 1921934 w 4851400"/>
              <a:gd name="connsiteY10" fmla="*/ 728133 h 1223433"/>
              <a:gd name="connsiteX11" fmla="*/ 1494367 w 4851400"/>
              <a:gd name="connsiteY11" fmla="*/ 825500 h 1223433"/>
              <a:gd name="connsiteX12" fmla="*/ 1092200 w 4851400"/>
              <a:gd name="connsiteY12" fmla="*/ 927100 h 1223433"/>
              <a:gd name="connsiteX13" fmla="*/ 774700 w 4851400"/>
              <a:gd name="connsiteY13" fmla="*/ 986366 h 1223433"/>
              <a:gd name="connsiteX14" fmla="*/ 609600 w 4851400"/>
              <a:gd name="connsiteY14" fmla="*/ 1032933 h 1223433"/>
              <a:gd name="connsiteX15" fmla="*/ 309034 w 4851400"/>
              <a:gd name="connsiteY15" fmla="*/ 1168400 h 1223433"/>
              <a:gd name="connsiteX16" fmla="*/ 135467 w 4851400"/>
              <a:gd name="connsiteY16" fmla="*/ 1210733 h 1223433"/>
              <a:gd name="connsiteX17" fmla="*/ 0 w 4851400"/>
              <a:gd name="connsiteY17" fmla="*/ 1223433 h 122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51400" h="1223433">
                <a:moveTo>
                  <a:pt x="4851400" y="0"/>
                </a:moveTo>
                <a:cubicBezTo>
                  <a:pt x="4706761" y="44803"/>
                  <a:pt x="4562123" y="89606"/>
                  <a:pt x="4423834" y="127000"/>
                </a:cubicBezTo>
                <a:cubicBezTo>
                  <a:pt x="4285545" y="164394"/>
                  <a:pt x="4021667" y="224366"/>
                  <a:pt x="4021667" y="224366"/>
                </a:cubicBezTo>
                <a:lnTo>
                  <a:pt x="3475567" y="355600"/>
                </a:lnTo>
                <a:lnTo>
                  <a:pt x="3179234" y="423333"/>
                </a:lnTo>
                <a:cubicBezTo>
                  <a:pt x="3105151" y="438150"/>
                  <a:pt x="3099506" y="424745"/>
                  <a:pt x="3031067" y="444500"/>
                </a:cubicBezTo>
                <a:cubicBezTo>
                  <a:pt x="2962628" y="464256"/>
                  <a:pt x="2844094" y="519994"/>
                  <a:pt x="2768600" y="541866"/>
                </a:cubicBezTo>
                <a:cubicBezTo>
                  <a:pt x="2693105" y="563738"/>
                  <a:pt x="2629605" y="568677"/>
                  <a:pt x="2578100" y="575733"/>
                </a:cubicBezTo>
                <a:cubicBezTo>
                  <a:pt x="2526595" y="582789"/>
                  <a:pt x="2509661" y="572206"/>
                  <a:pt x="2459567" y="584200"/>
                </a:cubicBezTo>
                <a:cubicBezTo>
                  <a:pt x="2409473" y="596195"/>
                  <a:pt x="2367139" y="623711"/>
                  <a:pt x="2277534" y="647700"/>
                </a:cubicBezTo>
                <a:cubicBezTo>
                  <a:pt x="2187928" y="671689"/>
                  <a:pt x="1921934" y="728133"/>
                  <a:pt x="1921934" y="728133"/>
                </a:cubicBezTo>
                <a:lnTo>
                  <a:pt x="1494367" y="825500"/>
                </a:lnTo>
                <a:cubicBezTo>
                  <a:pt x="1356078" y="858661"/>
                  <a:pt x="1212144" y="900289"/>
                  <a:pt x="1092200" y="927100"/>
                </a:cubicBezTo>
                <a:cubicBezTo>
                  <a:pt x="972256" y="953911"/>
                  <a:pt x="855133" y="968727"/>
                  <a:pt x="774700" y="986366"/>
                </a:cubicBezTo>
                <a:cubicBezTo>
                  <a:pt x="694267" y="1004005"/>
                  <a:pt x="687211" y="1002594"/>
                  <a:pt x="609600" y="1032933"/>
                </a:cubicBezTo>
                <a:cubicBezTo>
                  <a:pt x="531989" y="1063272"/>
                  <a:pt x="388056" y="1138767"/>
                  <a:pt x="309034" y="1168400"/>
                </a:cubicBezTo>
                <a:cubicBezTo>
                  <a:pt x="230012" y="1198033"/>
                  <a:pt x="186973" y="1201561"/>
                  <a:pt x="135467" y="1210733"/>
                </a:cubicBezTo>
                <a:cubicBezTo>
                  <a:pt x="83961" y="1219905"/>
                  <a:pt x="41980" y="1221669"/>
                  <a:pt x="0" y="1223433"/>
                </a:cubicBezTo>
              </a:path>
            </a:pathLst>
          </a:custGeom>
          <a:ln w="28575" cmpd="sng">
            <a:solidFill>
              <a:srgbClr val="7A71B0"/>
            </a:solidFill>
          </a:ln>
          <a:effectLst/>
        </p:spPr>
        <p:style>
          <a:lnRef idx="2">
            <a:schemeClr val="accent1"/>
          </a:lnRef>
          <a:fillRef idx="0">
            <a:schemeClr val="accent1"/>
          </a:fillRef>
          <a:effectRef idx="1">
            <a:schemeClr val="accent1"/>
          </a:effectRef>
          <a:fontRef idx="minor">
            <a:schemeClr val="tx1"/>
          </a:fontRef>
        </p:style>
        <p:txBody>
          <a:bodyPr anchor="ctr"/>
          <a:lstStyle/>
          <a:p>
            <a:pPr algn="ctr" defTabSz="914400">
              <a:defRPr/>
            </a:pPr>
            <a:endParaRPr lang="en-US" sz="1800" dirty="0">
              <a:solidFill>
                <a:prstClr val="black"/>
              </a:solidFill>
            </a:endParaRPr>
          </a:p>
        </p:txBody>
      </p:sp>
      <p:cxnSp>
        <p:nvCxnSpPr>
          <p:cNvPr id="73" name="Straight Connector 72"/>
          <p:cNvCxnSpPr/>
          <p:nvPr/>
        </p:nvCxnSpPr>
        <p:spPr>
          <a:xfrm flipH="1">
            <a:off x="2217738" y="1624013"/>
            <a:ext cx="373062" cy="0"/>
          </a:xfrm>
          <a:prstGeom prst="line">
            <a:avLst/>
          </a:prstGeom>
          <a:ln w="28575" cmpd="sng">
            <a:solidFill>
              <a:srgbClr val="7A71B0"/>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flipH="1">
            <a:off x="2217738" y="1833562"/>
            <a:ext cx="373062" cy="0"/>
          </a:xfrm>
          <a:prstGeom prst="line">
            <a:avLst/>
          </a:prstGeom>
          <a:ln w="2857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61465" name="TextBox 75"/>
          <p:cNvSpPr txBox="1">
            <a:spLocks noChangeArrowheads="1"/>
          </p:cNvSpPr>
          <p:nvPr/>
        </p:nvSpPr>
        <p:spPr bwMode="auto">
          <a:xfrm>
            <a:off x="6932618" y="2064546"/>
            <a:ext cx="129857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914400" fontAlgn="base">
              <a:spcBef>
                <a:spcPct val="0"/>
              </a:spcBef>
              <a:spcAft>
                <a:spcPct val="0"/>
              </a:spcAft>
            </a:pPr>
            <a:r>
              <a:rPr lang="en-GB" altLang="cs-CZ" sz="1600" b="1">
                <a:solidFill>
                  <a:srgbClr val="000000"/>
                </a:solidFill>
                <a:latin typeface="Calibri" pitchFamily="34" charset="0"/>
                <a:ea typeface="ＭＳ Ｐゴシック" pitchFamily="34" charset="-128"/>
              </a:rPr>
              <a:t>16</a:t>
            </a:r>
            <a:r>
              <a:rPr lang="cs-CZ" altLang="cs-CZ" sz="1600" b="1">
                <a:solidFill>
                  <a:srgbClr val="000000"/>
                </a:solidFill>
                <a:latin typeface="Calibri" pitchFamily="34" charset="0"/>
                <a:ea typeface="ＭＳ Ｐゴシック" pitchFamily="34" charset="-128"/>
              </a:rPr>
              <a:t> </a:t>
            </a:r>
            <a:r>
              <a:rPr lang="en-GB" altLang="cs-CZ" sz="1600" b="1">
                <a:solidFill>
                  <a:srgbClr val="000000"/>
                </a:solidFill>
                <a:latin typeface="Calibri" pitchFamily="34" charset="0"/>
                <a:ea typeface="ＭＳ Ｐゴシック" pitchFamily="34" charset="-128"/>
              </a:rPr>
              <a:t>% </a:t>
            </a:r>
            <a:r>
              <a:rPr lang="cs-CZ" altLang="cs-CZ" sz="1600" b="1">
                <a:solidFill>
                  <a:srgbClr val="000000"/>
                </a:solidFill>
                <a:latin typeface="Calibri" pitchFamily="34" charset="0"/>
                <a:ea typeface="ＭＳ Ｐゴシック" pitchFamily="34" charset="-128"/>
              </a:rPr>
              <a:t>snížení rizika</a:t>
            </a:r>
            <a:endParaRPr lang="en-GB" altLang="cs-CZ" sz="1600" b="1">
              <a:solidFill>
                <a:srgbClr val="000000"/>
              </a:solidFill>
              <a:latin typeface="Calibri" pitchFamily="34" charset="0"/>
              <a:ea typeface="ＭＳ Ｐゴシック" pitchFamily="34" charset="-128"/>
            </a:endParaRPr>
          </a:p>
        </p:txBody>
      </p:sp>
      <p:cxnSp>
        <p:nvCxnSpPr>
          <p:cNvPr id="39" name="Straight Arrow Connector 38"/>
          <p:cNvCxnSpPr/>
          <p:nvPr/>
        </p:nvCxnSpPr>
        <p:spPr>
          <a:xfrm>
            <a:off x="6907218" y="2191941"/>
            <a:ext cx="9525" cy="2286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7881861"/>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4" name="Text Placeholder 3"/>
          <p:cNvSpPr>
            <a:spLocks noGrp="1"/>
          </p:cNvSpPr>
          <p:nvPr>
            <p:ph type="body" sz="quarter" idx="10"/>
          </p:nvPr>
        </p:nvSpPr>
        <p:spPr>
          <a:xfrm>
            <a:off x="316801" y="4738417"/>
            <a:ext cx="8893874" cy="272850"/>
          </a:xfrm>
        </p:spPr>
        <p:txBody>
          <a:bodyPr/>
          <a:lstStyle/>
          <a:p>
            <a:r>
              <a:rPr lang="en-GB" dirty="0">
                <a:cs typeface="Arial" pitchFamily="34" charset="0"/>
              </a:rPr>
              <a:t>ACS, acute coronary syndrome; CI, confidence interval; CV, cardiovascular; HR, hazard ratio; MI, myocardial infarction; T2DM, type 2 diabetes; UA, unstable angina</a:t>
            </a:r>
          </a:p>
          <a:p>
            <a:r>
              <a:rPr lang="en-GB" dirty="0">
                <a:cs typeface="Arial" pitchFamily="34" charset="0"/>
              </a:rPr>
              <a:t>1. </a:t>
            </a:r>
            <a:r>
              <a:rPr lang="en-GB" dirty="0" err="1">
                <a:cs typeface="Arial" pitchFamily="34" charset="0"/>
              </a:rPr>
              <a:t>Sciria</a:t>
            </a:r>
            <a:r>
              <a:rPr lang="en-GB" dirty="0">
                <a:cs typeface="Arial" pitchFamily="34" charset="0"/>
              </a:rPr>
              <a:t> et al</a:t>
            </a:r>
            <a:r>
              <a:rPr lang="en-GB" i="1" dirty="0">
                <a:cs typeface="Arial" pitchFamily="34" charset="0"/>
              </a:rPr>
              <a:t>. N </a:t>
            </a:r>
            <a:r>
              <a:rPr lang="en-GB" i="1" dirty="0" err="1">
                <a:cs typeface="Arial" pitchFamily="34" charset="0"/>
              </a:rPr>
              <a:t>Engl</a:t>
            </a:r>
            <a:r>
              <a:rPr lang="en-GB" i="1" dirty="0">
                <a:cs typeface="Arial" pitchFamily="34" charset="0"/>
              </a:rPr>
              <a:t> J Med </a:t>
            </a:r>
            <a:r>
              <a:rPr lang="en-GB" dirty="0">
                <a:cs typeface="Arial" pitchFamily="34" charset="0"/>
              </a:rPr>
              <a:t>2013;369(14):1317–1326; 2. White et al.</a:t>
            </a:r>
            <a:r>
              <a:rPr lang="en-GB" i="1" dirty="0">
                <a:cs typeface="Arial" pitchFamily="34" charset="0"/>
              </a:rPr>
              <a:t> N </a:t>
            </a:r>
            <a:r>
              <a:rPr lang="en-GB" i="1" dirty="0" err="1">
                <a:cs typeface="Arial" pitchFamily="34" charset="0"/>
              </a:rPr>
              <a:t>Engl</a:t>
            </a:r>
            <a:r>
              <a:rPr lang="en-GB" i="1" dirty="0">
                <a:cs typeface="Arial" pitchFamily="34" charset="0"/>
              </a:rPr>
              <a:t> J Med </a:t>
            </a:r>
            <a:r>
              <a:rPr lang="en-GB" dirty="0">
                <a:cs typeface="Arial" pitchFamily="34" charset="0"/>
              </a:rPr>
              <a:t>2013;369(14):1327–1335; 3. </a:t>
            </a:r>
            <a:r>
              <a:rPr lang="en-GB" spc="-30" dirty="0">
                <a:ea typeface="MS PGothic" pitchFamily="34" charset="-128"/>
              </a:rPr>
              <a:t>Green et al</a:t>
            </a:r>
            <a:r>
              <a:rPr lang="en-GB" i="1" spc="-30" dirty="0">
                <a:ea typeface="MS PGothic" pitchFamily="34" charset="-128"/>
              </a:rPr>
              <a:t>. N </a:t>
            </a:r>
            <a:r>
              <a:rPr lang="en-GB" i="1" spc="-30" dirty="0" err="1">
                <a:ea typeface="MS PGothic" pitchFamily="34" charset="-128"/>
              </a:rPr>
              <a:t>Engl</a:t>
            </a:r>
            <a:r>
              <a:rPr lang="en-GB" i="1" spc="-30" dirty="0">
                <a:ea typeface="MS PGothic" pitchFamily="34" charset="-128"/>
              </a:rPr>
              <a:t> J Med </a:t>
            </a:r>
            <a:r>
              <a:rPr lang="en-GB" spc="-30" dirty="0">
                <a:ea typeface="MS PGothic" pitchFamily="34" charset="-128"/>
              </a:rPr>
              <a:t>2015;16;373(3):232-242 </a:t>
            </a:r>
            <a:endParaRPr lang="en-GB" dirty="0">
              <a:ea typeface="Verdana"/>
              <a:cs typeface="Verdana"/>
            </a:endParaRPr>
          </a:p>
        </p:txBody>
      </p:sp>
      <p:sp>
        <p:nvSpPr>
          <p:cNvPr id="6" name="Content Placeholder 5"/>
          <p:cNvSpPr>
            <a:spLocks noGrp="1"/>
          </p:cNvSpPr>
          <p:nvPr>
            <p:ph idx="1"/>
          </p:nvPr>
        </p:nvSpPr>
        <p:spPr/>
        <p:txBody>
          <a:bodyPr/>
          <a:lstStyle/>
          <a:p>
            <a:endParaRPr lang="en-GB" dirty="0">
              <a:ea typeface="Verdana"/>
              <a:cs typeface="Verdana"/>
            </a:endParaRPr>
          </a:p>
        </p:txBody>
      </p:sp>
      <p:grpSp>
        <p:nvGrpSpPr>
          <p:cNvPr id="23" name="Group 22"/>
          <p:cNvGrpSpPr/>
          <p:nvPr/>
        </p:nvGrpSpPr>
        <p:grpSpPr>
          <a:xfrm>
            <a:off x="4779980" y="714040"/>
            <a:ext cx="4170365" cy="1379381"/>
            <a:chOff x="4779960" y="714037"/>
            <a:chExt cx="4170365" cy="1379379"/>
          </a:xfrm>
        </p:grpSpPr>
        <p:sp>
          <p:nvSpPr>
            <p:cNvPr id="32" name="Rectangle 6"/>
            <p:cNvSpPr>
              <a:spLocks noChangeArrowheads="1"/>
            </p:cNvSpPr>
            <p:nvPr/>
          </p:nvSpPr>
          <p:spPr bwMode="auto">
            <a:xfrm>
              <a:off x="7083650" y="714037"/>
              <a:ext cx="1866675" cy="762949"/>
            </a:xfrm>
            <a:prstGeom prst="roundRect">
              <a:avLst/>
            </a:prstGeom>
            <a:solidFill>
              <a:srgbClr val="FF1111"/>
            </a:solidFill>
            <a:ln w="9525">
              <a:noFill/>
              <a:miter lim="800000"/>
              <a:headEnd/>
              <a:tailEnd/>
            </a:ln>
            <a:effectLst/>
          </p:spPr>
          <p:txBody>
            <a:bodyPr wrap="square" lIns="72000" tIns="108000" rIns="72000" bIns="72000" anchor="ctr" anchorCtr="1">
              <a:spAutoFit/>
            </a:bodyPr>
            <a:lstStyle/>
            <a:p>
              <a:pPr defTabSz="914400">
                <a:defRPr/>
              </a:pPr>
              <a:r>
                <a:rPr lang="en-GB" sz="1100" dirty="0">
                  <a:solidFill>
                    <a:srgbClr val="FFFFFF"/>
                  </a:solidFill>
                  <a:cs typeface="Arial" pitchFamily="34" charset="0"/>
                </a:rPr>
                <a:t>Alogliptin (6.25, 12.5 or 25 mg/day) + standard of care </a:t>
              </a:r>
            </a:p>
          </p:txBody>
        </p:sp>
        <p:cxnSp>
          <p:nvCxnSpPr>
            <p:cNvPr id="34" name="AutoShape 10"/>
            <p:cNvCxnSpPr>
              <a:cxnSpLocks noChangeShapeType="1"/>
            </p:cNvCxnSpPr>
            <p:nvPr/>
          </p:nvCxnSpPr>
          <p:spPr bwMode="auto">
            <a:xfrm flipV="1">
              <a:off x="6657972" y="1244992"/>
              <a:ext cx="425678" cy="274582"/>
            </a:xfrm>
            <a:prstGeom prst="bentConnector3">
              <a:avLst>
                <a:gd name="adj1" fmla="val 50000"/>
              </a:avLst>
            </a:prstGeom>
            <a:noFill/>
            <a:ln w="28575">
              <a:solidFill>
                <a:schemeClr val="accent2"/>
              </a:solidFill>
              <a:miter lim="800000"/>
              <a:headEnd/>
              <a:tailEnd/>
            </a:ln>
          </p:spPr>
        </p:cxnSp>
        <p:cxnSp>
          <p:nvCxnSpPr>
            <p:cNvPr id="35" name="AutoShape 11"/>
            <p:cNvCxnSpPr>
              <a:cxnSpLocks noChangeShapeType="1"/>
            </p:cNvCxnSpPr>
            <p:nvPr/>
          </p:nvCxnSpPr>
          <p:spPr bwMode="auto">
            <a:xfrm>
              <a:off x="6588089" y="1580534"/>
              <a:ext cx="562236" cy="216000"/>
            </a:xfrm>
            <a:prstGeom prst="bentConnector3">
              <a:avLst>
                <a:gd name="adj1" fmla="val 50000"/>
              </a:avLst>
            </a:prstGeom>
            <a:noFill/>
            <a:ln w="28575">
              <a:solidFill>
                <a:schemeClr val="accent2"/>
              </a:solidFill>
              <a:miter lim="800000"/>
              <a:headEnd/>
              <a:tailEnd/>
            </a:ln>
          </p:spPr>
        </p:cxnSp>
        <p:sp>
          <p:nvSpPr>
            <p:cNvPr id="38" name="Rectangle 5"/>
            <p:cNvSpPr>
              <a:spLocks noChangeArrowheads="1"/>
            </p:cNvSpPr>
            <p:nvPr/>
          </p:nvSpPr>
          <p:spPr bwMode="auto">
            <a:xfrm>
              <a:off x="4779960" y="1198429"/>
              <a:ext cx="1944687" cy="642292"/>
            </a:xfrm>
            <a:prstGeom prst="roundRect">
              <a:avLst/>
            </a:prstGeom>
            <a:solidFill>
              <a:schemeClr val="accent4"/>
            </a:solidFill>
            <a:ln w="9525">
              <a:noFill/>
              <a:miter lim="800000"/>
              <a:headEnd/>
              <a:tailEnd/>
            </a:ln>
            <a:effectLst/>
          </p:spPr>
          <p:txBody>
            <a:bodyPr wrap="square" lIns="36000" tIns="36000" rIns="36000" bIns="36000" anchor="ctr" anchorCtr="1">
              <a:spAutoFit/>
            </a:bodyPr>
            <a:lstStyle/>
            <a:p>
              <a:pPr defTabSz="914400">
                <a:defRPr/>
              </a:pPr>
              <a:r>
                <a:rPr lang="en-GB" sz="1100" dirty="0">
                  <a:solidFill>
                    <a:srgbClr val="001965"/>
                  </a:solidFill>
                  <a:ea typeface="Verdana" panose="020B0604030504040204" pitchFamily="34" charset="0"/>
                  <a:cs typeface="Verdana" panose="020B0604030504040204" pitchFamily="34" charset="0"/>
                </a:rPr>
                <a:t>T2DM; HbA</a:t>
              </a:r>
              <a:r>
                <a:rPr lang="en-GB" sz="1100" baseline="-25000" dirty="0">
                  <a:solidFill>
                    <a:srgbClr val="001965"/>
                  </a:solidFill>
                  <a:ea typeface="Verdana" panose="020B0604030504040204" pitchFamily="34" charset="0"/>
                  <a:cs typeface="Verdana" panose="020B0604030504040204" pitchFamily="34" charset="0"/>
                </a:rPr>
                <a:t>1c</a:t>
              </a:r>
              <a:r>
                <a:rPr lang="en-GB" sz="1100" dirty="0">
                  <a:solidFill>
                    <a:srgbClr val="001965"/>
                  </a:solidFill>
                  <a:ea typeface="Verdana" panose="020B0604030504040204" pitchFamily="34" charset="0"/>
                  <a:cs typeface="Verdana" panose="020B0604030504040204" pitchFamily="34" charset="0"/>
                </a:rPr>
                <a:t> </a:t>
              </a:r>
              <a:r>
                <a:rPr lang="en-GB" sz="1100" dirty="0" smtClean="0">
                  <a:solidFill>
                    <a:srgbClr val="001965"/>
                  </a:solidFill>
                  <a:ea typeface="Verdana" panose="020B0604030504040204" pitchFamily="34" charset="0"/>
                  <a:cs typeface="Verdana" panose="020B0604030504040204" pitchFamily="34" charset="0"/>
                </a:rPr>
                <a:t>6.5–11.0</a:t>
              </a:r>
              <a:r>
                <a:rPr lang="en-GB" sz="1100" dirty="0">
                  <a:solidFill>
                    <a:srgbClr val="001965"/>
                  </a:solidFill>
                  <a:ea typeface="Verdana" panose="020B0604030504040204" pitchFamily="34" charset="0"/>
                  <a:cs typeface="Verdana" panose="020B0604030504040204" pitchFamily="34" charset="0"/>
                </a:rPr>
                <a:t>%; ACS within 15–90 days (n=5,380)</a:t>
              </a:r>
            </a:p>
          </p:txBody>
        </p:sp>
        <p:sp>
          <p:nvSpPr>
            <p:cNvPr id="33" name="Rectangle 8"/>
            <p:cNvSpPr>
              <a:spLocks noChangeArrowheads="1"/>
            </p:cNvSpPr>
            <p:nvPr/>
          </p:nvSpPr>
          <p:spPr bwMode="auto">
            <a:xfrm>
              <a:off x="7083650" y="1517753"/>
              <a:ext cx="1866675" cy="575663"/>
            </a:xfrm>
            <a:prstGeom prst="roundRect">
              <a:avLst/>
            </a:prstGeom>
            <a:solidFill>
              <a:schemeClr val="accent3"/>
            </a:solidFill>
            <a:ln w="9525">
              <a:noFill/>
              <a:miter lim="800000"/>
              <a:headEnd/>
              <a:tailEnd/>
            </a:ln>
            <a:effectLst/>
          </p:spPr>
          <p:txBody>
            <a:bodyPr wrap="square" lIns="72000" tIns="108000" rIns="72000" bIns="72000" anchor="ctr" anchorCtr="1">
              <a:spAutoFit/>
            </a:bodyPr>
            <a:lstStyle/>
            <a:p>
              <a:pPr defTabSz="914400">
                <a:spcBef>
                  <a:spcPct val="50000"/>
                </a:spcBef>
              </a:pPr>
              <a:r>
                <a:rPr lang="en-GB" sz="1100" dirty="0">
                  <a:solidFill>
                    <a:srgbClr val="FFFFFF"/>
                  </a:solidFill>
                  <a:cs typeface="Arial" pitchFamily="34" charset="0"/>
                </a:rPr>
                <a:t>Placebo + standard of care</a:t>
              </a:r>
            </a:p>
          </p:txBody>
        </p:sp>
      </p:grpSp>
      <p:grpSp>
        <p:nvGrpSpPr>
          <p:cNvPr id="22" name="Group 21"/>
          <p:cNvGrpSpPr/>
          <p:nvPr/>
        </p:nvGrpSpPr>
        <p:grpSpPr>
          <a:xfrm>
            <a:off x="232057" y="730051"/>
            <a:ext cx="4294887" cy="1373234"/>
            <a:chOff x="232054" y="730048"/>
            <a:chExt cx="4294887" cy="1373232"/>
          </a:xfrm>
        </p:grpSpPr>
        <p:sp>
          <p:nvSpPr>
            <p:cNvPr id="9" name="Rectangle 17"/>
            <p:cNvSpPr>
              <a:spLocks noChangeArrowheads="1"/>
            </p:cNvSpPr>
            <p:nvPr/>
          </p:nvSpPr>
          <p:spPr bwMode="auto">
            <a:xfrm>
              <a:off x="2726941" y="730048"/>
              <a:ext cx="1800000" cy="762949"/>
            </a:xfrm>
            <a:prstGeom prst="roundRect">
              <a:avLst/>
            </a:prstGeom>
            <a:solidFill>
              <a:schemeClr val="accent5"/>
            </a:solidFill>
            <a:ln w="9525">
              <a:noFill/>
              <a:miter lim="800000"/>
              <a:headEnd/>
              <a:tailEnd/>
            </a:ln>
            <a:effectLst/>
          </p:spPr>
          <p:txBody>
            <a:bodyPr lIns="72000" tIns="108000" rIns="72000" bIns="72000" anchor="ctr" anchorCtr="1">
              <a:spAutoFit/>
            </a:bodyPr>
            <a:lstStyle/>
            <a:p>
              <a:pPr defTabSz="914400">
                <a:defRPr/>
              </a:pPr>
              <a:r>
                <a:rPr lang="en-GB" sz="1100" dirty="0">
                  <a:solidFill>
                    <a:srgbClr val="FFFFFF"/>
                  </a:solidFill>
                  <a:cs typeface="Arial" pitchFamily="34" charset="0"/>
                </a:rPr>
                <a:t>Saxagliptin (2.5 or 5 mg/day) + standard of care</a:t>
              </a:r>
            </a:p>
          </p:txBody>
        </p:sp>
        <p:sp>
          <p:nvSpPr>
            <p:cNvPr id="10" name="Rectangle 18"/>
            <p:cNvSpPr>
              <a:spLocks noChangeArrowheads="1"/>
            </p:cNvSpPr>
            <p:nvPr/>
          </p:nvSpPr>
          <p:spPr bwMode="auto">
            <a:xfrm>
              <a:off x="2726941" y="1527617"/>
              <a:ext cx="1800000" cy="575663"/>
            </a:xfrm>
            <a:prstGeom prst="roundRect">
              <a:avLst/>
            </a:prstGeom>
            <a:solidFill>
              <a:schemeClr val="accent3"/>
            </a:solidFill>
            <a:ln w="9525">
              <a:noFill/>
              <a:miter lim="800000"/>
              <a:headEnd/>
              <a:tailEnd/>
            </a:ln>
            <a:effectLst/>
          </p:spPr>
          <p:txBody>
            <a:bodyPr lIns="72000" tIns="108000" rIns="72000" bIns="72000" anchor="ctr" anchorCtr="1">
              <a:spAutoFit/>
            </a:bodyPr>
            <a:lstStyle/>
            <a:p>
              <a:pPr defTabSz="914400">
                <a:spcBef>
                  <a:spcPct val="50000"/>
                </a:spcBef>
              </a:pPr>
              <a:r>
                <a:rPr lang="en-GB" sz="1100" dirty="0">
                  <a:solidFill>
                    <a:srgbClr val="FFFFFF"/>
                  </a:solidFill>
                  <a:cs typeface="Arial" pitchFamily="34" charset="0"/>
                </a:rPr>
                <a:t>Placebo + standard of care</a:t>
              </a:r>
            </a:p>
          </p:txBody>
        </p:sp>
        <p:cxnSp>
          <p:nvCxnSpPr>
            <p:cNvPr id="11" name="AutoShape 19"/>
            <p:cNvCxnSpPr>
              <a:cxnSpLocks noChangeShapeType="1"/>
            </p:cNvCxnSpPr>
            <p:nvPr/>
          </p:nvCxnSpPr>
          <p:spPr bwMode="auto">
            <a:xfrm flipV="1">
              <a:off x="2224089" y="1204287"/>
              <a:ext cx="497026" cy="279151"/>
            </a:xfrm>
            <a:prstGeom prst="bentConnector3">
              <a:avLst>
                <a:gd name="adj1" fmla="val 50000"/>
              </a:avLst>
            </a:prstGeom>
            <a:noFill/>
            <a:ln w="28575">
              <a:solidFill>
                <a:schemeClr val="accent2"/>
              </a:solidFill>
              <a:miter lim="800000"/>
              <a:headEnd/>
              <a:tailEnd/>
            </a:ln>
          </p:spPr>
        </p:cxnSp>
        <p:cxnSp>
          <p:nvCxnSpPr>
            <p:cNvPr id="12" name="AutoShape 20"/>
            <p:cNvCxnSpPr>
              <a:cxnSpLocks noChangeShapeType="1"/>
            </p:cNvCxnSpPr>
            <p:nvPr/>
          </p:nvCxnSpPr>
          <p:spPr bwMode="auto">
            <a:xfrm>
              <a:off x="2224089" y="1551698"/>
              <a:ext cx="497026" cy="252126"/>
            </a:xfrm>
            <a:prstGeom prst="bentConnector3">
              <a:avLst>
                <a:gd name="adj1" fmla="val 50000"/>
              </a:avLst>
            </a:prstGeom>
            <a:noFill/>
            <a:ln w="28575">
              <a:solidFill>
                <a:schemeClr val="accent2"/>
              </a:solidFill>
              <a:miter lim="800000"/>
              <a:headEnd/>
              <a:tailEnd/>
            </a:ln>
          </p:spPr>
        </p:cxnSp>
        <p:sp>
          <p:nvSpPr>
            <p:cNvPr id="39" name="Rectangle 16"/>
            <p:cNvSpPr>
              <a:spLocks noChangeArrowheads="1"/>
            </p:cNvSpPr>
            <p:nvPr/>
          </p:nvSpPr>
          <p:spPr bwMode="auto">
            <a:xfrm>
              <a:off x="232054" y="986552"/>
              <a:ext cx="1991559" cy="1016863"/>
            </a:xfrm>
            <a:prstGeom prst="roundRect">
              <a:avLst/>
            </a:prstGeom>
            <a:solidFill>
              <a:schemeClr val="accent4"/>
            </a:solidFill>
            <a:ln w="9525">
              <a:noFill/>
              <a:miter lim="800000"/>
              <a:headEnd/>
              <a:tailEnd/>
            </a:ln>
            <a:effectLst/>
          </p:spPr>
          <p:txBody>
            <a:bodyPr wrap="square" lIns="36000" tIns="36000" rIns="36000" bIns="36000" anchor="ctr" anchorCtr="1">
              <a:spAutoFit/>
            </a:bodyPr>
            <a:lstStyle/>
            <a:p>
              <a:pPr defTabSz="914400"/>
              <a:r>
                <a:rPr lang="en-GB" sz="1100" dirty="0">
                  <a:solidFill>
                    <a:srgbClr val="001965"/>
                  </a:solidFill>
                  <a:ea typeface="Verdana" panose="020B0604030504040204" pitchFamily="34" charset="0"/>
                  <a:cs typeface="Verdana" panose="020B0604030504040204" pitchFamily="34" charset="0"/>
                </a:rPr>
                <a:t>T2DM; HbA</a:t>
              </a:r>
              <a:r>
                <a:rPr lang="en-GB" sz="1100" baseline="-25000" dirty="0">
                  <a:solidFill>
                    <a:srgbClr val="001965"/>
                  </a:solidFill>
                  <a:ea typeface="Verdana" panose="020B0604030504040204" pitchFamily="34" charset="0"/>
                  <a:cs typeface="Verdana" panose="020B0604030504040204" pitchFamily="34" charset="0"/>
                </a:rPr>
                <a:t>1c</a:t>
              </a:r>
              <a:r>
                <a:rPr lang="en-GB" sz="1100" dirty="0">
                  <a:solidFill>
                    <a:srgbClr val="001965"/>
                  </a:solidFill>
                  <a:ea typeface="Verdana" panose="020B0604030504040204" pitchFamily="34" charset="0"/>
                  <a:cs typeface="Verdana" panose="020B0604030504040204" pitchFamily="34" charset="0"/>
                </a:rPr>
                <a:t> 6.5–12.0%; ≥40 years + CVD; ≥55 (men) or ≥60 (women)  years + CV risk factors (n=16,492)</a:t>
              </a:r>
            </a:p>
          </p:txBody>
        </p:sp>
      </p:grpSp>
      <p:grpSp>
        <p:nvGrpSpPr>
          <p:cNvPr id="24" name="Group 23"/>
          <p:cNvGrpSpPr/>
          <p:nvPr/>
        </p:nvGrpSpPr>
        <p:grpSpPr>
          <a:xfrm>
            <a:off x="232394" y="2883479"/>
            <a:ext cx="4271413" cy="1366108"/>
            <a:chOff x="232389" y="2883484"/>
            <a:chExt cx="4271413" cy="1366109"/>
          </a:xfrm>
        </p:grpSpPr>
        <p:sp>
          <p:nvSpPr>
            <p:cNvPr id="37" name="Rectangle 27"/>
            <p:cNvSpPr>
              <a:spLocks noChangeArrowheads="1"/>
            </p:cNvSpPr>
            <p:nvPr/>
          </p:nvSpPr>
          <p:spPr bwMode="auto">
            <a:xfrm>
              <a:off x="232389" y="3358453"/>
              <a:ext cx="1858612" cy="642294"/>
            </a:xfrm>
            <a:prstGeom prst="roundRect">
              <a:avLst/>
            </a:prstGeom>
            <a:solidFill>
              <a:schemeClr val="accent4"/>
            </a:solidFill>
            <a:ln w="9525">
              <a:noFill/>
              <a:miter lim="800000"/>
              <a:headEnd/>
              <a:tailEnd/>
            </a:ln>
            <a:effectLst/>
          </p:spPr>
          <p:txBody>
            <a:bodyPr lIns="36000" tIns="36000" rIns="36000" bIns="36000" anchor="ctr" anchorCtr="1">
              <a:spAutoFit/>
            </a:bodyPr>
            <a:lstStyle/>
            <a:p>
              <a:pPr defTabSz="914400"/>
              <a:r>
                <a:rPr lang="en-GB" sz="1100" dirty="0">
                  <a:solidFill>
                    <a:srgbClr val="001965"/>
                  </a:solidFill>
                  <a:ea typeface="Verdana" panose="020B0604030504040204" pitchFamily="34" charset="0"/>
                  <a:cs typeface="Verdana" panose="020B0604030504040204" pitchFamily="34" charset="0"/>
                </a:rPr>
                <a:t>T2DM; HbA</a:t>
              </a:r>
              <a:r>
                <a:rPr lang="en-GB" sz="1100" baseline="-25000" dirty="0">
                  <a:solidFill>
                    <a:srgbClr val="001965"/>
                  </a:solidFill>
                  <a:ea typeface="Verdana" panose="020B0604030504040204" pitchFamily="34" charset="0"/>
                  <a:cs typeface="Verdana" panose="020B0604030504040204" pitchFamily="34" charset="0"/>
                </a:rPr>
                <a:t>1c</a:t>
              </a:r>
              <a:r>
                <a:rPr lang="en-GB" sz="1100" dirty="0">
                  <a:solidFill>
                    <a:srgbClr val="001965"/>
                  </a:solidFill>
                  <a:ea typeface="Verdana" panose="020B0604030504040204" pitchFamily="34" charset="0"/>
                  <a:cs typeface="Verdana" panose="020B0604030504040204" pitchFamily="34" charset="0"/>
                </a:rPr>
                <a:t> 6.5–8.0%; ≥50 years; CVD history (n=14,671)</a:t>
              </a:r>
            </a:p>
          </p:txBody>
        </p:sp>
        <p:sp>
          <p:nvSpPr>
            <p:cNvPr id="42" name="Rectangle 6"/>
            <p:cNvSpPr>
              <a:spLocks noChangeArrowheads="1"/>
            </p:cNvSpPr>
            <p:nvPr/>
          </p:nvSpPr>
          <p:spPr bwMode="auto">
            <a:xfrm>
              <a:off x="2703802" y="2883484"/>
              <a:ext cx="1800000" cy="762951"/>
            </a:xfrm>
            <a:prstGeom prst="roundRect">
              <a:avLst/>
            </a:prstGeom>
            <a:solidFill>
              <a:srgbClr val="D47600"/>
            </a:solidFill>
            <a:ln w="9525">
              <a:noFill/>
              <a:miter lim="800000"/>
              <a:headEnd/>
              <a:tailEnd/>
            </a:ln>
            <a:effectLst/>
          </p:spPr>
          <p:txBody>
            <a:bodyPr lIns="72000" tIns="108000" rIns="72000" bIns="72000" anchor="ctr" anchorCtr="1">
              <a:spAutoFit/>
            </a:bodyPr>
            <a:lstStyle/>
            <a:p>
              <a:pPr defTabSz="914400">
                <a:defRPr/>
              </a:pPr>
              <a:r>
                <a:rPr lang="en-GB" sz="1100" dirty="0">
                  <a:solidFill>
                    <a:srgbClr val="FFFFFF"/>
                  </a:solidFill>
                  <a:ea typeface="Verdana" panose="020B0604030504040204" pitchFamily="34" charset="0"/>
                  <a:cs typeface="Verdana" panose="020B0604030504040204" pitchFamily="34" charset="0"/>
                </a:rPr>
                <a:t>Sitagliptin</a:t>
              </a:r>
              <a:r>
                <a:rPr lang="en-GB" sz="1100" dirty="0">
                  <a:solidFill>
                    <a:srgbClr val="FFFFFF"/>
                  </a:solidFill>
                  <a:cs typeface="Arial" pitchFamily="34" charset="0"/>
                </a:rPr>
                <a:t> </a:t>
              </a:r>
              <a:r>
                <a:rPr lang="en-GB" sz="1100" dirty="0" smtClean="0">
                  <a:solidFill>
                    <a:srgbClr val="FFFFFF"/>
                  </a:solidFill>
                  <a:cs typeface="Arial" pitchFamily="34" charset="0"/>
                </a:rPr>
                <a:t/>
              </a:r>
              <a:br>
                <a:rPr lang="en-GB" sz="1100" dirty="0" smtClean="0">
                  <a:solidFill>
                    <a:srgbClr val="FFFFFF"/>
                  </a:solidFill>
                  <a:cs typeface="Arial" pitchFamily="34" charset="0"/>
                </a:rPr>
              </a:br>
              <a:r>
                <a:rPr lang="en-GB" sz="1100" dirty="0" smtClean="0">
                  <a:solidFill>
                    <a:srgbClr val="FFFFFF"/>
                  </a:solidFill>
                  <a:cs typeface="Arial" pitchFamily="34" charset="0"/>
                </a:rPr>
                <a:t>(</a:t>
              </a:r>
              <a:r>
                <a:rPr lang="en-GB" sz="1100" dirty="0">
                  <a:solidFill>
                    <a:srgbClr val="FFFFFF"/>
                  </a:solidFill>
                  <a:cs typeface="Arial" pitchFamily="34" charset="0"/>
                </a:rPr>
                <a:t>100 or </a:t>
              </a:r>
              <a:r>
                <a:rPr lang="en-GB" sz="1100" dirty="0" smtClean="0">
                  <a:solidFill>
                    <a:srgbClr val="FFFFFF"/>
                  </a:solidFill>
                  <a:cs typeface="Arial" pitchFamily="34" charset="0"/>
                </a:rPr>
                <a:t>50 </a:t>
              </a:r>
              <a:r>
                <a:rPr lang="en-GB" sz="1100" dirty="0">
                  <a:solidFill>
                    <a:srgbClr val="FFFFFF"/>
                  </a:solidFill>
                  <a:cs typeface="Arial" pitchFamily="34" charset="0"/>
                </a:rPr>
                <a:t>mg/day) + standard of care</a:t>
              </a:r>
            </a:p>
          </p:txBody>
        </p:sp>
        <p:sp>
          <p:nvSpPr>
            <p:cNvPr id="43" name="Rectangle 8"/>
            <p:cNvSpPr>
              <a:spLocks noChangeArrowheads="1"/>
            </p:cNvSpPr>
            <p:nvPr/>
          </p:nvSpPr>
          <p:spPr bwMode="auto">
            <a:xfrm>
              <a:off x="2703802" y="3673929"/>
              <a:ext cx="1800000" cy="575664"/>
            </a:xfrm>
            <a:prstGeom prst="roundRect">
              <a:avLst/>
            </a:prstGeom>
            <a:solidFill>
              <a:schemeClr val="accent3"/>
            </a:solidFill>
            <a:ln w="9525">
              <a:noFill/>
              <a:miter lim="800000"/>
              <a:headEnd/>
              <a:tailEnd/>
            </a:ln>
            <a:effectLst/>
          </p:spPr>
          <p:txBody>
            <a:bodyPr lIns="72000" tIns="108000" rIns="72000" bIns="72000" anchor="ctr" anchorCtr="1">
              <a:spAutoFit/>
            </a:bodyPr>
            <a:lstStyle/>
            <a:p>
              <a:pPr defTabSz="914400">
                <a:spcBef>
                  <a:spcPct val="50000"/>
                </a:spcBef>
              </a:pPr>
              <a:r>
                <a:rPr lang="en-GB" sz="1100" dirty="0">
                  <a:solidFill>
                    <a:srgbClr val="FFFFFF"/>
                  </a:solidFill>
                  <a:cs typeface="Arial" pitchFamily="34" charset="0"/>
                </a:rPr>
                <a:t>Placebo </a:t>
              </a:r>
              <a:r>
                <a:rPr lang="en-GB" sz="1100" dirty="0" smtClean="0">
                  <a:solidFill>
                    <a:srgbClr val="FFFFFF"/>
                  </a:solidFill>
                  <a:cs typeface="Arial" pitchFamily="34" charset="0"/>
                </a:rPr>
                <a:t>+ standard </a:t>
              </a:r>
              <a:r>
                <a:rPr lang="en-GB" sz="1100" dirty="0">
                  <a:solidFill>
                    <a:srgbClr val="FFFFFF"/>
                  </a:solidFill>
                  <a:cs typeface="Arial" pitchFamily="34" charset="0"/>
                </a:rPr>
                <a:t>of care</a:t>
              </a:r>
            </a:p>
          </p:txBody>
        </p:sp>
        <p:cxnSp>
          <p:nvCxnSpPr>
            <p:cNvPr id="45" name="AutoShape 10"/>
            <p:cNvCxnSpPr>
              <a:cxnSpLocks noChangeShapeType="1"/>
            </p:cNvCxnSpPr>
            <p:nvPr/>
          </p:nvCxnSpPr>
          <p:spPr bwMode="auto">
            <a:xfrm flipV="1">
              <a:off x="2090740" y="3431925"/>
              <a:ext cx="612775" cy="228600"/>
            </a:xfrm>
            <a:prstGeom prst="bentConnector3">
              <a:avLst>
                <a:gd name="adj1" fmla="val 50000"/>
              </a:avLst>
            </a:prstGeom>
            <a:noFill/>
            <a:ln w="28575">
              <a:solidFill>
                <a:schemeClr val="accent2"/>
              </a:solidFill>
              <a:miter lim="800000"/>
              <a:headEnd/>
              <a:tailEnd/>
            </a:ln>
          </p:spPr>
        </p:cxnSp>
        <p:cxnSp>
          <p:nvCxnSpPr>
            <p:cNvPr id="46" name="AutoShape 11"/>
            <p:cNvCxnSpPr>
              <a:cxnSpLocks noChangeShapeType="1"/>
            </p:cNvCxnSpPr>
            <p:nvPr/>
          </p:nvCxnSpPr>
          <p:spPr bwMode="auto">
            <a:xfrm>
              <a:off x="2090740" y="3738314"/>
              <a:ext cx="612775" cy="222250"/>
            </a:xfrm>
            <a:prstGeom prst="bentConnector3">
              <a:avLst>
                <a:gd name="adj1" fmla="val 50000"/>
              </a:avLst>
            </a:prstGeom>
            <a:noFill/>
            <a:ln w="28575">
              <a:solidFill>
                <a:schemeClr val="accent2"/>
              </a:solidFill>
              <a:miter lim="800000"/>
              <a:headEnd/>
              <a:tailEnd/>
            </a:ln>
          </p:spPr>
        </p:cxnSp>
      </p:grpSp>
      <p:sp>
        <p:nvSpPr>
          <p:cNvPr id="13" name="Rectangle 49"/>
          <p:cNvSpPr>
            <a:spLocks noChangeArrowheads="1"/>
          </p:cNvSpPr>
          <p:nvPr/>
        </p:nvSpPr>
        <p:spPr bwMode="auto">
          <a:xfrm>
            <a:off x="330200" y="149802"/>
            <a:ext cx="3600450" cy="184666"/>
          </a:xfrm>
          <a:prstGeom prst="rect">
            <a:avLst/>
          </a:prstGeom>
          <a:noFill/>
          <a:ln>
            <a:noFill/>
          </a:ln>
          <a:extLst/>
        </p:spPr>
        <p:txBody>
          <a:bodyPr lIns="0" tIns="0" rIns="0" bIns="0">
            <a:spAutoFit/>
          </a:bodyPr>
          <a:lstStyle/>
          <a:p>
            <a:pPr defTabSz="914400">
              <a:spcBef>
                <a:spcPct val="20000"/>
              </a:spcBef>
              <a:buClr>
                <a:srgbClr val="009FDA"/>
              </a:buClr>
              <a:defRPr/>
            </a:pPr>
            <a:r>
              <a:rPr lang="en-GB" sz="1200" b="1" dirty="0">
                <a:solidFill>
                  <a:srgbClr val="001965"/>
                </a:solidFill>
                <a:cs typeface="Arial" pitchFamily="34" charset="0"/>
              </a:rPr>
              <a:t>SAVOR-TIMI-53</a:t>
            </a:r>
            <a:r>
              <a:rPr lang="en-GB" sz="1200" b="1" baseline="30000" dirty="0">
                <a:solidFill>
                  <a:srgbClr val="001965"/>
                </a:solidFill>
                <a:cs typeface="Arial" pitchFamily="34" charset="0"/>
              </a:rPr>
              <a:t>1</a:t>
            </a:r>
            <a:endParaRPr lang="en-GB" sz="1200" b="1" dirty="0">
              <a:solidFill>
                <a:srgbClr val="001965"/>
              </a:solidFill>
              <a:cs typeface="Arial" pitchFamily="34" charset="0"/>
            </a:endParaRPr>
          </a:p>
        </p:txBody>
      </p:sp>
      <p:sp>
        <p:nvSpPr>
          <p:cNvPr id="21" name="Rectangle 4"/>
          <p:cNvSpPr>
            <a:spLocks noChangeArrowheads="1"/>
          </p:cNvSpPr>
          <p:nvPr/>
        </p:nvSpPr>
        <p:spPr bwMode="auto">
          <a:xfrm>
            <a:off x="4831603" y="161619"/>
            <a:ext cx="3600450" cy="184666"/>
          </a:xfrm>
          <a:prstGeom prst="rect">
            <a:avLst/>
          </a:prstGeom>
          <a:noFill/>
          <a:ln>
            <a:noFill/>
          </a:ln>
          <a:extLst/>
        </p:spPr>
        <p:txBody>
          <a:bodyPr lIns="0" tIns="0" rIns="0" bIns="0">
            <a:spAutoFit/>
          </a:bodyPr>
          <a:lstStyle/>
          <a:p>
            <a:pPr defTabSz="914400">
              <a:spcBef>
                <a:spcPct val="20000"/>
              </a:spcBef>
              <a:buClr>
                <a:srgbClr val="009FDA"/>
              </a:buClr>
              <a:defRPr/>
            </a:pPr>
            <a:r>
              <a:rPr lang="en-GB" sz="1200" b="1" dirty="0">
                <a:solidFill>
                  <a:srgbClr val="001965"/>
                </a:solidFill>
                <a:cs typeface="Arial" pitchFamily="34" charset="0"/>
              </a:rPr>
              <a:t>EXAMINE</a:t>
            </a:r>
            <a:r>
              <a:rPr lang="en-GB" sz="1200" b="1" baseline="30000" dirty="0">
                <a:solidFill>
                  <a:srgbClr val="001965"/>
                </a:solidFill>
                <a:cs typeface="Arial" pitchFamily="34" charset="0"/>
              </a:rPr>
              <a:t>2</a:t>
            </a:r>
            <a:endParaRPr lang="en-GB" sz="1200" b="1" dirty="0">
              <a:solidFill>
                <a:srgbClr val="001965"/>
              </a:solidFill>
              <a:cs typeface="Arial" pitchFamily="34" charset="0"/>
            </a:endParaRPr>
          </a:p>
        </p:txBody>
      </p:sp>
      <p:sp>
        <p:nvSpPr>
          <p:cNvPr id="29" name="Rectangle 48"/>
          <p:cNvSpPr>
            <a:spLocks noChangeArrowheads="1"/>
          </p:cNvSpPr>
          <p:nvPr/>
        </p:nvSpPr>
        <p:spPr bwMode="auto">
          <a:xfrm>
            <a:off x="334281" y="2581032"/>
            <a:ext cx="3278188" cy="184666"/>
          </a:xfrm>
          <a:prstGeom prst="rect">
            <a:avLst/>
          </a:prstGeom>
          <a:noFill/>
          <a:ln>
            <a:noFill/>
          </a:ln>
          <a:extLst/>
        </p:spPr>
        <p:txBody>
          <a:bodyPr lIns="0" tIns="0" rIns="0" bIns="0">
            <a:spAutoFit/>
          </a:bodyPr>
          <a:lstStyle/>
          <a:p>
            <a:pPr defTabSz="914400">
              <a:spcBef>
                <a:spcPct val="20000"/>
              </a:spcBef>
              <a:buClr>
                <a:srgbClr val="009FDA"/>
              </a:buClr>
              <a:defRPr/>
            </a:pPr>
            <a:r>
              <a:rPr lang="en-GB" sz="1200" b="1" dirty="0">
                <a:solidFill>
                  <a:srgbClr val="001965"/>
                </a:solidFill>
                <a:cs typeface="Arial" pitchFamily="34" charset="0"/>
              </a:rPr>
              <a:t>TECOS</a:t>
            </a:r>
            <a:r>
              <a:rPr lang="en-GB" sz="1200" b="1" baseline="30000" dirty="0">
                <a:solidFill>
                  <a:srgbClr val="001965"/>
                </a:solidFill>
                <a:cs typeface="Arial" pitchFamily="34" charset="0"/>
              </a:rPr>
              <a:t>3</a:t>
            </a:r>
            <a:endParaRPr lang="en-GB" sz="1200" b="1" dirty="0">
              <a:solidFill>
                <a:srgbClr val="001965"/>
              </a:solidFill>
              <a:cs typeface="Arial" pitchFamily="34" charset="0"/>
            </a:endParaRPr>
          </a:p>
        </p:txBody>
      </p:sp>
      <p:cxnSp>
        <p:nvCxnSpPr>
          <p:cNvPr id="3" name="Straight Connector 2"/>
          <p:cNvCxnSpPr/>
          <p:nvPr/>
        </p:nvCxnSpPr>
        <p:spPr>
          <a:xfrm>
            <a:off x="4654556" y="2"/>
            <a:ext cx="0" cy="5019675"/>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4725051" y="158277"/>
            <a:ext cx="1110865" cy="1806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b="1" dirty="0">
                <a:solidFill>
                  <a:srgbClr val="001965"/>
                </a:solidFill>
                <a:cs typeface="Arial" pitchFamily="34" charset="0"/>
              </a:rPr>
              <a:t>EXAMINE</a:t>
            </a:r>
            <a:r>
              <a:rPr lang="en-GB" sz="1200" b="1" baseline="30000" dirty="0" smtClean="0">
                <a:solidFill>
                  <a:srgbClr val="001965"/>
                </a:solidFill>
              </a:rPr>
              <a:t>2</a:t>
            </a:r>
            <a:endParaRPr lang="en-GB" sz="1200" b="1" baseline="30000" dirty="0">
              <a:solidFill>
                <a:srgbClr val="001965"/>
              </a:solidFill>
            </a:endParaRPr>
          </a:p>
        </p:txBody>
      </p:sp>
      <p:cxnSp>
        <p:nvCxnSpPr>
          <p:cNvPr id="41" name="Straight Connector 40"/>
          <p:cNvCxnSpPr/>
          <p:nvPr/>
        </p:nvCxnSpPr>
        <p:spPr>
          <a:xfrm flipH="1">
            <a:off x="232056" y="2410344"/>
            <a:ext cx="8818959" cy="0"/>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3"/>
          <a:stretch>
            <a:fillRect/>
          </a:stretch>
        </p:blipFill>
        <p:spPr>
          <a:xfrm>
            <a:off x="523791" y="2871717"/>
            <a:ext cx="3496466" cy="1991302"/>
          </a:xfrm>
          <a:prstGeom prst="rect">
            <a:avLst/>
          </a:prstGeom>
        </p:spPr>
      </p:pic>
      <p:sp>
        <p:nvSpPr>
          <p:cNvPr id="47" name="Rectangle 46"/>
          <p:cNvSpPr/>
          <p:nvPr/>
        </p:nvSpPr>
        <p:spPr>
          <a:xfrm>
            <a:off x="1195867" y="2514567"/>
            <a:ext cx="3050498" cy="553998"/>
          </a:xfrm>
          <a:prstGeom prst="rect">
            <a:avLst/>
          </a:prstGeom>
        </p:spPr>
        <p:txBody>
          <a:bodyPr wrap="square">
            <a:spAutoFit/>
          </a:bodyPr>
          <a:lstStyle/>
          <a:p>
            <a:pPr algn="ctr" defTabSz="914400"/>
            <a:r>
              <a:rPr lang="en-GB" altLang="en-US" sz="1000" b="1" dirty="0" smtClean="0">
                <a:solidFill>
                  <a:srgbClr val="001965"/>
                </a:solidFill>
              </a:rPr>
              <a:t>CV-related death, </a:t>
            </a:r>
            <a:r>
              <a:rPr lang="en-GB" altLang="en-US" sz="1000" b="1" dirty="0">
                <a:solidFill>
                  <a:srgbClr val="001965"/>
                </a:solidFill>
              </a:rPr>
              <a:t>non-fatal MI, </a:t>
            </a:r>
            <a:r>
              <a:rPr lang="en-GB" altLang="en-US" sz="1000" b="1" dirty="0" smtClean="0">
                <a:solidFill>
                  <a:srgbClr val="001965"/>
                </a:solidFill>
              </a:rPr>
              <a:t/>
            </a:r>
            <a:br>
              <a:rPr lang="en-GB" altLang="en-US" sz="1000" b="1" dirty="0" smtClean="0">
                <a:solidFill>
                  <a:srgbClr val="001965"/>
                </a:solidFill>
              </a:rPr>
            </a:br>
            <a:r>
              <a:rPr lang="en-GB" altLang="en-US" sz="1000" b="1" dirty="0" smtClean="0">
                <a:solidFill>
                  <a:srgbClr val="001965"/>
                </a:solidFill>
              </a:rPr>
              <a:t>non-fatal </a:t>
            </a:r>
            <a:r>
              <a:rPr lang="en-GB" altLang="en-US" sz="1000" b="1" dirty="0">
                <a:solidFill>
                  <a:srgbClr val="001965"/>
                </a:solidFill>
              </a:rPr>
              <a:t>stroke, or unstable angina</a:t>
            </a:r>
            <a:endParaRPr lang="en-GB" sz="1000" b="1" dirty="0">
              <a:solidFill>
                <a:srgbClr val="001965"/>
              </a:solidFill>
            </a:endParaRPr>
          </a:p>
          <a:p>
            <a:pPr algn="ctr" defTabSz="914400"/>
            <a:r>
              <a:rPr lang="en-GB" altLang="en-US" sz="1000" b="1" dirty="0" smtClean="0">
                <a:solidFill>
                  <a:srgbClr val="001965"/>
                </a:solidFill>
              </a:rPr>
              <a:t>requiring hospitalisation</a:t>
            </a:r>
            <a:endParaRPr lang="en-GB" sz="1000" b="1" dirty="0">
              <a:solidFill>
                <a:srgbClr val="001965"/>
              </a:solidFill>
            </a:endParaRPr>
          </a:p>
        </p:txBody>
      </p:sp>
      <p:pic>
        <p:nvPicPr>
          <p:cNvPr id="28" name="Picture 27"/>
          <p:cNvPicPr>
            <a:picLocks noChangeAspect="1"/>
          </p:cNvPicPr>
          <p:nvPr/>
        </p:nvPicPr>
        <p:blipFill>
          <a:blip r:embed="rId4"/>
          <a:stretch>
            <a:fillRect/>
          </a:stretch>
        </p:blipFill>
        <p:spPr>
          <a:xfrm>
            <a:off x="388689" y="261096"/>
            <a:ext cx="3592417" cy="2171574"/>
          </a:xfrm>
          <a:prstGeom prst="rect">
            <a:avLst/>
          </a:prstGeom>
        </p:spPr>
      </p:pic>
      <p:sp>
        <p:nvSpPr>
          <p:cNvPr id="101" name="Rectangle 100"/>
          <p:cNvSpPr/>
          <p:nvPr/>
        </p:nvSpPr>
        <p:spPr>
          <a:xfrm>
            <a:off x="1197690" y="216310"/>
            <a:ext cx="3050498" cy="400110"/>
          </a:xfrm>
          <a:prstGeom prst="rect">
            <a:avLst/>
          </a:prstGeom>
        </p:spPr>
        <p:txBody>
          <a:bodyPr wrap="square">
            <a:spAutoFit/>
          </a:bodyPr>
          <a:lstStyle/>
          <a:p>
            <a:pPr algn="ctr" defTabSz="914400"/>
            <a:r>
              <a:rPr lang="en-GB" altLang="en-US" sz="1000" b="1" dirty="0" smtClean="0">
                <a:solidFill>
                  <a:srgbClr val="001965"/>
                </a:solidFill>
              </a:rPr>
              <a:t>CV death</a:t>
            </a:r>
            <a:r>
              <a:rPr lang="en-GB" altLang="en-US" sz="1000" b="1" dirty="0">
                <a:solidFill>
                  <a:srgbClr val="001965"/>
                </a:solidFill>
              </a:rPr>
              <a:t>, non-fatal MI </a:t>
            </a:r>
            <a:r>
              <a:rPr lang="en-GB" altLang="en-US" sz="1000" b="1" dirty="0" smtClean="0">
                <a:solidFill>
                  <a:srgbClr val="001965"/>
                </a:solidFill>
              </a:rPr>
              <a:t>or</a:t>
            </a:r>
            <a:br>
              <a:rPr lang="en-GB" altLang="en-US" sz="1000" b="1" dirty="0" smtClean="0">
                <a:solidFill>
                  <a:srgbClr val="001965"/>
                </a:solidFill>
              </a:rPr>
            </a:br>
            <a:r>
              <a:rPr lang="en-GB" altLang="en-US" sz="1000" b="1" dirty="0" smtClean="0">
                <a:solidFill>
                  <a:srgbClr val="001965"/>
                </a:solidFill>
              </a:rPr>
              <a:t> </a:t>
            </a:r>
            <a:r>
              <a:rPr lang="en-GB" altLang="en-US" sz="1000" b="1" dirty="0">
                <a:solidFill>
                  <a:srgbClr val="001965"/>
                </a:solidFill>
              </a:rPr>
              <a:t>non-fatal ischaemic </a:t>
            </a:r>
            <a:r>
              <a:rPr lang="en-GB" altLang="en-US" sz="1000" b="1" dirty="0" smtClean="0">
                <a:solidFill>
                  <a:srgbClr val="001965"/>
                </a:solidFill>
              </a:rPr>
              <a:t>stroke</a:t>
            </a:r>
            <a:endParaRPr lang="en-GB" sz="1000" b="1" dirty="0">
              <a:solidFill>
                <a:srgbClr val="001965"/>
              </a:solidFill>
            </a:endParaRPr>
          </a:p>
        </p:txBody>
      </p:sp>
      <p:pic>
        <p:nvPicPr>
          <p:cNvPr id="36" name="Picture 35"/>
          <p:cNvPicPr>
            <a:picLocks noChangeAspect="1"/>
          </p:cNvPicPr>
          <p:nvPr/>
        </p:nvPicPr>
        <p:blipFill>
          <a:blip r:embed="rId5"/>
          <a:stretch>
            <a:fillRect/>
          </a:stretch>
        </p:blipFill>
        <p:spPr>
          <a:xfrm>
            <a:off x="5326633" y="372133"/>
            <a:ext cx="3732863" cy="2025278"/>
          </a:xfrm>
          <a:prstGeom prst="rect">
            <a:avLst/>
          </a:prstGeom>
        </p:spPr>
      </p:pic>
      <p:sp>
        <p:nvSpPr>
          <p:cNvPr id="102" name="Rectangle 101"/>
          <p:cNvSpPr/>
          <p:nvPr/>
        </p:nvSpPr>
        <p:spPr>
          <a:xfrm>
            <a:off x="5937456" y="164354"/>
            <a:ext cx="3050498" cy="400110"/>
          </a:xfrm>
          <a:prstGeom prst="rect">
            <a:avLst/>
          </a:prstGeom>
        </p:spPr>
        <p:txBody>
          <a:bodyPr wrap="square">
            <a:spAutoFit/>
          </a:bodyPr>
          <a:lstStyle/>
          <a:p>
            <a:pPr algn="ctr" defTabSz="914400"/>
            <a:r>
              <a:rPr lang="en-GB" altLang="en-US" sz="1000" b="1" dirty="0" smtClean="0">
                <a:solidFill>
                  <a:srgbClr val="001965"/>
                </a:solidFill>
              </a:rPr>
              <a:t>CV </a:t>
            </a:r>
            <a:r>
              <a:rPr lang="en-GB" altLang="en-US" sz="1000" b="1" dirty="0">
                <a:solidFill>
                  <a:srgbClr val="001965"/>
                </a:solidFill>
              </a:rPr>
              <a:t>death, non-fatal MI or </a:t>
            </a:r>
            <a:r>
              <a:rPr lang="en-GB" altLang="en-US" sz="1000" b="1" dirty="0" smtClean="0">
                <a:solidFill>
                  <a:srgbClr val="001965"/>
                </a:solidFill>
              </a:rPr>
              <a:t/>
            </a:r>
            <a:br>
              <a:rPr lang="en-GB" altLang="en-US" sz="1000" b="1" dirty="0" smtClean="0">
                <a:solidFill>
                  <a:srgbClr val="001965"/>
                </a:solidFill>
              </a:rPr>
            </a:br>
            <a:r>
              <a:rPr lang="en-GB" altLang="en-US" sz="1000" b="1" dirty="0" smtClean="0">
                <a:solidFill>
                  <a:srgbClr val="001965"/>
                </a:solidFill>
              </a:rPr>
              <a:t>non-fatal </a:t>
            </a:r>
            <a:r>
              <a:rPr lang="en-GB" altLang="en-US" sz="1000" b="1" dirty="0">
                <a:solidFill>
                  <a:srgbClr val="001965"/>
                </a:solidFill>
              </a:rPr>
              <a:t>ischaemic stroke</a:t>
            </a:r>
            <a:endParaRPr lang="en-GB" sz="1000" b="1" dirty="0">
              <a:solidFill>
                <a:srgbClr val="001965"/>
              </a:solidFill>
            </a:endParaRPr>
          </a:p>
        </p:txBody>
      </p:sp>
      <p:sp>
        <p:nvSpPr>
          <p:cNvPr id="49" name="Rectangle 48"/>
          <p:cNvSpPr/>
          <p:nvPr/>
        </p:nvSpPr>
        <p:spPr>
          <a:xfrm>
            <a:off x="5835905" y="2850849"/>
            <a:ext cx="2419252" cy="1077218"/>
          </a:xfrm>
          <a:prstGeom prst="rect">
            <a:avLst/>
          </a:prstGeom>
        </p:spPr>
        <p:txBody>
          <a:bodyPr wrap="none">
            <a:spAutoFit/>
          </a:bodyPr>
          <a:lstStyle/>
          <a:p>
            <a:pPr defTabSz="914400"/>
            <a:r>
              <a:rPr lang="en-GB" sz="3200" b="1" dirty="0">
                <a:solidFill>
                  <a:srgbClr val="001965"/>
                </a:solidFill>
              </a:rPr>
              <a:t>DPP-4 </a:t>
            </a:r>
            <a:r>
              <a:rPr lang="en-GB" sz="3200" b="1" dirty="0" smtClean="0">
                <a:solidFill>
                  <a:srgbClr val="001965"/>
                </a:solidFill>
              </a:rPr>
              <a:t/>
            </a:r>
            <a:br>
              <a:rPr lang="en-GB" sz="3200" b="1" dirty="0" smtClean="0">
                <a:solidFill>
                  <a:srgbClr val="001965"/>
                </a:solidFill>
              </a:rPr>
            </a:br>
            <a:r>
              <a:rPr lang="en-GB" sz="3200" b="1" dirty="0" smtClean="0">
                <a:solidFill>
                  <a:srgbClr val="001965"/>
                </a:solidFill>
              </a:rPr>
              <a:t>inhibitor</a:t>
            </a:r>
            <a:r>
              <a:rPr lang="cs-CZ" sz="3200" b="1" dirty="0" smtClean="0">
                <a:solidFill>
                  <a:srgbClr val="001965"/>
                </a:solidFill>
              </a:rPr>
              <a:t>y</a:t>
            </a:r>
            <a:endParaRPr lang="en-GB" sz="3200" b="1" dirty="0">
              <a:solidFill>
                <a:srgbClr val="001965"/>
              </a:solidFill>
            </a:endParaRPr>
          </a:p>
        </p:txBody>
      </p:sp>
    </p:spTree>
    <p:extLst>
      <p:ext uri="{BB962C8B-B14F-4D97-AF65-F5344CB8AC3E}">
        <p14:creationId xmlns:p14="http://schemas.microsoft.com/office/powerpoint/2010/main" val="195369500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2"/>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0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3"/>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24"/>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xit" presetSubtype="0" fill="hold" grpId="0" nodeType="withEffect" nodePh="1">
                                  <p:stCondLst>
                                    <p:cond delay="0"/>
                                  </p:stCondLst>
                                  <p:endCondLst>
                                    <p:cond evt="begin" delay="0">
                                      <p:tn val="25"/>
                                    </p:cond>
                                  </p:endCondLst>
                                  <p:childTnLst>
                                    <p:set>
                                      <p:cBhvr>
                                        <p:cTn id="26" dur="1" fill="hold">
                                          <p:stCondLst>
                                            <p:cond delay="0"/>
                                          </p:stCondLst>
                                        </p:cTn>
                                        <p:tgtEl>
                                          <p:spTgt spid="6">
                                            <p:txEl>
                                              <p:pRg st="0" end="0"/>
                                            </p:txEl>
                                          </p:spTgt>
                                        </p:tgtEl>
                                        <p:attrNameLst>
                                          <p:attrName>style.visibility</p:attrName>
                                        </p:attrNameLst>
                                      </p:cBhvr>
                                      <p:to>
                                        <p:strVal val="hidden"/>
                                      </p:to>
                                    </p:set>
                                  </p:childTnLst>
                                </p:cTn>
                              </p:par>
                              <p:par>
                                <p:cTn id="27" presetID="1" presetClass="entr" presetSubtype="0" fill="hold" grpId="0" nodeType="with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47" grpId="0"/>
      <p:bldP spid="101" grpId="0"/>
      <p:bldP spid="10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p:cNvSpPr>
            <a:spLocks noGrp="1"/>
          </p:cNvSpPr>
          <p:nvPr>
            <p:ph type="title"/>
          </p:nvPr>
        </p:nvSpPr>
        <p:spPr>
          <a:xfrm>
            <a:off x="245436" y="253205"/>
            <a:ext cx="8510400" cy="391412"/>
          </a:xfrm>
        </p:spPr>
        <p:txBody>
          <a:bodyPr/>
          <a:lstStyle/>
          <a:p>
            <a:r>
              <a:rPr lang="cs-CZ" altLang="en-US" dirty="0" smtClean="0"/>
              <a:t>SGLT-2 inhibitory: praktické poznámky 				</a:t>
            </a:r>
            <a:endParaRPr lang="en-GB" altLang="en-US" sz="1200" dirty="0"/>
          </a:p>
        </p:txBody>
      </p:sp>
      <p:sp>
        <p:nvSpPr>
          <p:cNvPr id="3" name="Text Placeholder 2"/>
          <p:cNvSpPr>
            <a:spLocks noGrp="1"/>
          </p:cNvSpPr>
          <p:nvPr>
            <p:ph type="body" sz="quarter" idx="10"/>
          </p:nvPr>
        </p:nvSpPr>
        <p:spPr>
          <a:xfrm>
            <a:off x="602880" y="4780430"/>
            <a:ext cx="8509700" cy="272850"/>
          </a:xfrm>
        </p:spPr>
        <p:txBody>
          <a:bodyPr/>
          <a:lstStyle/>
          <a:p>
            <a:pPr algn="r">
              <a:spcBef>
                <a:spcPct val="0"/>
              </a:spcBef>
              <a:buClrTx/>
            </a:pPr>
            <a:r>
              <a:rPr lang="en-GB" altLang="en-US" dirty="0" err="1" smtClean="0">
                <a:ea typeface="MS PGothic" panose="020B0600070205080204" pitchFamily="34" charset="-128"/>
              </a:rPr>
              <a:t>Zinman</a:t>
            </a:r>
            <a:r>
              <a:rPr lang="en-GB" altLang="en-US" dirty="0" smtClean="0">
                <a:ea typeface="MS PGothic" panose="020B0600070205080204" pitchFamily="34" charset="-128"/>
              </a:rPr>
              <a:t> </a:t>
            </a:r>
            <a:r>
              <a:rPr lang="en-GB" altLang="en-US" dirty="0">
                <a:ea typeface="MS PGothic" panose="020B0600070205080204" pitchFamily="34" charset="-128"/>
              </a:rPr>
              <a:t>B et al. </a:t>
            </a:r>
            <a:r>
              <a:rPr lang="en-GB" altLang="en-US" i="1" dirty="0" err="1">
                <a:ea typeface="MS PGothic" panose="020B0600070205080204" pitchFamily="34" charset="-128"/>
              </a:rPr>
              <a:t>Cardiovasc</a:t>
            </a:r>
            <a:r>
              <a:rPr lang="en-GB" altLang="en-US" i="1" dirty="0">
                <a:ea typeface="MS PGothic" panose="020B0600070205080204" pitchFamily="34" charset="-128"/>
              </a:rPr>
              <a:t> </a:t>
            </a:r>
            <a:r>
              <a:rPr lang="en-GB" altLang="en-US" i="1" dirty="0" err="1">
                <a:ea typeface="MS PGothic" panose="020B0600070205080204" pitchFamily="34" charset="-128"/>
              </a:rPr>
              <a:t>Diabetol</a:t>
            </a:r>
            <a:r>
              <a:rPr lang="en-GB" altLang="en-US" i="1" dirty="0">
                <a:ea typeface="MS PGothic" panose="020B0600070205080204" pitchFamily="34" charset="-128"/>
              </a:rPr>
              <a:t> </a:t>
            </a:r>
            <a:r>
              <a:rPr lang="en-GB" altLang="en-US" dirty="0">
                <a:ea typeface="MS PGothic" panose="020B0600070205080204" pitchFamily="34" charset="-128"/>
              </a:rPr>
              <a:t>2014;13:102; </a:t>
            </a:r>
            <a:r>
              <a:rPr lang="en-GB" altLang="en-US" dirty="0" err="1">
                <a:ea typeface="MS PGothic" panose="020B0600070205080204" pitchFamily="34" charset="-128"/>
              </a:rPr>
              <a:t>Zinman</a:t>
            </a:r>
            <a:r>
              <a:rPr lang="en-GB" altLang="en-US" dirty="0">
                <a:ea typeface="MS PGothic" panose="020B0600070205080204" pitchFamily="34" charset="-128"/>
              </a:rPr>
              <a:t> B et al. </a:t>
            </a:r>
            <a:r>
              <a:rPr lang="en-GB" altLang="en-US" i="1" dirty="0">
                <a:ea typeface="MS PGothic" panose="020B0600070205080204" pitchFamily="34" charset="-128"/>
              </a:rPr>
              <a:t>N </a:t>
            </a:r>
            <a:r>
              <a:rPr lang="en-GB" altLang="en-US" i="1" dirty="0" err="1">
                <a:ea typeface="MS PGothic" panose="020B0600070205080204" pitchFamily="34" charset="-128"/>
              </a:rPr>
              <a:t>Engl</a:t>
            </a:r>
            <a:r>
              <a:rPr lang="en-GB" altLang="en-US" i="1" dirty="0">
                <a:ea typeface="MS PGothic" panose="020B0600070205080204" pitchFamily="34" charset="-128"/>
              </a:rPr>
              <a:t> J Med </a:t>
            </a:r>
            <a:r>
              <a:rPr lang="en-GB" altLang="en-US" dirty="0" smtClean="0">
                <a:ea typeface="MS PGothic" panose="020B0600070205080204" pitchFamily="34" charset="-128"/>
              </a:rPr>
              <a:t>2015</a:t>
            </a:r>
            <a:r>
              <a:rPr lang="en-GB" dirty="0" smtClean="0">
                <a:ea typeface="MS PGothic" panose="020B0600070205080204" pitchFamily="34" charset="-128"/>
              </a:rPr>
              <a:t>;373:2117–2128</a:t>
            </a:r>
            <a:endParaRPr lang="en-GB" altLang="en-US" dirty="0">
              <a:ea typeface="MS PGothic" panose="020B0600070205080204" pitchFamily="34" charset="-128"/>
            </a:endParaRPr>
          </a:p>
        </p:txBody>
      </p:sp>
      <p:sp>
        <p:nvSpPr>
          <p:cNvPr id="119" name="Freeform 4"/>
          <p:cNvSpPr>
            <a:spLocks/>
          </p:cNvSpPr>
          <p:nvPr/>
        </p:nvSpPr>
        <p:spPr bwMode="auto">
          <a:xfrm>
            <a:off x="5753517" y="1316831"/>
            <a:ext cx="3090721" cy="2020405"/>
          </a:xfrm>
          <a:custGeom>
            <a:avLst/>
            <a:gdLst>
              <a:gd name="T0" fmla="*/ 0 w 4501661"/>
              <a:gd name="T1" fmla="*/ 0 h 2440745"/>
              <a:gd name="T2" fmla="*/ 0 w 4501661"/>
              <a:gd name="T3" fmla="*/ 2444898 h 2440745"/>
              <a:gd name="T4" fmla="*/ 15564395 w 4501661"/>
              <a:gd name="T5" fmla="*/ 2437852 h 2440745"/>
              <a:gd name="T6" fmla="*/ 0 60000 65536"/>
              <a:gd name="T7" fmla="*/ 0 60000 65536"/>
              <a:gd name="T8" fmla="*/ 0 60000 65536"/>
            </a:gdLst>
            <a:ahLst/>
            <a:cxnLst>
              <a:cxn ang="T6">
                <a:pos x="T0" y="T1"/>
              </a:cxn>
              <a:cxn ang="T7">
                <a:pos x="T2" y="T3"/>
              </a:cxn>
              <a:cxn ang="T8">
                <a:pos x="T4" y="T5"/>
              </a:cxn>
            </a:cxnLst>
            <a:rect l="0" t="0" r="r" b="b"/>
            <a:pathLst>
              <a:path w="4501661" h="2440745">
                <a:moveTo>
                  <a:pt x="0" y="0"/>
                </a:moveTo>
                <a:lnTo>
                  <a:pt x="0" y="2440745"/>
                </a:lnTo>
                <a:lnTo>
                  <a:pt x="4501661" y="2433711"/>
                </a:lnTo>
              </a:path>
            </a:pathLst>
          </a:custGeom>
          <a:noFill/>
          <a:ln w="2857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tIns="72000" rIns="72000" bIns="72000" anchor="ctr"/>
          <a:lstStyle/>
          <a:p>
            <a:pPr defTabSz="914400" fontAlgn="base">
              <a:spcBef>
                <a:spcPct val="0"/>
              </a:spcBef>
              <a:spcAft>
                <a:spcPct val="0"/>
              </a:spcAft>
            </a:pPr>
            <a:endParaRPr lang="en-GB" sz="1800" dirty="0">
              <a:solidFill>
                <a:srgbClr val="001965"/>
              </a:solidFill>
              <a:cs typeface="Arial" charset="0"/>
            </a:endParaRPr>
          </a:p>
        </p:txBody>
      </p:sp>
      <p:sp>
        <p:nvSpPr>
          <p:cNvPr id="120" name="TextBox 5"/>
          <p:cNvSpPr txBox="1">
            <a:spLocks noChangeArrowheads="1"/>
          </p:cNvSpPr>
          <p:nvPr/>
        </p:nvSpPr>
        <p:spPr bwMode="auto">
          <a:xfrm>
            <a:off x="7069222" y="3756668"/>
            <a:ext cx="45044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b="1" dirty="0">
                <a:solidFill>
                  <a:srgbClr val="001965"/>
                </a:solidFill>
              </a:rPr>
              <a:t>Month</a:t>
            </a:r>
          </a:p>
        </p:txBody>
      </p:sp>
      <p:grpSp>
        <p:nvGrpSpPr>
          <p:cNvPr id="128" name="Group 6"/>
          <p:cNvGrpSpPr>
            <a:grpSpLocks/>
          </p:cNvGrpSpPr>
          <p:nvPr/>
        </p:nvGrpSpPr>
        <p:grpSpPr bwMode="auto">
          <a:xfrm>
            <a:off x="5713284" y="3334628"/>
            <a:ext cx="3206058" cy="229232"/>
            <a:chOff x="2078905" y="4881633"/>
            <a:chExt cx="7656593" cy="370471"/>
          </a:xfrm>
        </p:grpSpPr>
        <p:grpSp>
          <p:nvGrpSpPr>
            <p:cNvPr id="130" name="Group 8"/>
            <p:cNvGrpSpPr>
              <a:grpSpLocks/>
            </p:cNvGrpSpPr>
            <p:nvPr/>
          </p:nvGrpSpPr>
          <p:grpSpPr bwMode="auto">
            <a:xfrm>
              <a:off x="2078905" y="4881633"/>
              <a:ext cx="195241" cy="370471"/>
              <a:chOff x="7171919" y="4033076"/>
              <a:chExt cx="72971" cy="277853"/>
            </a:xfrm>
          </p:grpSpPr>
          <p:sp>
            <p:nvSpPr>
              <p:cNvPr id="155" name="TextBox 33"/>
              <p:cNvSpPr txBox="1">
                <a:spLocks noChangeArrowheads="1"/>
              </p:cNvSpPr>
              <p:nvPr/>
            </p:nvSpPr>
            <p:spPr bwMode="auto">
              <a:xfrm>
                <a:off x="7171919" y="4124401"/>
                <a:ext cx="72971" cy="1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dirty="0">
                    <a:solidFill>
                      <a:srgbClr val="001965"/>
                    </a:solidFill>
                  </a:rPr>
                  <a:t>0</a:t>
                </a:r>
              </a:p>
            </p:txBody>
          </p:sp>
          <p:cxnSp>
            <p:nvCxnSpPr>
              <p:cNvPr id="156" name="Straight Connector 34"/>
              <p:cNvCxnSpPr>
                <a:cxnSpLocks noChangeShapeType="1"/>
              </p:cNvCxnSpPr>
              <p:nvPr/>
            </p:nvCxnSpPr>
            <p:spPr bwMode="auto">
              <a:xfrm rot="5400000">
                <a:off x="7177179" y="4064301"/>
                <a:ext cx="6245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31" name="Group 9"/>
            <p:cNvGrpSpPr>
              <a:grpSpLocks/>
            </p:cNvGrpSpPr>
            <p:nvPr/>
          </p:nvGrpSpPr>
          <p:grpSpPr bwMode="auto">
            <a:xfrm>
              <a:off x="3000339" y="4881633"/>
              <a:ext cx="195241" cy="370471"/>
              <a:chOff x="7171917" y="4033076"/>
              <a:chExt cx="72971" cy="277853"/>
            </a:xfrm>
          </p:grpSpPr>
          <p:sp>
            <p:nvSpPr>
              <p:cNvPr id="153" name="TextBox 31"/>
              <p:cNvSpPr txBox="1">
                <a:spLocks noChangeArrowheads="1"/>
              </p:cNvSpPr>
              <p:nvPr/>
            </p:nvSpPr>
            <p:spPr bwMode="auto">
              <a:xfrm>
                <a:off x="7171917" y="4124401"/>
                <a:ext cx="72971" cy="1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dirty="0">
                    <a:solidFill>
                      <a:srgbClr val="001965"/>
                    </a:solidFill>
                  </a:rPr>
                  <a:t>6</a:t>
                </a:r>
              </a:p>
            </p:txBody>
          </p:sp>
          <p:cxnSp>
            <p:nvCxnSpPr>
              <p:cNvPr id="154" name="Straight Connector 32"/>
              <p:cNvCxnSpPr>
                <a:cxnSpLocks noChangeShapeType="1"/>
              </p:cNvCxnSpPr>
              <p:nvPr/>
            </p:nvCxnSpPr>
            <p:spPr bwMode="auto">
              <a:xfrm rot="5400000">
                <a:off x="7177179" y="4064301"/>
                <a:ext cx="6245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32" name="Group 10"/>
            <p:cNvGrpSpPr>
              <a:grpSpLocks/>
            </p:cNvGrpSpPr>
            <p:nvPr/>
          </p:nvGrpSpPr>
          <p:grpSpPr bwMode="auto">
            <a:xfrm>
              <a:off x="3813471" y="4881633"/>
              <a:ext cx="390480" cy="370471"/>
              <a:chOff x="7135432" y="4033076"/>
              <a:chExt cx="145941" cy="277853"/>
            </a:xfrm>
          </p:grpSpPr>
          <p:sp>
            <p:nvSpPr>
              <p:cNvPr id="151" name="TextBox 29"/>
              <p:cNvSpPr txBox="1">
                <a:spLocks noChangeArrowheads="1"/>
              </p:cNvSpPr>
              <p:nvPr/>
            </p:nvSpPr>
            <p:spPr bwMode="auto">
              <a:xfrm>
                <a:off x="7135432" y="4124401"/>
                <a:ext cx="145941" cy="1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dirty="0">
                    <a:solidFill>
                      <a:srgbClr val="001965"/>
                    </a:solidFill>
                  </a:rPr>
                  <a:t>12</a:t>
                </a:r>
              </a:p>
            </p:txBody>
          </p:sp>
          <p:cxnSp>
            <p:nvCxnSpPr>
              <p:cNvPr id="152" name="Straight Connector 30"/>
              <p:cNvCxnSpPr>
                <a:cxnSpLocks noChangeShapeType="1"/>
              </p:cNvCxnSpPr>
              <p:nvPr/>
            </p:nvCxnSpPr>
            <p:spPr bwMode="auto">
              <a:xfrm rot="5400000">
                <a:off x="7177179" y="4064301"/>
                <a:ext cx="6245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33" name="Group 11"/>
            <p:cNvGrpSpPr>
              <a:grpSpLocks/>
            </p:cNvGrpSpPr>
            <p:nvPr/>
          </p:nvGrpSpPr>
          <p:grpSpPr bwMode="auto">
            <a:xfrm>
              <a:off x="4735396" y="4881633"/>
              <a:ext cx="390480" cy="370471"/>
              <a:chOff x="7135434" y="4033076"/>
              <a:chExt cx="145941" cy="277853"/>
            </a:xfrm>
          </p:grpSpPr>
          <p:sp>
            <p:nvSpPr>
              <p:cNvPr id="149" name="TextBox 27"/>
              <p:cNvSpPr txBox="1">
                <a:spLocks noChangeArrowheads="1"/>
              </p:cNvSpPr>
              <p:nvPr/>
            </p:nvSpPr>
            <p:spPr bwMode="auto">
              <a:xfrm>
                <a:off x="7135434" y="4124401"/>
                <a:ext cx="145941" cy="1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dirty="0">
                    <a:solidFill>
                      <a:srgbClr val="001965"/>
                    </a:solidFill>
                  </a:rPr>
                  <a:t>18</a:t>
                </a:r>
              </a:p>
            </p:txBody>
          </p:sp>
          <p:cxnSp>
            <p:nvCxnSpPr>
              <p:cNvPr id="150" name="Straight Connector 28"/>
              <p:cNvCxnSpPr>
                <a:cxnSpLocks noChangeShapeType="1"/>
              </p:cNvCxnSpPr>
              <p:nvPr/>
            </p:nvCxnSpPr>
            <p:spPr bwMode="auto">
              <a:xfrm rot="5400000">
                <a:off x="7177179" y="4064301"/>
                <a:ext cx="6245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34" name="Group 12"/>
            <p:cNvGrpSpPr>
              <a:grpSpLocks/>
            </p:cNvGrpSpPr>
            <p:nvPr/>
          </p:nvGrpSpPr>
          <p:grpSpPr bwMode="auto">
            <a:xfrm>
              <a:off x="6579246" y="4881633"/>
              <a:ext cx="390480" cy="370471"/>
              <a:chOff x="7135434" y="4033076"/>
              <a:chExt cx="145941" cy="277853"/>
            </a:xfrm>
          </p:grpSpPr>
          <p:sp>
            <p:nvSpPr>
              <p:cNvPr id="147" name="TextBox 25"/>
              <p:cNvSpPr txBox="1">
                <a:spLocks noChangeArrowheads="1"/>
              </p:cNvSpPr>
              <p:nvPr/>
            </p:nvSpPr>
            <p:spPr bwMode="auto">
              <a:xfrm>
                <a:off x="7135434" y="4124401"/>
                <a:ext cx="145941" cy="1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dirty="0">
                    <a:solidFill>
                      <a:srgbClr val="001965"/>
                    </a:solidFill>
                  </a:rPr>
                  <a:t>30</a:t>
                </a:r>
              </a:p>
            </p:txBody>
          </p:sp>
          <p:cxnSp>
            <p:nvCxnSpPr>
              <p:cNvPr id="148" name="Straight Connector 26"/>
              <p:cNvCxnSpPr>
                <a:cxnSpLocks noChangeShapeType="1"/>
              </p:cNvCxnSpPr>
              <p:nvPr/>
            </p:nvCxnSpPr>
            <p:spPr bwMode="auto">
              <a:xfrm rot="5400000">
                <a:off x="7177179" y="4064301"/>
                <a:ext cx="6245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35" name="Group 13"/>
            <p:cNvGrpSpPr>
              <a:grpSpLocks/>
            </p:cNvGrpSpPr>
            <p:nvPr/>
          </p:nvGrpSpPr>
          <p:grpSpPr bwMode="auto">
            <a:xfrm>
              <a:off x="5657321" y="4881633"/>
              <a:ext cx="390480" cy="370471"/>
              <a:chOff x="7135434" y="4033076"/>
              <a:chExt cx="145941" cy="277853"/>
            </a:xfrm>
          </p:grpSpPr>
          <p:sp>
            <p:nvSpPr>
              <p:cNvPr id="145" name="TextBox 23"/>
              <p:cNvSpPr txBox="1">
                <a:spLocks noChangeArrowheads="1"/>
              </p:cNvSpPr>
              <p:nvPr/>
            </p:nvSpPr>
            <p:spPr bwMode="auto">
              <a:xfrm>
                <a:off x="7135434" y="4124401"/>
                <a:ext cx="145941" cy="1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dirty="0">
                    <a:solidFill>
                      <a:srgbClr val="001965"/>
                    </a:solidFill>
                  </a:rPr>
                  <a:t>24</a:t>
                </a:r>
              </a:p>
            </p:txBody>
          </p:sp>
          <p:cxnSp>
            <p:nvCxnSpPr>
              <p:cNvPr id="146" name="Straight Connector 24"/>
              <p:cNvCxnSpPr>
                <a:cxnSpLocks noChangeShapeType="1"/>
              </p:cNvCxnSpPr>
              <p:nvPr/>
            </p:nvCxnSpPr>
            <p:spPr bwMode="auto">
              <a:xfrm rot="5400000">
                <a:off x="7177179" y="4064301"/>
                <a:ext cx="6245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36" name="Group 14"/>
            <p:cNvGrpSpPr>
              <a:grpSpLocks/>
            </p:cNvGrpSpPr>
            <p:nvPr/>
          </p:nvGrpSpPr>
          <p:grpSpPr bwMode="auto">
            <a:xfrm>
              <a:off x="8423096" y="4881633"/>
              <a:ext cx="390480" cy="370471"/>
              <a:chOff x="7135434" y="4033076"/>
              <a:chExt cx="145941" cy="277853"/>
            </a:xfrm>
          </p:grpSpPr>
          <p:sp>
            <p:nvSpPr>
              <p:cNvPr id="143" name="TextBox 21"/>
              <p:cNvSpPr txBox="1">
                <a:spLocks noChangeArrowheads="1"/>
              </p:cNvSpPr>
              <p:nvPr/>
            </p:nvSpPr>
            <p:spPr bwMode="auto">
              <a:xfrm>
                <a:off x="7135434" y="4124401"/>
                <a:ext cx="145941" cy="1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dirty="0">
                    <a:solidFill>
                      <a:srgbClr val="001965"/>
                    </a:solidFill>
                  </a:rPr>
                  <a:t>42</a:t>
                </a:r>
              </a:p>
            </p:txBody>
          </p:sp>
          <p:cxnSp>
            <p:nvCxnSpPr>
              <p:cNvPr id="144" name="Straight Connector 22"/>
              <p:cNvCxnSpPr>
                <a:cxnSpLocks noChangeShapeType="1"/>
              </p:cNvCxnSpPr>
              <p:nvPr/>
            </p:nvCxnSpPr>
            <p:spPr bwMode="auto">
              <a:xfrm rot="5400000">
                <a:off x="7177179" y="4064301"/>
                <a:ext cx="6245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37" name="Group 15"/>
            <p:cNvGrpSpPr>
              <a:grpSpLocks/>
            </p:cNvGrpSpPr>
            <p:nvPr/>
          </p:nvGrpSpPr>
          <p:grpSpPr bwMode="auto">
            <a:xfrm>
              <a:off x="7501171" y="4881633"/>
              <a:ext cx="390480" cy="370471"/>
              <a:chOff x="7135434" y="4033076"/>
              <a:chExt cx="145941" cy="277853"/>
            </a:xfrm>
          </p:grpSpPr>
          <p:sp>
            <p:nvSpPr>
              <p:cNvPr id="141" name="TextBox 19"/>
              <p:cNvSpPr txBox="1">
                <a:spLocks noChangeArrowheads="1"/>
              </p:cNvSpPr>
              <p:nvPr/>
            </p:nvSpPr>
            <p:spPr bwMode="auto">
              <a:xfrm>
                <a:off x="7135434" y="4124401"/>
                <a:ext cx="145941" cy="1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dirty="0">
                    <a:solidFill>
                      <a:srgbClr val="001965"/>
                    </a:solidFill>
                  </a:rPr>
                  <a:t>36</a:t>
                </a:r>
              </a:p>
            </p:txBody>
          </p:sp>
          <p:cxnSp>
            <p:nvCxnSpPr>
              <p:cNvPr id="142" name="Straight Connector 20"/>
              <p:cNvCxnSpPr>
                <a:cxnSpLocks noChangeShapeType="1"/>
              </p:cNvCxnSpPr>
              <p:nvPr/>
            </p:nvCxnSpPr>
            <p:spPr bwMode="auto">
              <a:xfrm rot="5400000">
                <a:off x="7177179" y="4064301"/>
                <a:ext cx="6245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38" name="Group 16"/>
            <p:cNvGrpSpPr>
              <a:grpSpLocks/>
            </p:cNvGrpSpPr>
            <p:nvPr/>
          </p:nvGrpSpPr>
          <p:grpSpPr bwMode="auto">
            <a:xfrm>
              <a:off x="9345018" y="4881633"/>
              <a:ext cx="390480" cy="370471"/>
              <a:chOff x="7135434" y="4033076"/>
              <a:chExt cx="145941" cy="277853"/>
            </a:xfrm>
          </p:grpSpPr>
          <p:sp>
            <p:nvSpPr>
              <p:cNvPr id="139" name="TextBox 17"/>
              <p:cNvSpPr txBox="1">
                <a:spLocks noChangeArrowheads="1"/>
              </p:cNvSpPr>
              <p:nvPr/>
            </p:nvSpPr>
            <p:spPr bwMode="auto">
              <a:xfrm>
                <a:off x="7135434" y="4124401"/>
                <a:ext cx="145941" cy="186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dirty="0">
                    <a:solidFill>
                      <a:srgbClr val="001965"/>
                    </a:solidFill>
                  </a:rPr>
                  <a:t>48</a:t>
                </a:r>
              </a:p>
            </p:txBody>
          </p:sp>
          <p:cxnSp>
            <p:nvCxnSpPr>
              <p:cNvPr id="140" name="Straight Connector 18"/>
              <p:cNvCxnSpPr>
                <a:cxnSpLocks noChangeShapeType="1"/>
              </p:cNvCxnSpPr>
              <p:nvPr/>
            </p:nvCxnSpPr>
            <p:spPr bwMode="auto">
              <a:xfrm rot="5400000">
                <a:off x="7177179" y="4064301"/>
                <a:ext cx="6245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grpSp>
        <p:nvGrpSpPr>
          <p:cNvPr id="157" name="Group 35"/>
          <p:cNvGrpSpPr>
            <a:grpSpLocks/>
          </p:cNvGrpSpPr>
          <p:nvPr/>
        </p:nvGrpSpPr>
        <p:grpSpPr bwMode="auto">
          <a:xfrm>
            <a:off x="5519302" y="1251160"/>
            <a:ext cx="230841" cy="2165218"/>
            <a:chOff x="1617526" y="1524248"/>
            <a:chExt cx="549602" cy="3489640"/>
          </a:xfrm>
        </p:grpSpPr>
        <p:grpSp>
          <p:nvGrpSpPr>
            <p:cNvPr id="158" name="Group 36"/>
            <p:cNvGrpSpPr>
              <a:grpSpLocks/>
            </p:cNvGrpSpPr>
            <p:nvPr/>
          </p:nvGrpSpPr>
          <p:grpSpPr bwMode="auto">
            <a:xfrm>
              <a:off x="1617526" y="1524248"/>
              <a:ext cx="549602" cy="248019"/>
              <a:chOff x="587664" y="1815138"/>
              <a:chExt cx="412200" cy="186015"/>
            </a:xfrm>
          </p:grpSpPr>
          <p:sp>
            <p:nvSpPr>
              <p:cNvPr id="171" name="TextBox 49"/>
              <p:cNvSpPr txBox="1">
                <a:spLocks noChangeArrowheads="1"/>
              </p:cNvSpPr>
              <p:nvPr/>
            </p:nvSpPr>
            <p:spPr bwMode="auto">
              <a:xfrm>
                <a:off x="587664" y="1815138"/>
                <a:ext cx="291964" cy="1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defTabSz="914400" fontAlgn="base">
                  <a:spcBef>
                    <a:spcPct val="0"/>
                  </a:spcBef>
                  <a:spcAft>
                    <a:spcPct val="0"/>
                  </a:spcAft>
                </a:pPr>
                <a:r>
                  <a:rPr lang="en-GB" altLang="en-US" sz="1000" dirty="0">
                    <a:solidFill>
                      <a:srgbClr val="001965"/>
                    </a:solidFill>
                  </a:rPr>
                  <a:t>20</a:t>
                </a:r>
              </a:p>
            </p:txBody>
          </p:sp>
          <p:cxnSp>
            <p:nvCxnSpPr>
              <p:cNvPr id="172" name="Straight Connector 50"/>
              <p:cNvCxnSpPr>
                <a:cxnSpLocks noChangeShapeType="1"/>
              </p:cNvCxnSpPr>
              <p:nvPr/>
            </p:nvCxnSpPr>
            <p:spPr bwMode="auto">
              <a:xfrm>
                <a:off x="916744" y="1907471"/>
                <a:ext cx="8312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59" name="Group 37"/>
            <p:cNvGrpSpPr>
              <a:grpSpLocks/>
            </p:cNvGrpSpPr>
            <p:nvPr/>
          </p:nvGrpSpPr>
          <p:grpSpPr bwMode="auto">
            <a:xfrm>
              <a:off x="1617526" y="3145058"/>
              <a:ext cx="549602" cy="248019"/>
              <a:chOff x="587664" y="1815138"/>
              <a:chExt cx="412200" cy="186015"/>
            </a:xfrm>
          </p:grpSpPr>
          <p:sp>
            <p:nvSpPr>
              <p:cNvPr id="169" name="TextBox 47"/>
              <p:cNvSpPr txBox="1">
                <a:spLocks noChangeArrowheads="1"/>
              </p:cNvSpPr>
              <p:nvPr/>
            </p:nvSpPr>
            <p:spPr bwMode="auto">
              <a:xfrm>
                <a:off x="587664" y="1815138"/>
                <a:ext cx="291964" cy="1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defTabSz="914400" fontAlgn="base">
                  <a:spcBef>
                    <a:spcPct val="0"/>
                  </a:spcBef>
                  <a:spcAft>
                    <a:spcPct val="0"/>
                  </a:spcAft>
                </a:pPr>
                <a:r>
                  <a:rPr lang="en-GB" altLang="en-US" sz="1000" dirty="0">
                    <a:solidFill>
                      <a:srgbClr val="001965"/>
                    </a:solidFill>
                  </a:rPr>
                  <a:t>10</a:t>
                </a:r>
              </a:p>
            </p:txBody>
          </p:sp>
          <p:cxnSp>
            <p:nvCxnSpPr>
              <p:cNvPr id="170" name="Straight Connector 48"/>
              <p:cNvCxnSpPr>
                <a:cxnSpLocks noChangeShapeType="1"/>
              </p:cNvCxnSpPr>
              <p:nvPr/>
            </p:nvCxnSpPr>
            <p:spPr bwMode="auto">
              <a:xfrm>
                <a:off x="916744" y="1907471"/>
                <a:ext cx="8312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60" name="Group 38"/>
            <p:cNvGrpSpPr>
              <a:grpSpLocks/>
            </p:cNvGrpSpPr>
            <p:nvPr/>
          </p:nvGrpSpPr>
          <p:grpSpPr bwMode="auto">
            <a:xfrm>
              <a:off x="1812149" y="3955463"/>
              <a:ext cx="354954" cy="248019"/>
              <a:chOff x="733642" y="1815138"/>
              <a:chExt cx="266220" cy="186015"/>
            </a:xfrm>
          </p:grpSpPr>
          <p:sp>
            <p:nvSpPr>
              <p:cNvPr id="167" name="TextBox 45"/>
              <p:cNvSpPr txBox="1">
                <a:spLocks noChangeArrowheads="1"/>
              </p:cNvSpPr>
              <p:nvPr/>
            </p:nvSpPr>
            <p:spPr bwMode="auto">
              <a:xfrm>
                <a:off x="733642" y="1815138"/>
                <a:ext cx="145985" cy="1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defTabSz="914400" fontAlgn="base">
                  <a:spcBef>
                    <a:spcPct val="0"/>
                  </a:spcBef>
                  <a:spcAft>
                    <a:spcPct val="0"/>
                  </a:spcAft>
                </a:pPr>
                <a:r>
                  <a:rPr lang="en-GB" altLang="en-US" sz="1000" dirty="0">
                    <a:solidFill>
                      <a:srgbClr val="001965"/>
                    </a:solidFill>
                  </a:rPr>
                  <a:t>5</a:t>
                </a:r>
              </a:p>
            </p:txBody>
          </p:sp>
          <p:cxnSp>
            <p:nvCxnSpPr>
              <p:cNvPr id="168" name="Straight Connector 46"/>
              <p:cNvCxnSpPr>
                <a:cxnSpLocks noChangeShapeType="1"/>
              </p:cNvCxnSpPr>
              <p:nvPr/>
            </p:nvCxnSpPr>
            <p:spPr bwMode="auto">
              <a:xfrm>
                <a:off x="916741" y="1907471"/>
                <a:ext cx="83121"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61" name="Group 39"/>
            <p:cNvGrpSpPr>
              <a:grpSpLocks/>
            </p:cNvGrpSpPr>
            <p:nvPr/>
          </p:nvGrpSpPr>
          <p:grpSpPr bwMode="auto">
            <a:xfrm>
              <a:off x="1812152" y="4765869"/>
              <a:ext cx="354954" cy="248019"/>
              <a:chOff x="733642" y="1815138"/>
              <a:chExt cx="266220" cy="186015"/>
            </a:xfrm>
          </p:grpSpPr>
          <p:sp>
            <p:nvSpPr>
              <p:cNvPr id="165" name="TextBox 43"/>
              <p:cNvSpPr txBox="1">
                <a:spLocks noChangeArrowheads="1"/>
              </p:cNvSpPr>
              <p:nvPr/>
            </p:nvSpPr>
            <p:spPr bwMode="auto">
              <a:xfrm>
                <a:off x="733642" y="1815138"/>
                <a:ext cx="145985" cy="1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defTabSz="914400" fontAlgn="base">
                  <a:spcBef>
                    <a:spcPct val="0"/>
                  </a:spcBef>
                  <a:spcAft>
                    <a:spcPct val="0"/>
                  </a:spcAft>
                </a:pPr>
                <a:r>
                  <a:rPr lang="en-GB" altLang="en-US" sz="1000" dirty="0">
                    <a:solidFill>
                      <a:srgbClr val="001965"/>
                    </a:solidFill>
                  </a:rPr>
                  <a:t>0</a:t>
                </a:r>
              </a:p>
            </p:txBody>
          </p:sp>
          <p:cxnSp>
            <p:nvCxnSpPr>
              <p:cNvPr id="166" name="Straight Connector 44"/>
              <p:cNvCxnSpPr>
                <a:cxnSpLocks noChangeShapeType="1"/>
              </p:cNvCxnSpPr>
              <p:nvPr/>
            </p:nvCxnSpPr>
            <p:spPr bwMode="auto">
              <a:xfrm>
                <a:off x="916741" y="1907471"/>
                <a:ext cx="83121"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nvGrpSpPr>
            <p:cNvPr id="162" name="Group 40"/>
            <p:cNvGrpSpPr>
              <a:grpSpLocks/>
            </p:cNvGrpSpPr>
            <p:nvPr/>
          </p:nvGrpSpPr>
          <p:grpSpPr bwMode="auto">
            <a:xfrm>
              <a:off x="1617526" y="2334653"/>
              <a:ext cx="549602" cy="248019"/>
              <a:chOff x="587664" y="1815138"/>
              <a:chExt cx="412200" cy="186015"/>
            </a:xfrm>
          </p:grpSpPr>
          <p:sp>
            <p:nvSpPr>
              <p:cNvPr id="163" name="TextBox 41"/>
              <p:cNvSpPr txBox="1">
                <a:spLocks noChangeArrowheads="1"/>
              </p:cNvSpPr>
              <p:nvPr/>
            </p:nvSpPr>
            <p:spPr bwMode="auto">
              <a:xfrm>
                <a:off x="587664" y="1815138"/>
                <a:ext cx="291964" cy="18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defTabSz="914400" fontAlgn="base">
                  <a:spcBef>
                    <a:spcPct val="0"/>
                  </a:spcBef>
                  <a:spcAft>
                    <a:spcPct val="0"/>
                  </a:spcAft>
                </a:pPr>
                <a:r>
                  <a:rPr lang="en-GB" altLang="en-US" sz="1000" dirty="0">
                    <a:solidFill>
                      <a:srgbClr val="001965"/>
                    </a:solidFill>
                  </a:rPr>
                  <a:t>15</a:t>
                </a:r>
              </a:p>
            </p:txBody>
          </p:sp>
          <p:cxnSp>
            <p:nvCxnSpPr>
              <p:cNvPr id="164" name="Straight Connector 42"/>
              <p:cNvCxnSpPr>
                <a:cxnSpLocks noChangeShapeType="1"/>
              </p:cNvCxnSpPr>
              <p:nvPr/>
            </p:nvCxnSpPr>
            <p:spPr bwMode="auto">
              <a:xfrm>
                <a:off x="916744" y="1907471"/>
                <a:ext cx="8312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pSp>
      </p:grpSp>
      <p:sp>
        <p:nvSpPr>
          <p:cNvPr id="173" name="TextBox 51"/>
          <p:cNvSpPr txBox="1">
            <a:spLocks noChangeArrowheads="1"/>
          </p:cNvSpPr>
          <p:nvPr/>
        </p:nvSpPr>
        <p:spPr bwMode="auto">
          <a:xfrm>
            <a:off x="5890621" y="1398051"/>
            <a:ext cx="199608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defTabSz="914400" fontAlgn="base">
              <a:spcBef>
                <a:spcPct val="0"/>
              </a:spcBef>
              <a:spcAft>
                <a:spcPct val="0"/>
              </a:spcAft>
            </a:pPr>
            <a:r>
              <a:rPr lang="en-GB" altLang="en-US" sz="1000" b="1" dirty="0" smtClean="0">
                <a:solidFill>
                  <a:srgbClr val="001965"/>
                </a:solidFill>
              </a:rPr>
              <a:t>HR: 0.86</a:t>
            </a:r>
            <a:r>
              <a:rPr lang="en-GB" altLang="en-US" sz="1000" dirty="0" smtClean="0">
                <a:solidFill>
                  <a:srgbClr val="001965"/>
                </a:solidFill>
              </a:rPr>
              <a:t> </a:t>
            </a:r>
          </a:p>
          <a:p>
            <a:pPr defTabSz="914400" fontAlgn="base">
              <a:spcBef>
                <a:spcPct val="0"/>
              </a:spcBef>
              <a:spcAft>
                <a:spcPct val="0"/>
              </a:spcAft>
            </a:pPr>
            <a:r>
              <a:rPr lang="en-GB" altLang="en-US" sz="1000" dirty="0" smtClean="0">
                <a:solidFill>
                  <a:srgbClr val="001965"/>
                </a:solidFill>
              </a:rPr>
              <a:t>95.02</a:t>
            </a:r>
            <a:r>
              <a:rPr lang="en-GB" altLang="en-US" sz="1000" dirty="0">
                <a:solidFill>
                  <a:srgbClr val="001965"/>
                </a:solidFill>
              </a:rPr>
              <a:t>% </a:t>
            </a:r>
            <a:r>
              <a:rPr lang="en-GB" altLang="en-US" sz="1000" dirty="0" smtClean="0">
                <a:solidFill>
                  <a:srgbClr val="001965"/>
                </a:solidFill>
              </a:rPr>
              <a:t>CI: 0.74–0.99</a:t>
            </a:r>
            <a:r>
              <a:rPr lang="en-GB" altLang="en-US" sz="1000" dirty="0">
                <a:solidFill>
                  <a:srgbClr val="001965"/>
                </a:solidFill>
              </a:rPr>
              <a:t/>
            </a:r>
            <a:br>
              <a:rPr lang="en-GB" altLang="en-US" sz="1000" dirty="0">
                <a:solidFill>
                  <a:srgbClr val="001965"/>
                </a:solidFill>
              </a:rPr>
            </a:br>
            <a:r>
              <a:rPr lang="en-GB" altLang="en-US" sz="1000" i="1" dirty="0">
                <a:solidFill>
                  <a:srgbClr val="001965"/>
                </a:solidFill>
              </a:rPr>
              <a:t>p</a:t>
            </a:r>
            <a:r>
              <a:rPr lang="en-GB" altLang="en-US" sz="1000" dirty="0">
                <a:solidFill>
                  <a:srgbClr val="001965"/>
                </a:solidFill>
              </a:rPr>
              <a:t>=0.04 for superiority</a:t>
            </a:r>
          </a:p>
        </p:txBody>
      </p:sp>
      <p:sp>
        <p:nvSpPr>
          <p:cNvPr id="174" name="TextBox 52"/>
          <p:cNvSpPr txBox="1">
            <a:spLocks noChangeArrowheads="1"/>
          </p:cNvSpPr>
          <p:nvPr/>
        </p:nvSpPr>
        <p:spPr bwMode="auto">
          <a:xfrm rot="16200000">
            <a:off x="4209882" y="2185048"/>
            <a:ext cx="202171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ctr" defTabSz="914400" fontAlgn="base">
              <a:spcBef>
                <a:spcPct val="0"/>
              </a:spcBef>
              <a:spcAft>
                <a:spcPct val="0"/>
              </a:spcAft>
            </a:pPr>
            <a:r>
              <a:rPr lang="en-GB" altLang="en-US" sz="1000" b="1" dirty="0">
                <a:solidFill>
                  <a:srgbClr val="001965"/>
                </a:solidFill>
              </a:rPr>
              <a:t>Patients with event (%)</a:t>
            </a:r>
          </a:p>
        </p:txBody>
      </p:sp>
      <p:sp>
        <p:nvSpPr>
          <p:cNvPr id="175" name="Freeform 174"/>
          <p:cNvSpPr/>
          <p:nvPr/>
        </p:nvSpPr>
        <p:spPr>
          <a:xfrm>
            <a:off x="5756169" y="1692535"/>
            <a:ext cx="3080084" cy="1627622"/>
          </a:xfrm>
          <a:custGeom>
            <a:avLst/>
            <a:gdLst>
              <a:gd name="connsiteX0" fmla="*/ 7357035 w 7357035"/>
              <a:gd name="connsiteY0" fmla="*/ 0 h 2623671"/>
              <a:gd name="connsiteX1" fmla="*/ 7261412 w 7357035"/>
              <a:gd name="connsiteY1" fmla="*/ 0 h 2623671"/>
              <a:gd name="connsiteX2" fmla="*/ 7261412 w 7357035"/>
              <a:gd name="connsiteY2" fmla="*/ 89647 h 2623671"/>
              <a:gd name="connsiteX3" fmla="*/ 7171764 w 7357035"/>
              <a:gd name="connsiteY3" fmla="*/ 89647 h 2623671"/>
              <a:gd name="connsiteX4" fmla="*/ 7159812 w 7357035"/>
              <a:gd name="connsiteY4" fmla="*/ 101599 h 2623671"/>
              <a:gd name="connsiteX5" fmla="*/ 7159812 w 7357035"/>
              <a:gd name="connsiteY5" fmla="*/ 161365 h 2623671"/>
              <a:gd name="connsiteX6" fmla="*/ 7123953 w 7357035"/>
              <a:gd name="connsiteY6" fmla="*/ 161365 h 2623671"/>
              <a:gd name="connsiteX7" fmla="*/ 7123953 w 7357035"/>
              <a:gd name="connsiteY7" fmla="*/ 215153 h 2623671"/>
              <a:gd name="connsiteX8" fmla="*/ 6968564 w 7357035"/>
              <a:gd name="connsiteY8" fmla="*/ 215153 h 2623671"/>
              <a:gd name="connsiteX9" fmla="*/ 6968564 w 7357035"/>
              <a:gd name="connsiteY9" fmla="*/ 251012 h 2623671"/>
              <a:gd name="connsiteX10" fmla="*/ 6920753 w 7357035"/>
              <a:gd name="connsiteY10" fmla="*/ 251012 h 2623671"/>
              <a:gd name="connsiteX11" fmla="*/ 6920753 w 7357035"/>
              <a:gd name="connsiteY11" fmla="*/ 268941 h 2623671"/>
              <a:gd name="connsiteX12" fmla="*/ 6872941 w 7357035"/>
              <a:gd name="connsiteY12" fmla="*/ 268941 h 2623671"/>
              <a:gd name="connsiteX13" fmla="*/ 6872941 w 7357035"/>
              <a:gd name="connsiteY13" fmla="*/ 316753 h 2623671"/>
              <a:gd name="connsiteX14" fmla="*/ 6771341 w 7357035"/>
              <a:gd name="connsiteY14" fmla="*/ 316753 h 2623671"/>
              <a:gd name="connsiteX15" fmla="*/ 6771341 w 7357035"/>
              <a:gd name="connsiteY15" fmla="*/ 334682 h 2623671"/>
              <a:gd name="connsiteX16" fmla="*/ 6681694 w 7357035"/>
              <a:gd name="connsiteY16" fmla="*/ 334682 h 2623671"/>
              <a:gd name="connsiteX17" fmla="*/ 6681694 w 7357035"/>
              <a:gd name="connsiteY17" fmla="*/ 358588 h 2623671"/>
              <a:gd name="connsiteX18" fmla="*/ 6627906 w 7357035"/>
              <a:gd name="connsiteY18" fmla="*/ 358588 h 2623671"/>
              <a:gd name="connsiteX19" fmla="*/ 6627906 w 7357035"/>
              <a:gd name="connsiteY19" fmla="*/ 382494 h 2623671"/>
              <a:gd name="connsiteX20" fmla="*/ 6490447 w 7357035"/>
              <a:gd name="connsiteY20" fmla="*/ 382494 h 2623671"/>
              <a:gd name="connsiteX21" fmla="*/ 6490447 w 7357035"/>
              <a:gd name="connsiteY21" fmla="*/ 412376 h 2623671"/>
              <a:gd name="connsiteX22" fmla="*/ 6370917 w 7357035"/>
              <a:gd name="connsiteY22" fmla="*/ 412376 h 2623671"/>
              <a:gd name="connsiteX23" fmla="*/ 6370917 w 7357035"/>
              <a:gd name="connsiteY23" fmla="*/ 436282 h 2623671"/>
              <a:gd name="connsiteX24" fmla="*/ 6329082 w 7357035"/>
              <a:gd name="connsiteY24" fmla="*/ 436282 h 2623671"/>
              <a:gd name="connsiteX25" fmla="*/ 6341035 w 7357035"/>
              <a:gd name="connsiteY25" fmla="*/ 448235 h 2623671"/>
              <a:gd name="connsiteX26" fmla="*/ 6305176 w 7357035"/>
              <a:gd name="connsiteY26" fmla="*/ 448235 h 2623671"/>
              <a:gd name="connsiteX27" fmla="*/ 6305176 w 7357035"/>
              <a:gd name="connsiteY27" fmla="*/ 472141 h 2623671"/>
              <a:gd name="connsiteX28" fmla="*/ 6263341 w 7357035"/>
              <a:gd name="connsiteY28" fmla="*/ 472141 h 2623671"/>
              <a:gd name="connsiteX29" fmla="*/ 6257364 w 7357035"/>
              <a:gd name="connsiteY29" fmla="*/ 478118 h 2623671"/>
              <a:gd name="connsiteX30" fmla="*/ 6209553 w 7357035"/>
              <a:gd name="connsiteY30" fmla="*/ 478118 h 2623671"/>
              <a:gd name="connsiteX31" fmla="*/ 6209553 w 7357035"/>
              <a:gd name="connsiteY31" fmla="*/ 508000 h 2623671"/>
              <a:gd name="connsiteX32" fmla="*/ 6179670 w 7357035"/>
              <a:gd name="connsiteY32" fmla="*/ 508000 h 2623671"/>
              <a:gd name="connsiteX33" fmla="*/ 6191623 w 7357035"/>
              <a:gd name="connsiteY33" fmla="*/ 519953 h 2623671"/>
              <a:gd name="connsiteX34" fmla="*/ 6155764 w 7357035"/>
              <a:gd name="connsiteY34" fmla="*/ 519953 h 2623671"/>
              <a:gd name="connsiteX35" fmla="*/ 6155764 w 7357035"/>
              <a:gd name="connsiteY35" fmla="*/ 549835 h 2623671"/>
              <a:gd name="connsiteX36" fmla="*/ 6119906 w 7357035"/>
              <a:gd name="connsiteY36" fmla="*/ 549835 h 2623671"/>
              <a:gd name="connsiteX37" fmla="*/ 6119906 w 7357035"/>
              <a:gd name="connsiteY37" fmla="*/ 579718 h 2623671"/>
              <a:gd name="connsiteX38" fmla="*/ 6101977 w 7357035"/>
              <a:gd name="connsiteY38" fmla="*/ 597647 h 2623671"/>
              <a:gd name="connsiteX39" fmla="*/ 6078070 w 7357035"/>
              <a:gd name="connsiteY39" fmla="*/ 597647 h 2623671"/>
              <a:gd name="connsiteX40" fmla="*/ 6078070 w 7357035"/>
              <a:gd name="connsiteY40" fmla="*/ 615576 h 2623671"/>
              <a:gd name="connsiteX41" fmla="*/ 6024282 w 7357035"/>
              <a:gd name="connsiteY41" fmla="*/ 615576 h 2623671"/>
              <a:gd name="connsiteX42" fmla="*/ 6030259 w 7357035"/>
              <a:gd name="connsiteY42" fmla="*/ 621553 h 2623671"/>
              <a:gd name="connsiteX43" fmla="*/ 5940612 w 7357035"/>
              <a:gd name="connsiteY43" fmla="*/ 621553 h 2623671"/>
              <a:gd name="connsiteX44" fmla="*/ 5940612 w 7357035"/>
              <a:gd name="connsiteY44" fmla="*/ 645459 h 2623671"/>
              <a:gd name="connsiteX45" fmla="*/ 5934635 w 7357035"/>
              <a:gd name="connsiteY45" fmla="*/ 639482 h 2623671"/>
              <a:gd name="connsiteX46" fmla="*/ 5934635 w 7357035"/>
              <a:gd name="connsiteY46" fmla="*/ 657412 h 2623671"/>
              <a:gd name="connsiteX47" fmla="*/ 5898776 w 7357035"/>
              <a:gd name="connsiteY47" fmla="*/ 657412 h 2623671"/>
              <a:gd name="connsiteX48" fmla="*/ 5898776 w 7357035"/>
              <a:gd name="connsiteY48" fmla="*/ 675341 h 2623671"/>
              <a:gd name="connsiteX49" fmla="*/ 5868894 w 7357035"/>
              <a:gd name="connsiteY49" fmla="*/ 675341 h 2623671"/>
              <a:gd name="connsiteX50" fmla="*/ 5868894 w 7357035"/>
              <a:gd name="connsiteY50" fmla="*/ 687294 h 2623671"/>
              <a:gd name="connsiteX51" fmla="*/ 5850964 w 7357035"/>
              <a:gd name="connsiteY51" fmla="*/ 705224 h 2623671"/>
              <a:gd name="connsiteX52" fmla="*/ 5803153 w 7357035"/>
              <a:gd name="connsiteY52" fmla="*/ 705224 h 2623671"/>
              <a:gd name="connsiteX53" fmla="*/ 5803153 w 7357035"/>
              <a:gd name="connsiteY53" fmla="*/ 741082 h 2623671"/>
              <a:gd name="connsiteX54" fmla="*/ 5677647 w 7357035"/>
              <a:gd name="connsiteY54" fmla="*/ 741082 h 2623671"/>
              <a:gd name="connsiteX55" fmla="*/ 5677647 w 7357035"/>
              <a:gd name="connsiteY55" fmla="*/ 747059 h 2623671"/>
              <a:gd name="connsiteX56" fmla="*/ 5641788 w 7357035"/>
              <a:gd name="connsiteY56" fmla="*/ 747059 h 2623671"/>
              <a:gd name="connsiteX57" fmla="*/ 5641788 w 7357035"/>
              <a:gd name="connsiteY57" fmla="*/ 770965 h 2623671"/>
              <a:gd name="connsiteX58" fmla="*/ 5593976 w 7357035"/>
              <a:gd name="connsiteY58" fmla="*/ 770965 h 2623671"/>
              <a:gd name="connsiteX59" fmla="*/ 5593976 w 7357035"/>
              <a:gd name="connsiteY59" fmla="*/ 794871 h 2623671"/>
              <a:gd name="connsiteX60" fmla="*/ 5492376 w 7357035"/>
              <a:gd name="connsiteY60" fmla="*/ 794871 h 2623671"/>
              <a:gd name="connsiteX61" fmla="*/ 5492376 w 7357035"/>
              <a:gd name="connsiteY61" fmla="*/ 812800 h 2623671"/>
              <a:gd name="connsiteX62" fmla="*/ 5450541 w 7357035"/>
              <a:gd name="connsiteY62" fmla="*/ 812800 h 2623671"/>
              <a:gd name="connsiteX63" fmla="*/ 5450541 w 7357035"/>
              <a:gd name="connsiteY63" fmla="*/ 824753 h 2623671"/>
              <a:gd name="connsiteX64" fmla="*/ 5408706 w 7357035"/>
              <a:gd name="connsiteY64" fmla="*/ 824753 h 2623671"/>
              <a:gd name="connsiteX65" fmla="*/ 5408706 w 7357035"/>
              <a:gd name="connsiteY65" fmla="*/ 842682 h 2623671"/>
              <a:gd name="connsiteX66" fmla="*/ 5331012 w 7357035"/>
              <a:gd name="connsiteY66" fmla="*/ 842682 h 2623671"/>
              <a:gd name="connsiteX67" fmla="*/ 5325035 w 7357035"/>
              <a:gd name="connsiteY67" fmla="*/ 848659 h 2623671"/>
              <a:gd name="connsiteX68" fmla="*/ 5205506 w 7357035"/>
              <a:gd name="connsiteY68" fmla="*/ 848659 h 2623671"/>
              <a:gd name="connsiteX69" fmla="*/ 5205506 w 7357035"/>
              <a:gd name="connsiteY69" fmla="*/ 866588 h 2623671"/>
              <a:gd name="connsiteX70" fmla="*/ 5157694 w 7357035"/>
              <a:gd name="connsiteY70" fmla="*/ 866588 h 2623671"/>
              <a:gd name="connsiteX71" fmla="*/ 5157694 w 7357035"/>
              <a:gd name="connsiteY71" fmla="*/ 884518 h 2623671"/>
              <a:gd name="connsiteX72" fmla="*/ 5127812 w 7357035"/>
              <a:gd name="connsiteY72" fmla="*/ 884518 h 2623671"/>
              <a:gd name="connsiteX73" fmla="*/ 5127812 w 7357035"/>
              <a:gd name="connsiteY73" fmla="*/ 902447 h 2623671"/>
              <a:gd name="connsiteX74" fmla="*/ 5109882 w 7357035"/>
              <a:gd name="connsiteY74" fmla="*/ 902447 h 2623671"/>
              <a:gd name="connsiteX75" fmla="*/ 5109882 w 7357035"/>
              <a:gd name="connsiteY75" fmla="*/ 914400 h 2623671"/>
              <a:gd name="connsiteX76" fmla="*/ 5062070 w 7357035"/>
              <a:gd name="connsiteY76" fmla="*/ 914400 h 2623671"/>
              <a:gd name="connsiteX77" fmla="*/ 5062070 w 7357035"/>
              <a:gd name="connsiteY77" fmla="*/ 926353 h 2623671"/>
              <a:gd name="connsiteX78" fmla="*/ 5020235 w 7357035"/>
              <a:gd name="connsiteY78" fmla="*/ 926353 h 2623671"/>
              <a:gd name="connsiteX79" fmla="*/ 5020235 w 7357035"/>
              <a:gd name="connsiteY79" fmla="*/ 938306 h 2623671"/>
              <a:gd name="connsiteX80" fmla="*/ 4972423 w 7357035"/>
              <a:gd name="connsiteY80" fmla="*/ 938306 h 2623671"/>
              <a:gd name="connsiteX81" fmla="*/ 4972423 w 7357035"/>
              <a:gd name="connsiteY81" fmla="*/ 950259 h 2623671"/>
              <a:gd name="connsiteX82" fmla="*/ 4954494 w 7357035"/>
              <a:gd name="connsiteY82" fmla="*/ 950259 h 2623671"/>
              <a:gd name="connsiteX83" fmla="*/ 4954494 w 7357035"/>
              <a:gd name="connsiteY83" fmla="*/ 968188 h 2623671"/>
              <a:gd name="connsiteX84" fmla="*/ 4888753 w 7357035"/>
              <a:gd name="connsiteY84" fmla="*/ 968188 h 2623671"/>
              <a:gd name="connsiteX85" fmla="*/ 4888753 w 7357035"/>
              <a:gd name="connsiteY85" fmla="*/ 980141 h 2623671"/>
              <a:gd name="connsiteX86" fmla="*/ 4775200 w 7357035"/>
              <a:gd name="connsiteY86" fmla="*/ 980141 h 2623671"/>
              <a:gd name="connsiteX87" fmla="*/ 4775200 w 7357035"/>
              <a:gd name="connsiteY87" fmla="*/ 998071 h 2623671"/>
              <a:gd name="connsiteX88" fmla="*/ 4691529 w 7357035"/>
              <a:gd name="connsiteY88" fmla="*/ 998071 h 2623671"/>
              <a:gd name="connsiteX89" fmla="*/ 4691529 w 7357035"/>
              <a:gd name="connsiteY89" fmla="*/ 1039906 h 2623671"/>
              <a:gd name="connsiteX90" fmla="*/ 4589929 w 7357035"/>
              <a:gd name="connsiteY90" fmla="*/ 1039906 h 2623671"/>
              <a:gd name="connsiteX91" fmla="*/ 4583953 w 7357035"/>
              <a:gd name="connsiteY91" fmla="*/ 1039906 h 2623671"/>
              <a:gd name="connsiteX92" fmla="*/ 4506259 w 7357035"/>
              <a:gd name="connsiteY92" fmla="*/ 1039906 h 2623671"/>
              <a:gd name="connsiteX93" fmla="*/ 4506259 w 7357035"/>
              <a:gd name="connsiteY93" fmla="*/ 1063812 h 2623671"/>
              <a:gd name="connsiteX94" fmla="*/ 4458447 w 7357035"/>
              <a:gd name="connsiteY94" fmla="*/ 1063812 h 2623671"/>
              <a:gd name="connsiteX95" fmla="*/ 4458447 w 7357035"/>
              <a:gd name="connsiteY95" fmla="*/ 1069788 h 2623671"/>
              <a:gd name="connsiteX96" fmla="*/ 4410635 w 7357035"/>
              <a:gd name="connsiteY96" fmla="*/ 1069788 h 2623671"/>
              <a:gd name="connsiteX97" fmla="*/ 4410635 w 7357035"/>
              <a:gd name="connsiteY97" fmla="*/ 1087718 h 2623671"/>
              <a:gd name="connsiteX98" fmla="*/ 4362823 w 7357035"/>
              <a:gd name="connsiteY98" fmla="*/ 1087718 h 2623671"/>
              <a:gd name="connsiteX99" fmla="*/ 4362823 w 7357035"/>
              <a:gd name="connsiteY99" fmla="*/ 1099671 h 2623671"/>
              <a:gd name="connsiteX100" fmla="*/ 4309035 w 7357035"/>
              <a:gd name="connsiteY100" fmla="*/ 1099671 h 2623671"/>
              <a:gd name="connsiteX101" fmla="*/ 4309035 w 7357035"/>
              <a:gd name="connsiteY101" fmla="*/ 1111624 h 2623671"/>
              <a:gd name="connsiteX102" fmla="*/ 4219388 w 7357035"/>
              <a:gd name="connsiteY102" fmla="*/ 1111624 h 2623671"/>
              <a:gd name="connsiteX103" fmla="*/ 4219388 w 7357035"/>
              <a:gd name="connsiteY103" fmla="*/ 1135529 h 2623671"/>
              <a:gd name="connsiteX104" fmla="*/ 4165600 w 7357035"/>
              <a:gd name="connsiteY104" fmla="*/ 1135529 h 2623671"/>
              <a:gd name="connsiteX105" fmla="*/ 4165600 w 7357035"/>
              <a:gd name="connsiteY105" fmla="*/ 1141506 h 2623671"/>
              <a:gd name="connsiteX106" fmla="*/ 4081929 w 7357035"/>
              <a:gd name="connsiteY106" fmla="*/ 1141506 h 2623671"/>
              <a:gd name="connsiteX107" fmla="*/ 4081929 w 7357035"/>
              <a:gd name="connsiteY107" fmla="*/ 1177365 h 2623671"/>
              <a:gd name="connsiteX108" fmla="*/ 4010212 w 7357035"/>
              <a:gd name="connsiteY108" fmla="*/ 1177365 h 2623671"/>
              <a:gd name="connsiteX109" fmla="*/ 4010212 w 7357035"/>
              <a:gd name="connsiteY109" fmla="*/ 1213224 h 2623671"/>
              <a:gd name="connsiteX110" fmla="*/ 4004235 w 7357035"/>
              <a:gd name="connsiteY110" fmla="*/ 1213224 h 2623671"/>
              <a:gd name="connsiteX111" fmla="*/ 4004235 w 7357035"/>
              <a:gd name="connsiteY111" fmla="*/ 1243106 h 2623671"/>
              <a:gd name="connsiteX112" fmla="*/ 3920564 w 7357035"/>
              <a:gd name="connsiteY112" fmla="*/ 1243106 h 2623671"/>
              <a:gd name="connsiteX113" fmla="*/ 3920564 w 7357035"/>
              <a:gd name="connsiteY113" fmla="*/ 1261035 h 2623671"/>
              <a:gd name="connsiteX114" fmla="*/ 3848847 w 7357035"/>
              <a:gd name="connsiteY114" fmla="*/ 1261035 h 2623671"/>
              <a:gd name="connsiteX115" fmla="*/ 3842870 w 7357035"/>
              <a:gd name="connsiteY115" fmla="*/ 1267012 h 2623671"/>
              <a:gd name="connsiteX116" fmla="*/ 3818964 w 7357035"/>
              <a:gd name="connsiteY116" fmla="*/ 1267012 h 2623671"/>
              <a:gd name="connsiteX117" fmla="*/ 3818964 w 7357035"/>
              <a:gd name="connsiteY117" fmla="*/ 1290918 h 2623671"/>
              <a:gd name="connsiteX118" fmla="*/ 3693459 w 7357035"/>
              <a:gd name="connsiteY118" fmla="*/ 1290918 h 2623671"/>
              <a:gd name="connsiteX119" fmla="*/ 3693459 w 7357035"/>
              <a:gd name="connsiteY119" fmla="*/ 1308847 h 2623671"/>
              <a:gd name="connsiteX120" fmla="*/ 3621741 w 7357035"/>
              <a:gd name="connsiteY120" fmla="*/ 1308847 h 2623671"/>
              <a:gd name="connsiteX121" fmla="*/ 3621741 w 7357035"/>
              <a:gd name="connsiteY121" fmla="*/ 1320800 h 2623671"/>
              <a:gd name="connsiteX122" fmla="*/ 3550023 w 7357035"/>
              <a:gd name="connsiteY122" fmla="*/ 1320800 h 2623671"/>
              <a:gd name="connsiteX123" fmla="*/ 3550023 w 7357035"/>
              <a:gd name="connsiteY123" fmla="*/ 1338729 h 2623671"/>
              <a:gd name="connsiteX124" fmla="*/ 3532094 w 7357035"/>
              <a:gd name="connsiteY124" fmla="*/ 1338729 h 2623671"/>
              <a:gd name="connsiteX125" fmla="*/ 3520141 w 7357035"/>
              <a:gd name="connsiteY125" fmla="*/ 1350682 h 2623671"/>
              <a:gd name="connsiteX126" fmla="*/ 3484282 w 7357035"/>
              <a:gd name="connsiteY126" fmla="*/ 1350682 h 2623671"/>
              <a:gd name="connsiteX127" fmla="*/ 3484282 w 7357035"/>
              <a:gd name="connsiteY127" fmla="*/ 1362635 h 2623671"/>
              <a:gd name="connsiteX128" fmla="*/ 3472329 w 7357035"/>
              <a:gd name="connsiteY128" fmla="*/ 1362635 h 2623671"/>
              <a:gd name="connsiteX129" fmla="*/ 3472329 w 7357035"/>
              <a:gd name="connsiteY129" fmla="*/ 1374588 h 2623671"/>
              <a:gd name="connsiteX130" fmla="*/ 3448423 w 7357035"/>
              <a:gd name="connsiteY130" fmla="*/ 1374588 h 2623671"/>
              <a:gd name="connsiteX131" fmla="*/ 3448423 w 7357035"/>
              <a:gd name="connsiteY131" fmla="*/ 1392518 h 2623671"/>
              <a:gd name="connsiteX132" fmla="*/ 3400612 w 7357035"/>
              <a:gd name="connsiteY132" fmla="*/ 1392518 h 2623671"/>
              <a:gd name="connsiteX133" fmla="*/ 3400612 w 7357035"/>
              <a:gd name="connsiteY133" fmla="*/ 1410447 h 2623671"/>
              <a:gd name="connsiteX134" fmla="*/ 3358776 w 7357035"/>
              <a:gd name="connsiteY134" fmla="*/ 1410447 h 2623671"/>
              <a:gd name="connsiteX135" fmla="*/ 3358776 w 7357035"/>
              <a:gd name="connsiteY135" fmla="*/ 1422400 h 2623671"/>
              <a:gd name="connsiteX136" fmla="*/ 3316941 w 7357035"/>
              <a:gd name="connsiteY136" fmla="*/ 1422400 h 2623671"/>
              <a:gd name="connsiteX137" fmla="*/ 3316941 w 7357035"/>
              <a:gd name="connsiteY137" fmla="*/ 1428376 h 2623671"/>
              <a:gd name="connsiteX138" fmla="*/ 3299012 w 7357035"/>
              <a:gd name="connsiteY138" fmla="*/ 1428376 h 2623671"/>
              <a:gd name="connsiteX139" fmla="*/ 3299012 w 7357035"/>
              <a:gd name="connsiteY139" fmla="*/ 1446306 h 2623671"/>
              <a:gd name="connsiteX140" fmla="*/ 3269129 w 7357035"/>
              <a:gd name="connsiteY140" fmla="*/ 1446306 h 2623671"/>
              <a:gd name="connsiteX141" fmla="*/ 3269129 w 7357035"/>
              <a:gd name="connsiteY141" fmla="*/ 1452282 h 2623671"/>
              <a:gd name="connsiteX142" fmla="*/ 3239247 w 7357035"/>
              <a:gd name="connsiteY142" fmla="*/ 1452282 h 2623671"/>
              <a:gd name="connsiteX143" fmla="*/ 3239247 w 7357035"/>
              <a:gd name="connsiteY143" fmla="*/ 1470212 h 2623671"/>
              <a:gd name="connsiteX144" fmla="*/ 3173506 w 7357035"/>
              <a:gd name="connsiteY144" fmla="*/ 1470212 h 2623671"/>
              <a:gd name="connsiteX145" fmla="*/ 3185459 w 7357035"/>
              <a:gd name="connsiteY145" fmla="*/ 1482165 h 2623671"/>
              <a:gd name="connsiteX146" fmla="*/ 3155576 w 7357035"/>
              <a:gd name="connsiteY146" fmla="*/ 1482165 h 2623671"/>
              <a:gd name="connsiteX147" fmla="*/ 3155576 w 7357035"/>
              <a:gd name="connsiteY147" fmla="*/ 1488141 h 2623671"/>
              <a:gd name="connsiteX148" fmla="*/ 3131670 w 7357035"/>
              <a:gd name="connsiteY148" fmla="*/ 1488141 h 2623671"/>
              <a:gd name="connsiteX149" fmla="*/ 3125694 w 7357035"/>
              <a:gd name="connsiteY149" fmla="*/ 1494117 h 2623671"/>
              <a:gd name="connsiteX150" fmla="*/ 2958353 w 7357035"/>
              <a:gd name="connsiteY150" fmla="*/ 1494117 h 2623671"/>
              <a:gd name="connsiteX151" fmla="*/ 2958353 w 7357035"/>
              <a:gd name="connsiteY151" fmla="*/ 1506071 h 2623671"/>
              <a:gd name="connsiteX152" fmla="*/ 2886635 w 7357035"/>
              <a:gd name="connsiteY152" fmla="*/ 1506071 h 2623671"/>
              <a:gd name="connsiteX153" fmla="*/ 2826870 w 7357035"/>
              <a:gd name="connsiteY153" fmla="*/ 1506071 h 2623671"/>
              <a:gd name="connsiteX154" fmla="*/ 2826870 w 7357035"/>
              <a:gd name="connsiteY154" fmla="*/ 1535953 h 2623671"/>
              <a:gd name="connsiteX155" fmla="*/ 2802964 w 7357035"/>
              <a:gd name="connsiteY155" fmla="*/ 1535953 h 2623671"/>
              <a:gd name="connsiteX156" fmla="*/ 2785035 w 7357035"/>
              <a:gd name="connsiteY156" fmla="*/ 1553882 h 2623671"/>
              <a:gd name="connsiteX157" fmla="*/ 2713317 w 7357035"/>
              <a:gd name="connsiteY157" fmla="*/ 1553882 h 2623671"/>
              <a:gd name="connsiteX158" fmla="*/ 2713317 w 7357035"/>
              <a:gd name="connsiteY158" fmla="*/ 1601694 h 2623671"/>
              <a:gd name="connsiteX159" fmla="*/ 2611717 w 7357035"/>
              <a:gd name="connsiteY159" fmla="*/ 1601694 h 2623671"/>
              <a:gd name="connsiteX160" fmla="*/ 2599764 w 7357035"/>
              <a:gd name="connsiteY160" fmla="*/ 1613647 h 2623671"/>
              <a:gd name="connsiteX161" fmla="*/ 2534023 w 7357035"/>
              <a:gd name="connsiteY161" fmla="*/ 1613647 h 2623671"/>
              <a:gd name="connsiteX162" fmla="*/ 2534023 w 7357035"/>
              <a:gd name="connsiteY162" fmla="*/ 1613647 h 2623671"/>
              <a:gd name="connsiteX163" fmla="*/ 2498164 w 7357035"/>
              <a:gd name="connsiteY163" fmla="*/ 1649506 h 2623671"/>
              <a:gd name="connsiteX164" fmla="*/ 2498164 w 7357035"/>
              <a:gd name="connsiteY164" fmla="*/ 1673412 h 2623671"/>
              <a:gd name="connsiteX165" fmla="*/ 2486212 w 7357035"/>
              <a:gd name="connsiteY165" fmla="*/ 1673412 h 2623671"/>
              <a:gd name="connsiteX166" fmla="*/ 2480235 w 7357035"/>
              <a:gd name="connsiteY166" fmla="*/ 1679389 h 2623671"/>
              <a:gd name="connsiteX167" fmla="*/ 2468283 w 7357035"/>
              <a:gd name="connsiteY167" fmla="*/ 1691341 h 2623671"/>
              <a:gd name="connsiteX168" fmla="*/ 2462306 w 7357035"/>
              <a:gd name="connsiteY168" fmla="*/ 1697318 h 2623671"/>
              <a:gd name="connsiteX169" fmla="*/ 2384612 w 7357035"/>
              <a:gd name="connsiteY169" fmla="*/ 1697318 h 2623671"/>
              <a:gd name="connsiteX170" fmla="*/ 2384612 w 7357035"/>
              <a:gd name="connsiteY170" fmla="*/ 1715247 h 2623671"/>
              <a:gd name="connsiteX171" fmla="*/ 2360706 w 7357035"/>
              <a:gd name="connsiteY171" fmla="*/ 1715247 h 2623671"/>
              <a:gd name="connsiteX172" fmla="*/ 2360706 w 7357035"/>
              <a:gd name="connsiteY172" fmla="*/ 1745129 h 2623671"/>
              <a:gd name="connsiteX173" fmla="*/ 2312894 w 7357035"/>
              <a:gd name="connsiteY173" fmla="*/ 1745129 h 2623671"/>
              <a:gd name="connsiteX174" fmla="*/ 2312894 w 7357035"/>
              <a:gd name="connsiteY174" fmla="*/ 1769035 h 2623671"/>
              <a:gd name="connsiteX175" fmla="*/ 2283012 w 7357035"/>
              <a:gd name="connsiteY175" fmla="*/ 1769035 h 2623671"/>
              <a:gd name="connsiteX176" fmla="*/ 2283012 w 7357035"/>
              <a:gd name="connsiteY176" fmla="*/ 1792941 h 2623671"/>
              <a:gd name="connsiteX177" fmla="*/ 2265082 w 7357035"/>
              <a:gd name="connsiteY177" fmla="*/ 1792941 h 2623671"/>
              <a:gd name="connsiteX178" fmla="*/ 2265082 w 7357035"/>
              <a:gd name="connsiteY178" fmla="*/ 1810871 h 2623671"/>
              <a:gd name="connsiteX179" fmla="*/ 2193364 w 7357035"/>
              <a:gd name="connsiteY179" fmla="*/ 1810871 h 2623671"/>
              <a:gd name="connsiteX180" fmla="*/ 2193364 w 7357035"/>
              <a:gd name="connsiteY180" fmla="*/ 1828800 h 2623671"/>
              <a:gd name="connsiteX181" fmla="*/ 2169459 w 7357035"/>
              <a:gd name="connsiteY181" fmla="*/ 1828800 h 2623671"/>
              <a:gd name="connsiteX182" fmla="*/ 2163482 w 7357035"/>
              <a:gd name="connsiteY182" fmla="*/ 1834777 h 2623671"/>
              <a:gd name="connsiteX183" fmla="*/ 2133600 w 7357035"/>
              <a:gd name="connsiteY183" fmla="*/ 1834777 h 2623671"/>
              <a:gd name="connsiteX184" fmla="*/ 2133600 w 7357035"/>
              <a:gd name="connsiteY184" fmla="*/ 1852706 h 2623671"/>
              <a:gd name="connsiteX185" fmla="*/ 2103717 w 7357035"/>
              <a:gd name="connsiteY185" fmla="*/ 1852706 h 2623671"/>
              <a:gd name="connsiteX186" fmla="*/ 2103717 w 7357035"/>
              <a:gd name="connsiteY186" fmla="*/ 1864659 h 2623671"/>
              <a:gd name="connsiteX187" fmla="*/ 2073835 w 7357035"/>
              <a:gd name="connsiteY187" fmla="*/ 1864659 h 2623671"/>
              <a:gd name="connsiteX188" fmla="*/ 2079812 w 7357035"/>
              <a:gd name="connsiteY188" fmla="*/ 1870636 h 2623671"/>
              <a:gd name="connsiteX189" fmla="*/ 2055906 w 7357035"/>
              <a:gd name="connsiteY189" fmla="*/ 1870636 h 2623671"/>
              <a:gd name="connsiteX190" fmla="*/ 2055906 w 7357035"/>
              <a:gd name="connsiteY190" fmla="*/ 1894541 h 2623671"/>
              <a:gd name="connsiteX191" fmla="*/ 2026023 w 7357035"/>
              <a:gd name="connsiteY191" fmla="*/ 1894541 h 2623671"/>
              <a:gd name="connsiteX192" fmla="*/ 2026023 w 7357035"/>
              <a:gd name="connsiteY192" fmla="*/ 1906494 h 2623671"/>
              <a:gd name="connsiteX193" fmla="*/ 1936376 w 7357035"/>
              <a:gd name="connsiteY193" fmla="*/ 1906494 h 2623671"/>
              <a:gd name="connsiteX194" fmla="*/ 1936376 w 7357035"/>
              <a:gd name="connsiteY194" fmla="*/ 1930400 h 2623671"/>
              <a:gd name="connsiteX195" fmla="*/ 1918447 w 7357035"/>
              <a:gd name="connsiteY195" fmla="*/ 1930400 h 2623671"/>
              <a:gd name="connsiteX196" fmla="*/ 1918447 w 7357035"/>
              <a:gd name="connsiteY196" fmla="*/ 1942353 h 2623671"/>
              <a:gd name="connsiteX197" fmla="*/ 1888564 w 7357035"/>
              <a:gd name="connsiteY197" fmla="*/ 1942353 h 2623671"/>
              <a:gd name="connsiteX198" fmla="*/ 1888564 w 7357035"/>
              <a:gd name="connsiteY198" fmla="*/ 1966259 h 2623671"/>
              <a:gd name="connsiteX199" fmla="*/ 1870635 w 7357035"/>
              <a:gd name="connsiteY199" fmla="*/ 1966259 h 2623671"/>
              <a:gd name="connsiteX200" fmla="*/ 1870635 w 7357035"/>
              <a:gd name="connsiteY200" fmla="*/ 1984188 h 2623671"/>
              <a:gd name="connsiteX201" fmla="*/ 1822823 w 7357035"/>
              <a:gd name="connsiteY201" fmla="*/ 1984188 h 2623671"/>
              <a:gd name="connsiteX202" fmla="*/ 1822823 w 7357035"/>
              <a:gd name="connsiteY202" fmla="*/ 2002118 h 2623671"/>
              <a:gd name="connsiteX203" fmla="*/ 1780988 w 7357035"/>
              <a:gd name="connsiteY203" fmla="*/ 2002118 h 2623671"/>
              <a:gd name="connsiteX204" fmla="*/ 1780988 w 7357035"/>
              <a:gd name="connsiteY204" fmla="*/ 2014071 h 2623671"/>
              <a:gd name="connsiteX205" fmla="*/ 1751106 w 7357035"/>
              <a:gd name="connsiteY205" fmla="*/ 2014071 h 2623671"/>
              <a:gd name="connsiteX206" fmla="*/ 1751106 w 7357035"/>
              <a:gd name="connsiteY206" fmla="*/ 2026024 h 2623671"/>
              <a:gd name="connsiteX207" fmla="*/ 1751106 w 7357035"/>
              <a:gd name="connsiteY207" fmla="*/ 2026024 h 2623671"/>
              <a:gd name="connsiteX208" fmla="*/ 1727201 w 7357035"/>
              <a:gd name="connsiteY208" fmla="*/ 2049929 h 2623671"/>
              <a:gd name="connsiteX209" fmla="*/ 1643529 w 7357035"/>
              <a:gd name="connsiteY209" fmla="*/ 2049929 h 2623671"/>
              <a:gd name="connsiteX210" fmla="*/ 1649506 w 7357035"/>
              <a:gd name="connsiteY210" fmla="*/ 2055906 h 2623671"/>
              <a:gd name="connsiteX211" fmla="*/ 1613647 w 7357035"/>
              <a:gd name="connsiteY211" fmla="*/ 2055906 h 2623671"/>
              <a:gd name="connsiteX212" fmla="*/ 1613647 w 7357035"/>
              <a:gd name="connsiteY212" fmla="*/ 2055906 h 2623671"/>
              <a:gd name="connsiteX213" fmla="*/ 1589741 w 7357035"/>
              <a:gd name="connsiteY213" fmla="*/ 2079812 h 2623671"/>
              <a:gd name="connsiteX214" fmla="*/ 1571812 w 7357035"/>
              <a:gd name="connsiteY214" fmla="*/ 2097741 h 2623671"/>
              <a:gd name="connsiteX215" fmla="*/ 1541929 w 7357035"/>
              <a:gd name="connsiteY215" fmla="*/ 2097741 h 2623671"/>
              <a:gd name="connsiteX216" fmla="*/ 1541929 w 7357035"/>
              <a:gd name="connsiteY216" fmla="*/ 2115671 h 2623671"/>
              <a:gd name="connsiteX217" fmla="*/ 1506070 w 7357035"/>
              <a:gd name="connsiteY217" fmla="*/ 2115671 h 2623671"/>
              <a:gd name="connsiteX218" fmla="*/ 1506070 w 7357035"/>
              <a:gd name="connsiteY218" fmla="*/ 2127624 h 2623671"/>
              <a:gd name="connsiteX219" fmla="*/ 1446306 w 7357035"/>
              <a:gd name="connsiteY219" fmla="*/ 2127624 h 2623671"/>
              <a:gd name="connsiteX220" fmla="*/ 1446306 w 7357035"/>
              <a:gd name="connsiteY220" fmla="*/ 2139576 h 2623671"/>
              <a:gd name="connsiteX221" fmla="*/ 1398494 w 7357035"/>
              <a:gd name="connsiteY221" fmla="*/ 2139576 h 2623671"/>
              <a:gd name="connsiteX222" fmla="*/ 1398494 w 7357035"/>
              <a:gd name="connsiteY222" fmla="*/ 2151529 h 2623671"/>
              <a:gd name="connsiteX223" fmla="*/ 1344706 w 7357035"/>
              <a:gd name="connsiteY223" fmla="*/ 2151529 h 2623671"/>
              <a:gd name="connsiteX224" fmla="*/ 1344706 w 7357035"/>
              <a:gd name="connsiteY224" fmla="*/ 2169459 h 2623671"/>
              <a:gd name="connsiteX225" fmla="*/ 1296894 w 7357035"/>
              <a:gd name="connsiteY225" fmla="*/ 2169459 h 2623671"/>
              <a:gd name="connsiteX226" fmla="*/ 1296894 w 7357035"/>
              <a:gd name="connsiteY226" fmla="*/ 2175435 h 2623671"/>
              <a:gd name="connsiteX227" fmla="*/ 1261035 w 7357035"/>
              <a:gd name="connsiteY227" fmla="*/ 2175435 h 2623671"/>
              <a:gd name="connsiteX228" fmla="*/ 1261035 w 7357035"/>
              <a:gd name="connsiteY228" fmla="*/ 2181412 h 2623671"/>
              <a:gd name="connsiteX229" fmla="*/ 1213223 w 7357035"/>
              <a:gd name="connsiteY229" fmla="*/ 2181412 h 2623671"/>
              <a:gd name="connsiteX230" fmla="*/ 1213223 w 7357035"/>
              <a:gd name="connsiteY230" fmla="*/ 2193365 h 2623671"/>
              <a:gd name="connsiteX231" fmla="*/ 1123576 w 7357035"/>
              <a:gd name="connsiteY231" fmla="*/ 2193365 h 2623671"/>
              <a:gd name="connsiteX232" fmla="*/ 1123576 w 7357035"/>
              <a:gd name="connsiteY232" fmla="*/ 2217271 h 2623671"/>
              <a:gd name="connsiteX233" fmla="*/ 1057835 w 7357035"/>
              <a:gd name="connsiteY233" fmla="*/ 2217271 h 2623671"/>
              <a:gd name="connsiteX234" fmla="*/ 1051859 w 7357035"/>
              <a:gd name="connsiteY234" fmla="*/ 2223247 h 2623671"/>
              <a:gd name="connsiteX235" fmla="*/ 1004047 w 7357035"/>
              <a:gd name="connsiteY235" fmla="*/ 2223247 h 2623671"/>
              <a:gd name="connsiteX236" fmla="*/ 1004047 w 7357035"/>
              <a:gd name="connsiteY236" fmla="*/ 2253129 h 2623671"/>
              <a:gd name="connsiteX237" fmla="*/ 968188 w 7357035"/>
              <a:gd name="connsiteY237" fmla="*/ 2253129 h 2623671"/>
              <a:gd name="connsiteX238" fmla="*/ 968188 w 7357035"/>
              <a:gd name="connsiteY238" fmla="*/ 2277035 h 2623671"/>
              <a:gd name="connsiteX239" fmla="*/ 884517 w 7357035"/>
              <a:gd name="connsiteY239" fmla="*/ 2277035 h 2623671"/>
              <a:gd name="connsiteX240" fmla="*/ 884517 w 7357035"/>
              <a:gd name="connsiteY240" fmla="*/ 2300941 h 2623671"/>
              <a:gd name="connsiteX241" fmla="*/ 818776 w 7357035"/>
              <a:gd name="connsiteY241" fmla="*/ 2300941 h 2623671"/>
              <a:gd name="connsiteX242" fmla="*/ 818776 w 7357035"/>
              <a:gd name="connsiteY242" fmla="*/ 2300941 h 2623671"/>
              <a:gd name="connsiteX243" fmla="*/ 788893 w 7357035"/>
              <a:gd name="connsiteY243" fmla="*/ 2330824 h 2623671"/>
              <a:gd name="connsiteX244" fmla="*/ 764988 w 7357035"/>
              <a:gd name="connsiteY244" fmla="*/ 2354729 h 2623671"/>
              <a:gd name="connsiteX245" fmla="*/ 693270 w 7357035"/>
              <a:gd name="connsiteY245" fmla="*/ 2354729 h 2623671"/>
              <a:gd name="connsiteX246" fmla="*/ 693270 w 7357035"/>
              <a:gd name="connsiteY246" fmla="*/ 2372659 h 2623671"/>
              <a:gd name="connsiteX247" fmla="*/ 627529 w 7357035"/>
              <a:gd name="connsiteY247" fmla="*/ 2372659 h 2623671"/>
              <a:gd name="connsiteX248" fmla="*/ 627529 w 7357035"/>
              <a:gd name="connsiteY248" fmla="*/ 2390588 h 2623671"/>
              <a:gd name="connsiteX249" fmla="*/ 591670 w 7357035"/>
              <a:gd name="connsiteY249" fmla="*/ 2390588 h 2623671"/>
              <a:gd name="connsiteX250" fmla="*/ 591670 w 7357035"/>
              <a:gd name="connsiteY250" fmla="*/ 2432424 h 2623671"/>
              <a:gd name="connsiteX251" fmla="*/ 555812 w 7357035"/>
              <a:gd name="connsiteY251" fmla="*/ 2432424 h 2623671"/>
              <a:gd name="connsiteX252" fmla="*/ 555812 w 7357035"/>
              <a:gd name="connsiteY252" fmla="*/ 2450353 h 2623671"/>
              <a:gd name="connsiteX253" fmla="*/ 513976 w 7357035"/>
              <a:gd name="connsiteY253" fmla="*/ 2450353 h 2623671"/>
              <a:gd name="connsiteX254" fmla="*/ 513976 w 7357035"/>
              <a:gd name="connsiteY254" fmla="*/ 2498165 h 2623671"/>
              <a:gd name="connsiteX255" fmla="*/ 448235 w 7357035"/>
              <a:gd name="connsiteY255" fmla="*/ 2498165 h 2623671"/>
              <a:gd name="connsiteX256" fmla="*/ 448235 w 7357035"/>
              <a:gd name="connsiteY256" fmla="*/ 2545976 h 2623671"/>
              <a:gd name="connsiteX257" fmla="*/ 400423 w 7357035"/>
              <a:gd name="connsiteY257" fmla="*/ 2545976 h 2623671"/>
              <a:gd name="connsiteX258" fmla="*/ 346635 w 7357035"/>
              <a:gd name="connsiteY258" fmla="*/ 2545976 h 2623671"/>
              <a:gd name="connsiteX259" fmla="*/ 346635 w 7357035"/>
              <a:gd name="connsiteY259" fmla="*/ 2569882 h 2623671"/>
              <a:gd name="connsiteX260" fmla="*/ 298823 w 7357035"/>
              <a:gd name="connsiteY260" fmla="*/ 2569882 h 2623671"/>
              <a:gd name="connsiteX261" fmla="*/ 298823 w 7357035"/>
              <a:gd name="connsiteY261" fmla="*/ 2593788 h 2623671"/>
              <a:gd name="connsiteX262" fmla="*/ 245035 w 7357035"/>
              <a:gd name="connsiteY262" fmla="*/ 2593788 h 2623671"/>
              <a:gd name="connsiteX263" fmla="*/ 245035 w 7357035"/>
              <a:gd name="connsiteY263" fmla="*/ 2623671 h 2623671"/>
              <a:gd name="connsiteX264" fmla="*/ 71717 w 7357035"/>
              <a:gd name="connsiteY264" fmla="*/ 2623671 h 2623671"/>
              <a:gd name="connsiteX265" fmla="*/ 0 w 7357035"/>
              <a:gd name="connsiteY265" fmla="*/ 2623671 h 262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7357035" h="2623671">
                <a:moveTo>
                  <a:pt x="7357035" y="0"/>
                </a:moveTo>
                <a:lnTo>
                  <a:pt x="7261412" y="0"/>
                </a:lnTo>
                <a:lnTo>
                  <a:pt x="7261412" y="89647"/>
                </a:lnTo>
                <a:lnTo>
                  <a:pt x="7171764" y="89647"/>
                </a:lnTo>
                <a:lnTo>
                  <a:pt x="7159812" y="101599"/>
                </a:lnTo>
                <a:lnTo>
                  <a:pt x="7159812" y="161365"/>
                </a:lnTo>
                <a:lnTo>
                  <a:pt x="7123953" y="161365"/>
                </a:lnTo>
                <a:lnTo>
                  <a:pt x="7123953" y="215153"/>
                </a:lnTo>
                <a:lnTo>
                  <a:pt x="6968564" y="215153"/>
                </a:lnTo>
                <a:lnTo>
                  <a:pt x="6968564" y="251012"/>
                </a:lnTo>
                <a:lnTo>
                  <a:pt x="6920753" y="251012"/>
                </a:lnTo>
                <a:lnTo>
                  <a:pt x="6920753" y="268941"/>
                </a:lnTo>
                <a:lnTo>
                  <a:pt x="6872941" y="268941"/>
                </a:lnTo>
                <a:lnTo>
                  <a:pt x="6872941" y="316753"/>
                </a:lnTo>
                <a:lnTo>
                  <a:pt x="6771341" y="316753"/>
                </a:lnTo>
                <a:lnTo>
                  <a:pt x="6771341" y="334682"/>
                </a:lnTo>
                <a:lnTo>
                  <a:pt x="6681694" y="334682"/>
                </a:lnTo>
                <a:lnTo>
                  <a:pt x="6681694" y="358588"/>
                </a:lnTo>
                <a:lnTo>
                  <a:pt x="6627906" y="358588"/>
                </a:lnTo>
                <a:lnTo>
                  <a:pt x="6627906" y="382494"/>
                </a:lnTo>
                <a:lnTo>
                  <a:pt x="6490447" y="382494"/>
                </a:lnTo>
                <a:lnTo>
                  <a:pt x="6490447" y="412376"/>
                </a:lnTo>
                <a:lnTo>
                  <a:pt x="6370917" y="412376"/>
                </a:lnTo>
                <a:lnTo>
                  <a:pt x="6370917" y="436282"/>
                </a:lnTo>
                <a:lnTo>
                  <a:pt x="6329082" y="436282"/>
                </a:lnTo>
                <a:lnTo>
                  <a:pt x="6341035" y="448235"/>
                </a:lnTo>
                <a:lnTo>
                  <a:pt x="6305176" y="448235"/>
                </a:lnTo>
                <a:lnTo>
                  <a:pt x="6305176" y="472141"/>
                </a:lnTo>
                <a:lnTo>
                  <a:pt x="6263341" y="472141"/>
                </a:lnTo>
                <a:lnTo>
                  <a:pt x="6257364" y="478118"/>
                </a:lnTo>
                <a:lnTo>
                  <a:pt x="6209553" y="478118"/>
                </a:lnTo>
                <a:lnTo>
                  <a:pt x="6209553" y="508000"/>
                </a:lnTo>
                <a:lnTo>
                  <a:pt x="6179670" y="508000"/>
                </a:lnTo>
                <a:lnTo>
                  <a:pt x="6191623" y="519953"/>
                </a:lnTo>
                <a:lnTo>
                  <a:pt x="6155764" y="519953"/>
                </a:lnTo>
                <a:lnTo>
                  <a:pt x="6155764" y="549835"/>
                </a:lnTo>
                <a:lnTo>
                  <a:pt x="6119906" y="549835"/>
                </a:lnTo>
                <a:lnTo>
                  <a:pt x="6119906" y="579718"/>
                </a:lnTo>
                <a:lnTo>
                  <a:pt x="6101977" y="597647"/>
                </a:lnTo>
                <a:lnTo>
                  <a:pt x="6078070" y="597647"/>
                </a:lnTo>
                <a:lnTo>
                  <a:pt x="6078070" y="615576"/>
                </a:lnTo>
                <a:lnTo>
                  <a:pt x="6024282" y="615576"/>
                </a:lnTo>
                <a:lnTo>
                  <a:pt x="6030259" y="621553"/>
                </a:lnTo>
                <a:lnTo>
                  <a:pt x="5940612" y="621553"/>
                </a:lnTo>
                <a:lnTo>
                  <a:pt x="5940612" y="645459"/>
                </a:lnTo>
                <a:lnTo>
                  <a:pt x="5934635" y="639482"/>
                </a:lnTo>
                <a:lnTo>
                  <a:pt x="5934635" y="657412"/>
                </a:lnTo>
                <a:lnTo>
                  <a:pt x="5898776" y="657412"/>
                </a:lnTo>
                <a:lnTo>
                  <a:pt x="5898776" y="675341"/>
                </a:lnTo>
                <a:lnTo>
                  <a:pt x="5868894" y="675341"/>
                </a:lnTo>
                <a:lnTo>
                  <a:pt x="5868894" y="687294"/>
                </a:lnTo>
                <a:lnTo>
                  <a:pt x="5850964" y="705224"/>
                </a:lnTo>
                <a:lnTo>
                  <a:pt x="5803153" y="705224"/>
                </a:lnTo>
                <a:lnTo>
                  <a:pt x="5803153" y="741082"/>
                </a:lnTo>
                <a:lnTo>
                  <a:pt x="5677647" y="741082"/>
                </a:lnTo>
                <a:lnTo>
                  <a:pt x="5677647" y="747059"/>
                </a:lnTo>
                <a:lnTo>
                  <a:pt x="5641788" y="747059"/>
                </a:lnTo>
                <a:lnTo>
                  <a:pt x="5641788" y="770965"/>
                </a:lnTo>
                <a:lnTo>
                  <a:pt x="5593976" y="770965"/>
                </a:lnTo>
                <a:lnTo>
                  <a:pt x="5593976" y="794871"/>
                </a:lnTo>
                <a:lnTo>
                  <a:pt x="5492376" y="794871"/>
                </a:lnTo>
                <a:lnTo>
                  <a:pt x="5492376" y="812800"/>
                </a:lnTo>
                <a:lnTo>
                  <a:pt x="5450541" y="812800"/>
                </a:lnTo>
                <a:lnTo>
                  <a:pt x="5450541" y="824753"/>
                </a:lnTo>
                <a:lnTo>
                  <a:pt x="5408706" y="824753"/>
                </a:lnTo>
                <a:lnTo>
                  <a:pt x="5408706" y="842682"/>
                </a:lnTo>
                <a:lnTo>
                  <a:pt x="5331012" y="842682"/>
                </a:lnTo>
                <a:lnTo>
                  <a:pt x="5325035" y="848659"/>
                </a:lnTo>
                <a:lnTo>
                  <a:pt x="5205506" y="848659"/>
                </a:lnTo>
                <a:lnTo>
                  <a:pt x="5205506" y="866588"/>
                </a:lnTo>
                <a:lnTo>
                  <a:pt x="5157694" y="866588"/>
                </a:lnTo>
                <a:lnTo>
                  <a:pt x="5157694" y="884518"/>
                </a:lnTo>
                <a:lnTo>
                  <a:pt x="5127812" y="884518"/>
                </a:lnTo>
                <a:lnTo>
                  <a:pt x="5127812" y="902447"/>
                </a:lnTo>
                <a:lnTo>
                  <a:pt x="5109882" y="902447"/>
                </a:lnTo>
                <a:lnTo>
                  <a:pt x="5109882" y="914400"/>
                </a:lnTo>
                <a:lnTo>
                  <a:pt x="5062070" y="914400"/>
                </a:lnTo>
                <a:lnTo>
                  <a:pt x="5062070" y="926353"/>
                </a:lnTo>
                <a:lnTo>
                  <a:pt x="5020235" y="926353"/>
                </a:lnTo>
                <a:lnTo>
                  <a:pt x="5020235" y="938306"/>
                </a:lnTo>
                <a:lnTo>
                  <a:pt x="4972423" y="938306"/>
                </a:lnTo>
                <a:lnTo>
                  <a:pt x="4972423" y="950259"/>
                </a:lnTo>
                <a:lnTo>
                  <a:pt x="4954494" y="950259"/>
                </a:lnTo>
                <a:lnTo>
                  <a:pt x="4954494" y="968188"/>
                </a:lnTo>
                <a:lnTo>
                  <a:pt x="4888753" y="968188"/>
                </a:lnTo>
                <a:lnTo>
                  <a:pt x="4888753" y="980141"/>
                </a:lnTo>
                <a:lnTo>
                  <a:pt x="4775200" y="980141"/>
                </a:lnTo>
                <a:lnTo>
                  <a:pt x="4775200" y="998071"/>
                </a:lnTo>
                <a:lnTo>
                  <a:pt x="4691529" y="998071"/>
                </a:lnTo>
                <a:lnTo>
                  <a:pt x="4691529" y="1039906"/>
                </a:lnTo>
                <a:lnTo>
                  <a:pt x="4589929" y="1039906"/>
                </a:lnTo>
                <a:lnTo>
                  <a:pt x="4583953" y="1039906"/>
                </a:lnTo>
                <a:lnTo>
                  <a:pt x="4506259" y="1039906"/>
                </a:lnTo>
                <a:lnTo>
                  <a:pt x="4506259" y="1063812"/>
                </a:lnTo>
                <a:lnTo>
                  <a:pt x="4458447" y="1063812"/>
                </a:lnTo>
                <a:lnTo>
                  <a:pt x="4458447" y="1069788"/>
                </a:lnTo>
                <a:lnTo>
                  <a:pt x="4410635" y="1069788"/>
                </a:lnTo>
                <a:lnTo>
                  <a:pt x="4410635" y="1087718"/>
                </a:lnTo>
                <a:lnTo>
                  <a:pt x="4362823" y="1087718"/>
                </a:lnTo>
                <a:lnTo>
                  <a:pt x="4362823" y="1099671"/>
                </a:lnTo>
                <a:lnTo>
                  <a:pt x="4309035" y="1099671"/>
                </a:lnTo>
                <a:lnTo>
                  <a:pt x="4309035" y="1111624"/>
                </a:lnTo>
                <a:lnTo>
                  <a:pt x="4219388" y="1111624"/>
                </a:lnTo>
                <a:lnTo>
                  <a:pt x="4219388" y="1135529"/>
                </a:lnTo>
                <a:lnTo>
                  <a:pt x="4165600" y="1135529"/>
                </a:lnTo>
                <a:lnTo>
                  <a:pt x="4165600" y="1141506"/>
                </a:lnTo>
                <a:lnTo>
                  <a:pt x="4081929" y="1141506"/>
                </a:lnTo>
                <a:lnTo>
                  <a:pt x="4081929" y="1177365"/>
                </a:lnTo>
                <a:lnTo>
                  <a:pt x="4010212" y="1177365"/>
                </a:lnTo>
                <a:lnTo>
                  <a:pt x="4010212" y="1213224"/>
                </a:lnTo>
                <a:lnTo>
                  <a:pt x="4004235" y="1213224"/>
                </a:lnTo>
                <a:lnTo>
                  <a:pt x="4004235" y="1243106"/>
                </a:lnTo>
                <a:lnTo>
                  <a:pt x="3920564" y="1243106"/>
                </a:lnTo>
                <a:lnTo>
                  <a:pt x="3920564" y="1261035"/>
                </a:lnTo>
                <a:lnTo>
                  <a:pt x="3848847" y="1261035"/>
                </a:lnTo>
                <a:lnTo>
                  <a:pt x="3842870" y="1267012"/>
                </a:lnTo>
                <a:lnTo>
                  <a:pt x="3818964" y="1267012"/>
                </a:lnTo>
                <a:lnTo>
                  <a:pt x="3818964" y="1290918"/>
                </a:lnTo>
                <a:lnTo>
                  <a:pt x="3693459" y="1290918"/>
                </a:lnTo>
                <a:lnTo>
                  <a:pt x="3693459" y="1308847"/>
                </a:lnTo>
                <a:lnTo>
                  <a:pt x="3621741" y="1308847"/>
                </a:lnTo>
                <a:lnTo>
                  <a:pt x="3621741" y="1320800"/>
                </a:lnTo>
                <a:lnTo>
                  <a:pt x="3550023" y="1320800"/>
                </a:lnTo>
                <a:lnTo>
                  <a:pt x="3550023" y="1338729"/>
                </a:lnTo>
                <a:lnTo>
                  <a:pt x="3532094" y="1338729"/>
                </a:lnTo>
                <a:lnTo>
                  <a:pt x="3520141" y="1350682"/>
                </a:lnTo>
                <a:lnTo>
                  <a:pt x="3484282" y="1350682"/>
                </a:lnTo>
                <a:lnTo>
                  <a:pt x="3484282" y="1362635"/>
                </a:lnTo>
                <a:lnTo>
                  <a:pt x="3472329" y="1362635"/>
                </a:lnTo>
                <a:lnTo>
                  <a:pt x="3472329" y="1374588"/>
                </a:lnTo>
                <a:lnTo>
                  <a:pt x="3448423" y="1374588"/>
                </a:lnTo>
                <a:lnTo>
                  <a:pt x="3448423" y="1392518"/>
                </a:lnTo>
                <a:lnTo>
                  <a:pt x="3400612" y="1392518"/>
                </a:lnTo>
                <a:lnTo>
                  <a:pt x="3400612" y="1410447"/>
                </a:lnTo>
                <a:lnTo>
                  <a:pt x="3358776" y="1410447"/>
                </a:lnTo>
                <a:lnTo>
                  <a:pt x="3358776" y="1422400"/>
                </a:lnTo>
                <a:lnTo>
                  <a:pt x="3316941" y="1422400"/>
                </a:lnTo>
                <a:lnTo>
                  <a:pt x="3316941" y="1428376"/>
                </a:lnTo>
                <a:lnTo>
                  <a:pt x="3299012" y="1428376"/>
                </a:lnTo>
                <a:lnTo>
                  <a:pt x="3299012" y="1446306"/>
                </a:lnTo>
                <a:lnTo>
                  <a:pt x="3269129" y="1446306"/>
                </a:lnTo>
                <a:lnTo>
                  <a:pt x="3269129" y="1452282"/>
                </a:lnTo>
                <a:lnTo>
                  <a:pt x="3239247" y="1452282"/>
                </a:lnTo>
                <a:lnTo>
                  <a:pt x="3239247" y="1470212"/>
                </a:lnTo>
                <a:lnTo>
                  <a:pt x="3173506" y="1470212"/>
                </a:lnTo>
                <a:lnTo>
                  <a:pt x="3185459" y="1482165"/>
                </a:lnTo>
                <a:lnTo>
                  <a:pt x="3155576" y="1482165"/>
                </a:lnTo>
                <a:lnTo>
                  <a:pt x="3155576" y="1488141"/>
                </a:lnTo>
                <a:lnTo>
                  <a:pt x="3131670" y="1488141"/>
                </a:lnTo>
                <a:lnTo>
                  <a:pt x="3125694" y="1494117"/>
                </a:lnTo>
                <a:lnTo>
                  <a:pt x="2958353" y="1494117"/>
                </a:lnTo>
                <a:lnTo>
                  <a:pt x="2958353" y="1506071"/>
                </a:lnTo>
                <a:lnTo>
                  <a:pt x="2886635" y="1506071"/>
                </a:lnTo>
                <a:lnTo>
                  <a:pt x="2826870" y="1506071"/>
                </a:lnTo>
                <a:lnTo>
                  <a:pt x="2826870" y="1535953"/>
                </a:lnTo>
                <a:lnTo>
                  <a:pt x="2802964" y="1535953"/>
                </a:lnTo>
                <a:lnTo>
                  <a:pt x="2785035" y="1553882"/>
                </a:lnTo>
                <a:lnTo>
                  <a:pt x="2713317" y="1553882"/>
                </a:lnTo>
                <a:lnTo>
                  <a:pt x="2713317" y="1601694"/>
                </a:lnTo>
                <a:lnTo>
                  <a:pt x="2611717" y="1601694"/>
                </a:lnTo>
                <a:lnTo>
                  <a:pt x="2599764" y="1613647"/>
                </a:lnTo>
                <a:lnTo>
                  <a:pt x="2534023" y="1613647"/>
                </a:lnTo>
                <a:lnTo>
                  <a:pt x="2534023" y="1613647"/>
                </a:lnTo>
                <a:lnTo>
                  <a:pt x="2498164" y="1649506"/>
                </a:lnTo>
                <a:lnTo>
                  <a:pt x="2498164" y="1673412"/>
                </a:lnTo>
                <a:lnTo>
                  <a:pt x="2486212" y="1673412"/>
                </a:lnTo>
                <a:lnTo>
                  <a:pt x="2480235" y="1679389"/>
                </a:lnTo>
                <a:lnTo>
                  <a:pt x="2468283" y="1691341"/>
                </a:lnTo>
                <a:lnTo>
                  <a:pt x="2462306" y="1697318"/>
                </a:lnTo>
                <a:lnTo>
                  <a:pt x="2384612" y="1697318"/>
                </a:lnTo>
                <a:lnTo>
                  <a:pt x="2384612" y="1715247"/>
                </a:lnTo>
                <a:lnTo>
                  <a:pt x="2360706" y="1715247"/>
                </a:lnTo>
                <a:lnTo>
                  <a:pt x="2360706" y="1745129"/>
                </a:lnTo>
                <a:lnTo>
                  <a:pt x="2312894" y="1745129"/>
                </a:lnTo>
                <a:lnTo>
                  <a:pt x="2312894" y="1769035"/>
                </a:lnTo>
                <a:lnTo>
                  <a:pt x="2283012" y="1769035"/>
                </a:lnTo>
                <a:lnTo>
                  <a:pt x="2283012" y="1792941"/>
                </a:lnTo>
                <a:lnTo>
                  <a:pt x="2265082" y="1792941"/>
                </a:lnTo>
                <a:lnTo>
                  <a:pt x="2265082" y="1810871"/>
                </a:lnTo>
                <a:lnTo>
                  <a:pt x="2193364" y="1810871"/>
                </a:lnTo>
                <a:lnTo>
                  <a:pt x="2193364" y="1828800"/>
                </a:lnTo>
                <a:lnTo>
                  <a:pt x="2169459" y="1828800"/>
                </a:lnTo>
                <a:lnTo>
                  <a:pt x="2163482" y="1834777"/>
                </a:lnTo>
                <a:lnTo>
                  <a:pt x="2133600" y="1834777"/>
                </a:lnTo>
                <a:lnTo>
                  <a:pt x="2133600" y="1852706"/>
                </a:lnTo>
                <a:lnTo>
                  <a:pt x="2103717" y="1852706"/>
                </a:lnTo>
                <a:lnTo>
                  <a:pt x="2103717" y="1864659"/>
                </a:lnTo>
                <a:lnTo>
                  <a:pt x="2073835" y="1864659"/>
                </a:lnTo>
                <a:lnTo>
                  <a:pt x="2079812" y="1870636"/>
                </a:lnTo>
                <a:lnTo>
                  <a:pt x="2055906" y="1870636"/>
                </a:lnTo>
                <a:lnTo>
                  <a:pt x="2055906" y="1894541"/>
                </a:lnTo>
                <a:lnTo>
                  <a:pt x="2026023" y="1894541"/>
                </a:lnTo>
                <a:lnTo>
                  <a:pt x="2026023" y="1906494"/>
                </a:lnTo>
                <a:lnTo>
                  <a:pt x="1936376" y="1906494"/>
                </a:lnTo>
                <a:lnTo>
                  <a:pt x="1936376" y="1930400"/>
                </a:lnTo>
                <a:lnTo>
                  <a:pt x="1918447" y="1930400"/>
                </a:lnTo>
                <a:lnTo>
                  <a:pt x="1918447" y="1942353"/>
                </a:lnTo>
                <a:lnTo>
                  <a:pt x="1888564" y="1942353"/>
                </a:lnTo>
                <a:lnTo>
                  <a:pt x="1888564" y="1966259"/>
                </a:lnTo>
                <a:lnTo>
                  <a:pt x="1870635" y="1966259"/>
                </a:lnTo>
                <a:lnTo>
                  <a:pt x="1870635" y="1984188"/>
                </a:lnTo>
                <a:lnTo>
                  <a:pt x="1822823" y="1984188"/>
                </a:lnTo>
                <a:lnTo>
                  <a:pt x="1822823" y="2002118"/>
                </a:lnTo>
                <a:lnTo>
                  <a:pt x="1780988" y="2002118"/>
                </a:lnTo>
                <a:lnTo>
                  <a:pt x="1780988" y="2014071"/>
                </a:lnTo>
                <a:lnTo>
                  <a:pt x="1751106" y="2014071"/>
                </a:lnTo>
                <a:lnTo>
                  <a:pt x="1751106" y="2026024"/>
                </a:lnTo>
                <a:lnTo>
                  <a:pt x="1751106" y="2026024"/>
                </a:lnTo>
                <a:lnTo>
                  <a:pt x="1727201" y="2049929"/>
                </a:lnTo>
                <a:lnTo>
                  <a:pt x="1643529" y="2049929"/>
                </a:lnTo>
                <a:lnTo>
                  <a:pt x="1649506" y="2055906"/>
                </a:lnTo>
                <a:lnTo>
                  <a:pt x="1613647" y="2055906"/>
                </a:lnTo>
                <a:lnTo>
                  <a:pt x="1613647" y="2055906"/>
                </a:lnTo>
                <a:lnTo>
                  <a:pt x="1589741" y="2079812"/>
                </a:lnTo>
                <a:lnTo>
                  <a:pt x="1571812" y="2097741"/>
                </a:lnTo>
                <a:lnTo>
                  <a:pt x="1541929" y="2097741"/>
                </a:lnTo>
                <a:lnTo>
                  <a:pt x="1541929" y="2115671"/>
                </a:lnTo>
                <a:lnTo>
                  <a:pt x="1506070" y="2115671"/>
                </a:lnTo>
                <a:lnTo>
                  <a:pt x="1506070" y="2127624"/>
                </a:lnTo>
                <a:lnTo>
                  <a:pt x="1446306" y="2127624"/>
                </a:lnTo>
                <a:lnTo>
                  <a:pt x="1446306" y="2139576"/>
                </a:lnTo>
                <a:lnTo>
                  <a:pt x="1398494" y="2139576"/>
                </a:lnTo>
                <a:lnTo>
                  <a:pt x="1398494" y="2151529"/>
                </a:lnTo>
                <a:lnTo>
                  <a:pt x="1344706" y="2151529"/>
                </a:lnTo>
                <a:lnTo>
                  <a:pt x="1344706" y="2169459"/>
                </a:lnTo>
                <a:lnTo>
                  <a:pt x="1296894" y="2169459"/>
                </a:lnTo>
                <a:lnTo>
                  <a:pt x="1296894" y="2175435"/>
                </a:lnTo>
                <a:lnTo>
                  <a:pt x="1261035" y="2175435"/>
                </a:lnTo>
                <a:lnTo>
                  <a:pt x="1261035" y="2181412"/>
                </a:lnTo>
                <a:lnTo>
                  <a:pt x="1213223" y="2181412"/>
                </a:lnTo>
                <a:lnTo>
                  <a:pt x="1213223" y="2193365"/>
                </a:lnTo>
                <a:lnTo>
                  <a:pt x="1123576" y="2193365"/>
                </a:lnTo>
                <a:lnTo>
                  <a:pt x="1123576" y="2217271"/>
                </a:lnTo>
                <a:lnTo>
                  <a:pt x="1057835" y="2217271"/>
                </a:lnTo>
                <a:lnTo>
                  <a:pt x="1051859" y="2223247"/>
                </a:lnTo>
                <a:lnTo>
                  <a:pt x="1004047" y="2223247"/>
                </a:lnTo>
                <a:lnTo>
                  <a:pt x="1004047" y="2253129"/>
                </a:lnTo>
                <a:lnTo>
                  <a:pt x="968188" y="2253129"/>
                </a:lnTo>
                <a:lnTo>
                  <a:pt x="968188" y="2277035"/>
                </a:lnTo>
                <a:lnTo>
                  <a:pt x="884517" y="2277035"/>
                </a:lnTo>
                <a:lnTo>
                  <a:pt x="884517" y="2300941"/>
                </a:lnTo>
                <a:lnTo>
                  <a:pt x="818776" y="2300941"/>
                </a:lnTo>
                <a:lnTo>
                  <a:pt x="818776" y="2300941"/>
                </a:lnTo>
                <a:lnTo>
                  <a:pt x="788893" y="2330824"/>
                </a:lnTo>
                <a:lnTo>
                  <a:pt x="764988" y="2354729"/>
                </a:lnTo>
                <a:lnTo>
                  <a:pt x="693270" y="2354729"/>
                </a:lnTo>
                <a:lnTo>
                  <a:pt x="693270" y="2372659"/>
                </a:lnTo>
                <a:lnTo>
                  <a:pt x="627529" y="2372659"/>
                </a:lnTo>
                <a:lnTo>
                  <a:pt x="627529" y="2390588"/>
                </a:lnTo>
                <a:lnTo>
                  <a:pt x="591670" y="2390588"/>
                </a:lnTo>
                <a:lnTo>
                  <a:pt x="591670" y="2432424"/>
                </a:lnTo>
                <a:lnTo>
                  <a:pt x="555812" y="2432424"/>
                </a:lnTo>
                <a:lnTo>
                  <a:pt x="555812" y="2450353"/>
                </a:lnTo>
                <a:lnTo>
                  <a:pt x="513976" y="2450353"/>
                </a:lnTo>
                <a:lnTo>
                  <a:pt x="513976" y="2498165"/>
                </a:lnTo>
                <a:lnTo>
                  <a:pt x="448235" y="2498165"/>
                </a:lnTo>
                <a:lnTo>
                  <a:pt x="448235" y="2545976"/>
                </a:lnTo>
                <a:lnTo>
                  <a:pt x="400423" y="2545976"/>
                </a:lnTo>
                <a:lnTo>
                  <a:pt x="346635" y="2545976"/>
                </a:lnTo>
                <a:lnTo>
                  <a:pt x="346635" y="2569882"/>
                </a:lnTo>
                <a:lnTo>
                  <a:pt x="298823" y="2569882"/>
                </a:lnTo>
                <a:lnTo>
                  <a:pt x="298823" y="2593788"/>
                </a:lnTo>
                <a:lnTo>
                  <a:pt x="245035" y="2593788"/>
                </a:lnTo>
                <a:lnTo>
                  <a:pt x="245035" y="2623671"/>
                </a:lnTo>
                <a:lnTo>
                  <a:pt x="71717" y="2623671"/>
                </a:lnTo>
                <a:lnTo>
                  <a:pt x="0" y="2623671"/>
                </a:lnTo>
              </a:path>
            </a:pathLst>
          </a:custGeom>
          <a:noFill/>
          <a:ln w="19050">
            <a:solidFill>
              <a:srgbClr val="82786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sz="1800" dirty="0">
              <a:solidFill>
                <a:srgbClr val="FFFFFF"/>
              </a:solidFill>
            </a:endParaRPr>
          </a:p>
        </p:txBody>
      </p:sp>
      <p:sp>
        <p:nvSpPr>
          <p:cNvPr id="178" name="Freeform 177"/>
          <p:cNvSpPr/>
          <p:nvPr/>
        </p:nvSpPr>
        <p:spPr>
          <a:xfrm>
            <a:off x="5756169" y="2032773"/>
            <a:ext cx="3080084" cy="1295266"/>
          </a:xfrm>
          <a:custGeom>
            <a:avLst/>
            <a:gdLst>
              <a:gd name="connsiteX0" fmla="*/ 7357035 w 7357035"/>
              <a:gd name="connsiteY0" fmla="*/ 0 h 2085789"/>
              <a:gd name="connsiteX1" fmla="*/ 6980517 w 7357035"/>
              <a:gd name="connsiteY1" fmla="*/ 0 h 2085789"/>
              <a:gd name="connsiteX2" fmla="*/ 6980517 w 7357035"/>
              <a:gd name="connsiteY2" fmla="*/ 23906 h 2085789"/>
              <a:gd name="connsiteX3" fmla="*/ 6920753 w 7357035"/>
              <a:gd name="connsiteY3" fmla="*/ 23906 h 2085789"/>
              <a:gd name="connsiteX4" fmla="*/ 6932706 w 7357035"/>
              <a:gd name="connsiteY4" fmla="*/ 35859 h 2085789"/>
              <a:gd name="connsiteX5" fmla="*/ 6789270 w 7357035"/>
              <a:gd name="connsiteY5" fmla="*/ 35859 h 2085789"/>
              <a:gd name="connsiteX6" fmla="*/ 6789270 w 7357035"/>
              <a:gd name="connsiteY6" fmla="*/ 47812 h 2085789"/>
              <a:gd name="connsiteX7" fmla="*/ 6717553 w 7357035"/>
              <a:gd name="connsiteY7" fmla="*/ 47812 h 2085789"/>
              <a:gd name="connsiteX8" fmla="*/ 6717553 w 7357035"/>
              <a:gd name="connsiteY8" fmla="*/ 59765 h 2085789"/>
              <a:gd name="connsiteX9" fmla="*/ 6663764 w 7357035"/>
              <a:gd name="connsiteY9" fmla="*/ 59765 h 2085789"/>
              <a:gd name="connsiteX10" fmla="*/ 6663764 w 7357035"/>
              <a:gd name="connsiteY10" fmla="*/ 83671 h 2085789"/>
              <a:gd name="connsiteX11" fmla="*/ 6639859 w 7357035"/>
              <a:gd name="connsiteY11" fmla="*/ 83671 h 2085789"/>
              <a:gd name="connsiteX12" fmla="*/ 6639859 w 7357035"/>
              <a:gd name="connsiteY12" fmla="*/ 95624 h 2085789"/>
              <a:gd name="connsiteX13" fmla="*/ 6412753 w 7357035"/>
              <a:gd name="connsiteY13" fmla="*/ 95624 h 2085789"/>
              <a:gd name="connsiteX14" fmla="*/ 6406776 w 7357035"/>
              <a:gd name="connsiteY14" fmla="*/ 101601 h 2085789"/>
              <a:gd name="connsiteX15" fmla="*/ 6335059 w 7357035"/>
              <a:gd name="connsiteY15" fmla="*/ 101601 h 2085789"/>
              <a:gd name="connsiteX16" fmla="*/ 6335059 w 7357035"/>
              <a:gd name="connsiteY16" fmla="*/ 125506 h 2085789"/>
              <a:gd name="connsiteX17" fmla="*/ 6257364 w 7357035"/>
              <a:gd name="connsiteY17" fmla="*/ 125506 h 2085789"/>
              <a:gd name="connsiteX18" fmla="*/ 6257364 w 7357035"/>
              <a:gd name="connsiteY18" fmla="*/ 161365 h 2085789"/>
              <a:gd name="connsiteX19" fmla="*/ 6215529 w 7357035"/>
              <a:gd name="connsiteY19" fmla="*/ 161365 h 2085789"/>
              <a:gd name="connsiteX20" fmla="*/ 6215529 w 7357035"/>
              <a:gd name="connsiteY20" fmla="*/ 185271 h 2085789"/>
              <a:gd name="connsiteX21" fmla="*/ 6197600 w 7357035"/>
              <a:gd name="connsiteY21" fmla="*/ 185271 h 2085789"/>
              <a:gd name="connsiteX22" fmla="*/ 6209553 w 7357035"/>
              <a:gd name="connsiteY22" fmla="*/ 197224 h 2085789"/>
              <a:gd name="connsiteX23" fmla="*/ 6173694 w 7357035"/>
              <a:gd name="connsiteY23" fmla="*/ 197224 h 2085789"/>
              <a:gd name="connsiteX24" fmla="*/ 6173694 w 7357035"/>
              <a:gd name="connsiteY24" fmla="*/ 221130 h 2085789"/>
              <a:gd name="connsiteX25" fmla="*/ 5994400 w 7357035"/>
              <a:gd name="connsiteY25" fmla="*/ 221130 h 2085789"/>
              <a:gd name="connsiteX26" fmla="*/ 5994400 w 7357035"/>
              <a:gd name="connsiteY26" fmla="*/ 239059 h 2085789"/>
              <a:gd name="connsiteX27" fmla="*/ 5964517 w 7357035"/>
              <a:gd name="connsiteY27" fmla="*/ 239059 h 2085789"/>
              <a:gd name="connsiteX28" fmla="*/ 5964517 w 7357035"/>
              <a:gd name="connsiteY28" fmla="*/ 256989 h 2085789"/>
              <a:gd name="connsiteX29" fmla="*/ 5868894 w 7357035"/>
              <a:gd name="connsiteY29" fmla="*/ 256989 h 2085789"/>
              <a:gd name="connsiteX30" fmla="*/ 5868894 w 7357035"/>
              <a:gd name="connsiteY30" fmla="*/ 274918 h 2085789"/>
              <a:gd name="connsiteX31" fmla="*/ 5850964 w 7357035"/>
              <a:gd name="connsiteY31" fmla="*/ 274918 h 2085789"/>
              <a:gd name="connsiteX32" fmla="*/ 5850964 w 7357035"/>
              <a:gd name="connsiteY32" fmla="*/ 292847 h 2085789"/>
              <a:gd name="connsiteX33" fmla="*/ 5809129 w 7357035"/>
              <a:gd name="connsiteY33" fmla="*/ 292847 h 2085789"/>
              <a:gd name="connsiteX34" fmla="*/ 5809129 w 7357035"/>
              <a:gd name="connsiteY34" fmla="*/ 316753 h 2085789"/>
              <a:gd name="connsiteX35" fmla="*/ 5761317 w 7357035"/>
              <a:gd name="connsiteY35" fmla="*/ 316753 h 2085789"/>
              <a:gd name="connsiteX36" fmla="*/ 5761317 w 7357035"/>
              <a:gd name="connsiteY36" fmla="*/ 340659 h 2085789"/>
              <a:gd name="connsiteX37" fmla="*/ 5749364 w 7357035"/>
              <a:gd name="connsiteY37" fmla="*/ 340659 h 2085789"/>
              <a:gd name="connsiteX38" fmla="*/ 5749364 w 7357035"/>
              <a:gd name="connsiteY38" fmla="*/ 358589 h 2085789"/>
              <a:gd name="connsiteX39" fmla="*/ 5707529 w 7357035"/>
              <a:gd name="connsiteY39" fmla="*/ 358589 h 2085789"/>
              <a:gd name="connsiteX40" fmla="*/ 5707529 w 7357035"/>
              <a:gd name="connsiteY40" fmla="*/ 376518 h 2085789"/>
              <a:gd name="connsiteX41" fmla="*/ 5576047 w 7357035"/>
              <a:gd name="connsiteY41" fmla="*/ 376518 h 2085789"/>
              <a:gd name="connsiteX42" fmla="*/ 5576047 w 7357035"/>
              <a:gd name="connsiteY42" fmla="*/ 394447 h 2085789"/>
              <a:gd name="connsiteX43" fmla="*/ 5522259 w 7357035"/>
              <a:gd name="connsiteY43" fmla="*/ 394447 h 2085789"/>
              <a:gd name="connsiteX44" fmla="*/ 5522259 w 7357035"/>
              <a:gd name="connsiteY44" fmla="*/ 424330 h 2085789"/>
              <a:gd name="connsiteX45" fmla="*/ 5444564 w 7357035"/>
              <a:gd name="connsiteY45" fmla="*/ 424330 h 2085789"/>
              <a:gd name="connsiteX46" fmla="*/ 5444564 w 7357035"/>
              <a:gd name="connsiteY46" fmla="*/ 454212 h 2085789"/>
              <a:gd name="connsiteX47" fmla="*/ 5444564 w 7357035"/>
              <a:gd name="connsiteY47" fmla="*/ 454212 h 2085789"/>
              <a:gd name="connsiteX48" fmla="*/ 5402729 w 7357035"/>
              <a:gd name="connsiteY48" fmla="*/ 454212 h 2085789"/>
              <a:gd name="connsiteX49" fmla="*/ 5331012 w 7357035"/>
              <a:gd name="connsiteY49" fmla="*/ 454212 h 2085789"/>
              <a:gd name="connsiteX50" fmla="*/ 5331012 w 7357035"/>
              <a:gd name="connsiteY50" fmla="*/ 484094 h 2085789"/>
              <a:gd name="connsiteX51" fmla="*/ 5307106 w 7357035"/>
              <a:gd name="connsiteY51" fmla="*/ 484094 h 2085789"/>
              <a:gd name="connsiteX52" fmla="*/ 5307106 w 7357035"/>
              <a:gd name="connsiteY52" fmla="*/ 508000 h 2085789"/>
              <a:gd name="connsiteX53" fmla="*/ 5259294 w 7357035"/>
              <a:gd name="connsiteY53" fmla="*/ 508000 h 2085789"/>
              <a:gd name="connsiteX54" fmla="*/ 5259294 w 7357035"/>
              <a:gd name="connsiteY54" fmla="*/ 537883 h 2085789"/>
              <a:gd name="connsiteX55" fmla="*/ 5193553 w 7357035"/>
              <a:gd name="connsiteY55" fmla="*/ 537883 h 2085789"/>
              <a:gd name="connsiteX56" fmla="*/ 5187576 w 7357035"/>
              <a:gd name="connsiteY56" fmla="*/ 543860 h 2085789"/>
              <a:gd name="connsiteX57" fmla="*/ 5115859 w 7357035"/>
              <a:gd name="connsiteY57" fmla="*/ 543860 h 2085789"/>
              <a:gd name="connsiteX58" fmla="*/ 5127812 w 7357035"/>
              <a:gd name="connsiteY58" fmla="*/ 555813 h 2085789"/>
              <a:gd name="connsiteX59" fmla="*/ 5062070 w 7357035"/>
              <a:gd name="connsiteY59" fmla="*/ 555813 h 2085789"/>
              <a:gd name="connsiteX60" fmla="*/ 5062070 w 7357035"/>
              <a:gd name="connsiteY60" fmla="*/ 579718 h 2085789"/>
              <a:gd name="connsiteX61" fmla="*/ 4996329 w 7357035"/>
              <a:gd name="connsiteY61" fmla="*/ 579718 h 2085789"/>
              <a:gd name="connsiteX62" fmla="*/ 5014258 w 7357035"/>
              <a:gd name="connsiteY62" fmla="*/ 597647 h 2085789"/>
              <a:gd name="connsiteX63" fmla="*/ 4948517 w 7357035"/>
              <a:gd name="connsiteY63" fmla="*/ 597647 h 2085789"/>
              <a:gd name="connsiteX64" fmla="*/ 4948517 w 7357035"/>
              <a:gd name="connsiteY64" fmla="*/ 609600 h 2085789"/>
              <a:gd name="connsiteX65" fmla="*/ 4858870 w 7357035"/>
              <a:gd name="connsiteY65" fmla="*/ 609600 h 2085789"/>
              <a:gd name="connsiteX66" fmla="*/ 4840940 w 7357035"/>
              <a:gd name="connsiteY66" fmla="*/ 627530 h 2085789"/>
              <a:gd name="connsiteX67" fmla="*/ 4769223 w 7357035"/>
              <a:gd name="connsiteY67" fmla="*/ 627530 h 2085789"/>
              <a:gd name="connsiteX68" fmla="*/ 4781176 w 7357035"/>
              <a:gd name="connsiteY68" fmla="*/ 639483 h 2085789"/>
              <a:gd name="connsiteX69" fmla="*/ 4757270 w 7357035"/>
              <a:gd name="connsiteY69" fmla="*/ 639483 h 2085789"/>
              <a:gd name="connsiteX70" fmla="*/ 4757270 w 7357035"/>
              <a:gd name="connsiteY70" fmla="*/ 651436 h 2085789"/>
              <a:gd name="connsiteX71" fmla="*/ 4691529 w 7357035"/>
              <a:gd name="connsiteY71" fmla="*/ 651436 h 2085789"/>
              <a:gd name="connsiteX72" fmla="*/ 4709459 w 7357035"/>
              <a:gd name="connsiteY72" fmla="*/ 669366 h 2085789"/>
              <a:gd name="connsiteX73" fmla="*/ 4637741 w 7357035"/>
              <a:gd name="connsiteY73" fmla="*/ 669366 h 2085789"/>
              <a:gd name="connsiteX74" fmla="*/ 4637741 w 7357035"/>
              <a:gd name="connsiteY74" fmla="*/ 699247 h 2085789"/>
              <a:gd name="connsiteX75" fmla="*/ 4572000 w 7357035"/>
              <a:gd name="connsiteY75" fmla="*/ 699247 h 2085789"/>
              <a:gd name="connsiteX76" fmla="*/ 4572000 w 7357035"/>
              <a:gd name="connsiteY76" fmla="*/ 717177 h 2085789"/>
              <a:gd name="connsiteX77" fmla="*/ 4506259 w 7357035"/>
              <a:gd name="connsiteY77" fmla="*/ 717177 h 2085789"/>
              <a:gd name="connsiteX78" fmla="*/ 4506259 w 7357035"/>
              <a:gd name="connsiteY78" fmla="*/ 759012 h 2085789"/>
              <a:gd name="connsiteX79" fmla="*/ 4464423 w 7357035"/>
              <a:gd name="connsiteY79" fmla="*/ 759012 h 2085789"/>
              <a:gd name="connsiteX80" fmla="*/ 4464423 w 7357035"/>
              <a:gd name="connsiteY80" fmla="*/ 782918 h 2085789"/>
              <a:gd name="connsiteX81" fmla="*/ 4386729 w 7357035"/>
              <a:gd name="connsiteY81" fmla="*/ 782918 h 2085789"/>
              <a:gd name="connsiteX82" fmla="*/ 4386729 w 7357035"/>
              <a:gd name="connsiteY82" fmla="*/ 788894 h 2085789"/>
              <a:gd name="connsiteX83" fmla="*/ 4332941 w 7357035"/>
              <a:gd name="connsiteY83" fmla="*/ 788894 h 2085789"/>
              <a:gd name="connsiteX84" fmla="*/ 4332941 w 7357035"/>
              <a:gd name="connsiteY84" fmla="*/ 812800 h 2085789"/>
              <a:gd name="connsiteX85" fmla="*/ 4267200 w 7357035"/>
              <a:gd name="connsiteY85" fmla="*/ 812800 h 2085789"/>
              <a:gd name="connsiteX86" fmla="*/ 4267200 w 7357035"/>
              <a:gd name="connsiteY86" fmla="*/ 836706 h 2085789"/>
              <a:gd name="connsiteX87" fmla="*/ 4183529 w 7357035"/>
              <a:gd name="connsiteY87" fmla="*/ 836706 h 2085789"/>
              <a:gd name="connsiteX88" fmla="*/ 4183529 w 7357035"/>
              <a:gd name="connsiteY88" fmla="*/ 854636 h 2085789"/>
              <a:gd name="connsiteX89" fmla="*/ 4111812 w 7357035"/>
              <a:gd name="connsiteY89" fmla="*/ 854636 h 2085789"/>
              <a:gd name="connsiteX90" fmla="*/ 4111812 w 7357035"/>
              <a:gd name="connsiteY90" fmla="*/ 878541 h 2085789"/>
              <a:gd name="connsiteX91" fmla="*/ 4046070 w 7357035"/>
              <a:gd name="connsiteY91" fmla="*/ 878541 h 2085789"/>
              <a:gd name="connsiteX92" fmla="*/ 4046070 w 7357035"/>
              <a:gd name="connsiteY92" fmla="*/ 902447 h 2085789"/>
              <a:gd name="connsiteX93" fmla="*/ 3968376 w 7357035"/>
              <a:gd name="connsiteY93" fmla="*/ 902447 h 2085789"/>
              <a:gd name="connsiteX94" fmla="*/ 3968376 w 7357035"/>
              <a:gd name="connsiteY94" fmla="*/ 926353 h 2085789"/>
              <a:gd name="connsiteX95" fmla="*/ 3902635 w 7357035"/>
              <a:gd name="connsiteY95" fmla="*/ 926353 h 2085789"/>
              <a:gd name="connsiteX96" fmla="*/ 3902635 w 7357035"/>
              <a:gd name="connsiteY96" fmla="*/ 938306 h 2085789"/>
              <a:gd name="connsiteX97" fmla="*/ 3854823 w 7357035"/>
              <a:gd name="connsiteY97" fmla="*/ 938306 h 2085789"/>
              <a:gd name="connsiteX98" fmla="*/ 3854823 w 7357035"/>
              <a:gd name="connsiteY98" fmla="*/ 956236 h 2085789"/>
              <a:gd name="connsiteX99" fmla="*/ 3789082 w 7357035"/>
              <a:gd name="connsiteY99" fmla="*/ 956236 h 2085789"/>
              <a:gd name="connsiteX100" fmla="*/ 3789082 w 7357035"/>
              <a:gd name="connsiteY100" fmla="*/ 968189 h 2085789"/>
              <a:gd name="connsiteX101" fmla="*/ 3759200 w 7357035"/>
              <a:gd name="connsiteY101" fmla="*/ 968189 h 2085789"/>
              <a:gd name="connsiteX102" fmla="*/ 3759200 w 7357035"/>
              <a:gd name="connsiteY102" fmla="*/ 992094 h 2085789"/>
              <a:gd name="connsiteX103" fmla="*/ 3729317 w 7357035"/>
              <a:gd name="connsiteY103" fmla="*/ 992094 h 2085789"/>
              <a:gd name="connsiteX104" fmla="*/ 3729317 w 7357035"/>
              <a:gd name="connsiteY104" fmla="*/ 1021977 h 2085789"/>
              <a:gd name="connsiteX105" fmla="*/ 3669553 w 7357035"/>
              <a:gd name="connsiteY105" fmla="*/ 1021977 h 2085789"/>
              <a:gd name="connsiteX106" fmla="*/ 3681506 w 7357035"/>
              <a:gd name="connsiteY106" fmla="*/ 1021977 h 2085789"/>
              <a:gd name="connsiteX107" fmla="*/ 3603812 w 7357035"/>
              <a:gd name="connsiteY107" fmla="*/ 1021977 h 2085789"/>
              <a:gd name="connsiteX108" fmla="*/ 3603812 w 7357035"/>
              <a:gd name="connsiteY108" fmla="*/ 1045883 h 2085789"/>
              <a:gd name="connsiteX109" fmla="*/ 3544047 w 7357035"/>
              <a:gd name="connsiteY109" fmla="*/ 1045883 h 2085789"/>
              <a:gd name="connsiteX110" fmla="*/ 3544047 w 7357035"/>
              <a:gd name="connsiteY110" fmla="*/ 1063812 h 2085789"/>
              <a:gd name="connsiteX111" fmla="*/ 3490259 w 7357035"/>
              <a:gd name="connsiteY111" fmla="*/ 1063812 h 2085789"/>
              <a:gd name="connsiteX112" fmla="*/ 3490259 w 7357035"/>
              <a:gd name="connsiteY112" fmla="*/ 1087718 h 2085789"/>
              <a:gd name="connsiteX113" fmla="*/ 3424517 w 7357035"/>
              <a:gd name="connsiteY113" fmla="*/ 1087718 h 2085789"/>
              <a:gd name="connsiteX114" fmla="*/ 3424517 w 7357035"/>
              <a:gd name="connsiteY114" fmla="*/ 1123577 h 2085789"/>
              <a:gd name="connsiteX115" fmla="*/ 3382682 w 7357035"/>
              <a:gd name="connsiteY115" fmla="*/ 1123577 h 2085789"/>
              <a:gd name="connsiteX116" fmla="*/ 3382682 w 7357035"/>
              <a:gd name="connsiteY116" fmla="*/ 1141506 h 2085789"/>
              <a:gd name="connsiteX117" fmla="*/ 3257176 w 7357035"/>
              <a:gd name="connsiteY117" fmla="*/ 1141506 h 2085789"/>
              <a:gd name="connsiteX118" fmla="*/ 3257176 w 7357035"/>
              <a:gd name="connsiteY118" fmla="*/ 1171389 h 2085789"/>
              <a:gd name="connsiteX119" fmla="*/ 3203388 w 7357035"/>
              <a:gd name="connsiteY119" fmla="*/ 1171389 h 2085789"/>
              <a:gd name="connsiteX120" fmla="*/ 3209364 w 7357035"/>
              <a:gd name="connsiteY120" fmla="*/ 1177365 h 2085789"/>
              <a:gd name="connsiteX121" fmla="*/ 3179482 w 7357035"/>
              <a:gd name="connsiteY121" fmla="*/ 1177365 h 2085789"/>
              <a:gd name="connsiteX122" fmla="*/ 3179482 w 7357035"/>
              <a:gd name="connsiteY122" fmla="*/ 1195294 h 2085789"/>
              <a:gd name="connsiteX123" fmla="*/ 3107764 w 7357035"/>
              <a:gd name="connsiteY123" fmla="*/ 1195294 h 2085789"/>
              <a:gd name="connsiteX124" fmla="*/ 3107764 w 7357035"/>
              <a:gd name="connsiteY124" fmla="*/ 1225177 h 2085789"/>
              <a:gd name="connsiteX125" fmla="*/ 3042023 w 7357035"/>
              <a:gd name="connsiteY125" fmla="*/ 1225177 h 2085789"/>
              <a:gd name="connsiteX126" fmla="*/ 3024094 w 7357035"/>
              <a:gd name="connsiteY126" fmla="*/ 1243106 h 2085789"/>
              <a:gd name="connsiteX127" fmla="*/ 2934447 w 7357035"/>
              <a:gd name="connsiteY127" fmla="*/ 1243106 h 2085789"/>
              <a:gd name="connsiteX128" fmla="*/ 2934447 w 7357035"/>
              <a:gd name="connsiteY128" fmla="*/ 1267012 h 2085789"/>
              <a:gd name="connsiteX129" fmla="*/ 2886635 w 7357035"/>
              <a:gd name="connsiteY129" fmla="*/ 1267012 h 2085789"/>
              <a:gd name="connsiteX130" fmla="*/ 2886635 w 7357035"/>
              <a:gd name="connsiteY130" fmla="*/ 1296894 h 2085789"/>
              <a:gd name="connsiteX131" fmla="*/ 2779059 w 7357035"/>
              <a:gd name="connsiteY131" fmla="*/ 1296894 h 2085789"/>
              <a:gd name="connsiteX132" fmla="*/ 2761129 w 7357035"/>
              <a:gd name="connsiteY132" fmla="*/ 1314824 h 2085789"/>
              <a:gd name="connsiteX133" fmla="*/ 2725270 w 7357035"/>
              <a:gd name="connsiteY133" fmla="*/ 1314824 h 2085789"/>
              <a:gd name="connsiteX134" fmla="*/ 2725270 w 7357035"/>
              <a:gd name="connsiteY134" fmla="*/ 1326777 h 2085789"/>
              <a:gd name="connsiteX135" fmla="*/ 2653553 w 7357035"/>
              <a:gd name="connsiteY135" fmla="*/ 1326777 h 2085789"/>
              <a:gd name="connsiteX136" fmla="*/ 2653553 w 7357035"/>
              <a:gd name="connsiteY136" fmla="*/ 1344706 h 2085789"/>
              <a:gd name="connsiteX137" fmla="*/ 2611717 w 7357035"/>
              <a:gd name="connsiteY137" fmla="*/ 1344706 h 2085789"/>
              <a:gd name="connsiteX138" fmla="*/ 2605741 w 7357035"/>
              <a:gd name="connsiteY138" fmla="*/ 1350682 h 2085789"/>
              <a:gd name="connsiteX139" fmla="*/ 2569882 w 7357035"/>
              <a:gd name="connsiteY139" fmla="*/ 1350682 h 2085789"/>
              <a:gd name="connsiteX140" fmla="*/ 2569882 w 7357035"/>
              <a:gd name="connsiteY140" fmla="*/ 1368612 h 2085789"/>
              <a:gd name="connsiteX141" fmla="*/ 2540000 w 7357035"/>
              <a:gd name="connsiteY141" fmla="*/ 1368612 h 2085789"/>
              <a:gd name="connsiteX142" fmla="*/ 2528047 w 7357035"/>
              <a:gd name="connsiteY142" fmla="*/ 1380565 h 2085789"/>
              <a:gd name="connsiteX143" fmla="*/ 2492188 w 7357035"/>
              <a:gd name="connsiteY143" fmla="*/ 1380565 h 2085789"/>
              <a:gd name="connsiteX144" fmla="*/ 2492188 w 7357035"/>
              <a:gd name="connsiteY144" fmla="*/ 1380565 h 2085789"/>
              <a:gd name="connsiteX145" fmla="*/ 2408517 w 7357035"/>
              <a:gd name="connsiteY145" fmla="*/ 1380565 h 2085789"/>
              <a:gd name="connsiteX146" fmla="*/ 2408517 w 7357035"/>
              <a:gd name="connsiteY146" fmla="*/ 1410447 h 2085789"/>
              <a:gd name="connsiteX147" fmla="*/ 2336800 w 7357035"/>
              <a:gd name="connsiteY147" fmla="*/ 1410447 h 2085789"/>
              <a:gd name="connsiteX148" fmla="*/ 2336800 w 7357035"/>
              <a:gd name="connsiteY148" fmla="*/ 1434353 h 2085789"/>
              <a:gd name="connsiteX149" fmla="*/ 2235200 w 7357035"/>
              <a:gd name="connsiteY149" fmla="*/ 1434353 h 2085789"/>
              <a:gd name="connsiteX150" fmla="*/ 2235200 w 7357035"/>
              <a:gd name="connsiteY150" fmla="*/ 1464236 h 2085789"/>
              <a:gd name="connsiteX151" fmla="*/ 2229223 w 7357035"/>
              <a:gd name="connsiteY151" fmla="*/ 1464236 h 2085789"/>
              <a:gd name="connsiteX152" fmla="*/ 2229223 w 7357035"/>
              <a:gd name="connsiteY152" fmla="*/ 1476189 h 2085789"/>
              <a:gd name="connsiteX153" fmla="*/ 2211294 w 7357035"/>
              <a:gd name="connsiteY153" fmla="*/ 1476189 h 2085789"/>
              <a:gd name="connsiteX154" fmla="*/ 2211294 w 7357035"/>
              <a:gd name="connsiteY154" fmla="*/ 1494118 h 2085789"/>
              <a:gd name="connsiteX155" fmla="*/ 2163482 w 7357035"/>
              <a:gd name="connsiteY155" fmla="*/ 1494118 h 2085789"/>
              <a:gd name="connsiteX156" fmla="*/ 2145553 w 7357035"/>
              <a:gd name="connsiteY156" fmla="*/ 1512047 h 2085789"/>
              <a:gd name="connsiteX157" fmla="*/ 2073835 w 7357035"/>
              <a:gd name="connsiteY157" fmla="*/ 1512047 h 2085789"/>
              <a:gd name="connsiteX158" fmla="*/ 2073835 w 7357035"/>
              <a:gd name="connsiteY158" fmla="*/ 1535953 h 2085789"/>
              <a:gd name="connsiteX159" fmla="*/ 2043953 w 7357035"/>
              <a:gd name="connsiteY159" fmla="*/ 1535953 h 2085789"/>
              <a:gd name="connsiteX160" fmla="*/ 2043953 w 7357035"/>
              <a:gd name="connsiteY160" fmla="*/ 1553883 h 2085789"/>
              <a:gd name="connsiteX161" fmla="*/ 2002117 w 7357035"/>
              <a:gd name="connsiteY161" fmla="*/ 1553883 h 2085789"/>
              <a:gd name="connsiteX162" fmla="*/ 2002117 w 7357035"/>
              <a:gd name="connsiteY162" fmla="*/ 1559859 h 2085789"/>
              <a:gd name="connsiteX163" fmla="*/ 1996140 w 7357035"/>
              <a:gd name="connsiteY163" fmla="*/ 1565836 h 2085789"/>
              <a:gd name="connsiteX164" fmla="*/ 1984188 w 7357035"/>
              <a:gd name="connsiteY164" fmla="*/ 1577788 h 2085789"/>
              <a:gd name="connsiteX165" fmla="*/ 1924423 w 7357035"/>
              <a:gd name="connsiteY165" fmla="*/ 1577788 h 2085789"/>
              <a:gd name="connsiteX166" fmla="*/ 1924423 w 7357035"/>
              <a:gd name="connsiteY166" fmla="*/ 1589741 h 2085789"/>
              <a:gd name="connsiteX167" fmla="*/ 1876612 w 7357035"/>
              <a:gd name="connsiteY167" fmla="*/ 1589741 h 2085789"/>
              <a:gd name="connsiteX168" fmla="*/ 1864659 w 7357035"/>
              <a:gd name="connsiteY168" fmla="*/ 1601694 h 2085789"/>
              <a:gd name="connsiteX169" fmla="*/ 1804894 w 7357035"/>
              <a:gd name="connsiteY169" fmla="*/ 1601694 h 2085789"/>
              <a:gd name="connsiteX170" fmla="*/ 1804894 w 7357035"/>
              <a:gd name="connsiteY170" fmla="*/ 1631577 h 2085789"/>
              <a:gd name="connsiteX171" fmla="*/ 1757082 w 7357035"/>
              <a:gd name="connsiteY171" fmla="*/ 1631577 h 2085789"/>
              <a:gd name="connsiteX172" fmla="*/ 1757082 w 7357035"/>
              <a:gd name="connsiteY172" fmla="*/ 1655483 h 2085789"/>
              <a:gd name="connsiteX173" fmla="*/ 1691341 w 7357035"/>
              <a:gd name="connsiteY173" fmla="*/ 1655483 h 2085789"/>
              <a:gd name="connsiteX174" fmla="*/ 1691341 w 7357035"/>
              <a:gd name="connsiteY174" fmla="*/ 1673412 h 2085789"/>
              <a:gd name="connsiteX175" fmla="*/ 1619623 w 7357035"/>
              <a:gd name="connsiteY175" fmla="*/ 1673412 h 2085789"/>
              <a:gd name="connsiteX176" fmla="*/ 1619623 w 7357035"/>
              <a:gd name="connsiteY176" fmla="*/ 1691341 h 2085789"/>
              <a:gd name="connsiteX177" fmla="*/ 1553882 w 7357035"/>
              <a:gd name="connsiteY177" fmla="*/ 1691341 h 2085789"/>
              <a:gd name="connsiteX178" fmla="*/ 1547906 w 7357035"/>
              <a:gd name="connsiteY178" fmla="*/ 1697317 h 2085789"/>
              <a:gd name="connsiteX179" fmla="*/ 1482164 w 7357035"/>
              <a:gd name="connsiteY179" fmla="*/ 1697317 h 2085789"/>
              <a:gd name="connsiteX180" fmla="*/ 1482164 w 7357035"/>
              <a:gd name="connsiteY180" fmla="*/ 1715247 h 2085789"/>
              <a:gd name="connsiteX181" fmla="*/ 1446306 w 7357035"/>
              <a:gd name="connsiteY181" fmla="*/ 1715247 h 2085789"/>
              <a:gd name="connsiteX182" fmla="*/ 1446306 w 7357035"/>
              <a:gd name="connsiteY182" fmla="*/ 1733177 h 2085789"/>
              <a:gd name="connsiteX183" fmla="*/ 1362635 w 7357035"/>
              <a:gd name="connsiteY183" fmla="*/ 1733177 h 2085789"/>
              <a:gd name="connsiteX184" fmla="*/ 1362635 w 7357035"/>
              <a:gd name="connsiteY184" fmla="*/ 1757083 h 2085789"/>
              <a:gd name="connsiteX185" fmla="*/ 1308847 w 7357035"/>
              <a:gd name="connsiteY185" fmla="*/ 1757083 h 2085789"/>
              <a:gd name="connsiteX186" fmla="*/ 1308847 w 7357035"/>
              <a:gd name="connsiteY186" fmla="*/ 1780989 h 2085789"/>
              <a:gd name="connsiteX187" fmla="*/ 1249082 w 7357035"/>
              <a:gd name="connsiteY187" fmla="*/ 1780989 h 2085789"/>
              <a:gd name="connsiteX188" fmla="*/ 1249082 w 7357035"/>
              <a:gd name="connsiteY188" fmla="*/ 1798918 h 2085789"/>
              <a:gd name="connsiteX189" fmla="*/ 1189317 w 7357035"/>
              <a:gd name="connsiteY189" fmla="*/ 1798918 h 2085789"/>
              <a:gd name="connsiteX190" fmla="*/ 1189317 w 7357035"/>
              <a:gd name="connsiteY190" fmla="*/ 1822824 h 2085789"/>
              <a:gd name="connsiteX191" fmla="*/ 1123576 w 7357035"/>
              <a:gd name="connsiteY191" fmla="*/ 1822824 h 2085789"/>
              <a:gd name="connsiteX192" fmla="*/ 1111623 w 7357035"/>
              <a:gd name="connsiteY192" fmla="*/ 1834777 h 2085789"/>
              <a:gd name="connsiteX193" fmla="*/ 1069788 w 7357035"/>
              <a:gd name="connsiteY193" fmla="*/ 1834777 h 2085789"/>
              <a:gd name="connsiteX194" fmla="*/ 1069788 w 7357035"/>
              <a:gd name="connsiteY194" fmla="*/ 1864659 h 2085789"/>
              <a:gd name="connsiteX195" fmla="*/ 1004047 w 7357035"/>
              <a:gd name="connsiteY195" fmla="*/ 1864659 h 2085789"/>
              <a:gd name="connsiteX196" fmla="*/ 1004047 w 7357035"/>
              <a:gd name="connsiteY196" fmla="*/ 1882589 h 2085789"/>
              <a:gd name="connsiteX197" fmla="*/ 950259 w 7357035"/>
              <a:gd name="connsiteY197" fmla="*/ 1882589 h 2085789"/>
              <a:gd name="connsiteX198" fmla="*/ 950259 w 7357035"/>
              <a:gd name="connsiteY198" fmla="*/ 1882589 h 2085789"/>
              <a:gd name="connsiteX199" fmla="*/ 878541 w 7357035"/>
              <a:gd name="connsiteY199" fmla="*/ 1882589 h 2085789"/>
              <a:gd name="connsiteX200" fmla="*/ 878541 w 7357035"/>
              <a:gd name="connsiteY200" fmla="*/ 1906494 h 2085789"/>
              <a:gd name="connsiteX201" fmla="*/ 836706 w 7357035"/>
              <a:gd name="connsiteY201" fmla="*/ 1906494 h 2085789"/>
              <a:gd name="connsiteX202" fmla="*/ 836706 w 7357035"/>
              <a:gd name="connsiteY202" fmla="*/ 1936377 h 2085789"/>
              <a:gd name="connsiteX203" fmla="*/ 770964 w 7357035"/>
              <a:gd name="connsiteY203" fmla="*/ 1936377 h 2085789"/>
              <a:gd name="connsiteX204" fmla="*/ 770964 w 7357035"/>
              <a:gd name="connsiteY204" fmla="*/ 1936377 h 2085789"/>
              <a:gd name="connsiteX205" fmla="*/ 717176 w 7357035"/>
              <a:gd name="connsiteY205" fmla="*/ 1936377 h 2085789"/>
              <a:gd name="connsiteX206" fmla="*/ 717176 w 7357035"/>
              <a:gd name="connsiteY206" fmla="*/ 1954306 h 2085789"/>
              <a:gd name="connsiteX207" fmla="*/ 621553 w 7357035"/>
              <a:gd name="connsiteY207" fmla="*/ 1954306 h 2085789"/>
              <a:gd name="connsiteX208" fmla="*/ 621553 w 7357035"/>
              <a:gd name="connsiteY208" fmla="*/ 1972236 h 2085789"/>
              <a:gd name="connsiteX209" fmla="*/ 561788 w 7357035"/>
              <a:gd name="connsiteY209" fmla="*/ 1972236 h 2085789"/>
              <a:gd name="connsiteX210" fmla="*/ 573741 w 7357035"/>
              <a:gd name="connsiteY210" fmla="*/ 1984189 h 2085789"/>
              <a:gd name="connsiteX211" fmla="*/ 490070 w 7357035"/>
              <a:gd name="connsiteY211" fmla="*/ 1984189 h 2085789"/>
              <a:gd name="connsiteX212" fmla="*/ 490070 w 7357035"/>
              <a:gd name="connsiteY212" fmla="*/ 2014071 h 2085789"/>
              <a:gd name="connsiteX213" fmla="*/ 430306 w 7357035"/>
              <a:gd name="connsiteY213" fmla="*/ 2014071 h 2085789"/>
              <a:gd name="connsiteX214" fmla="*/ 430306 w 7357035"/>
              <a:gd name="connsiteY214" fmla="*/ 2037977 h 2085789"/>
              <a:gd name="connsiteX215" fmla="*/ 334682 w 7357035"/>
              <a:gd name="connsiteY215" fmla="*/ 2037977 h 2085789"/>
              <a:gd name="connsiteX216" fmla="*/ 334682 w 7357035"/>
              <a:gd name="connsiteY216" fmla="*/ 2043953 h 2085789"/>
              <a:gd name="connsiteX217" fmla="*/ 233082 w 7357035"/>
              <a:gd name="connsiteY217" fmla="*/ 2043953 h 2085789"/>
              <a:gd name="connsiteX218" fmla="*/ 233082 w 7357035"/>
              <a:gd name="connsiteY218" fmla="*/ 2085789 h 2085789"/>
              <a:gd name="connsiteX219" fmla="*/ 0 w 7357035"/>
              <a:gd name="connsiteY219" fmla="*/ 2085789 h 208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7357035" h="2085789">
                <a:moveTo>
                  <a:pt x="7357035" y="0"/>
                </a:moveTo>
                <a:lnTo>
                  <a:pt x="6980517" y="0"/>
                </a:lnTo>
                <a:lnTo>
                  <a:pt x="6980517" y="23906"/>
                </a:lnTo>
                <a:lnTo>
                  <a:pt x="6920753" y="23906"/>
                </a:lnTo>
                <a:lnTo>
                  <a:pt x="6932706" y="35859"/>
                </a:lnTo>
                <a:lnTo>
                  <a:pt x="6789270" y="35859"/>
                </a:lnTo>
                <a:lnTo>
                  <a:pt x="6789270" y="47812"/>
                </a:lnTo>
                <a:lnTo>
                  <a:pt x="6717553" y="47812"/>
                </a:lnTo>
                <a:lnTo>
                  <a:pt x="6717553" y="59765"/>
                </a:lnTo>
                <a:lnTo>
                  <a:pt x="6663764" y="59765"/>
                </a:lnTo>
                <a:lnTo>
                  <a:pt x="6663764" y="83671"/>
                </a:lnTo>
                <a:lnTo>
                  <a:pt x="6639859" y="83671"/>
                </a:lnTo>
                <a:lnTo>
                  <a:pt x="6639859" y="95624"/>
                </a:lnTo>
                <a:lnTo>
                  <a:pt x="6412753" y="95624"/>
                </a:lnTo>
                <a:lnTo>
                  <a:pt x="6406776" y="101601"/>
                </a:lnTo>
                <a:lnTo>
                  <a:pt x="6335059" y="101601"/>
                </a:lnTo>
                <a:lnTo>
                  <a:pt x="6335059" y="125506"/>
                </a:lnTo>
                <a:lnTo>
                  <a:pt x="6257364" y="125506"/>
                </a:lnTo>
                <a:lnTo>
                  <a:pt x="6257364" y="161365"/>
                </a:lnTo>
                <a:lnTo>
                  <a:pt x="6215529" y="161365"/>
                </a:lnTo>
                <a:lnTo>
                  <a:pt x="6215529" y="185271"/>
                </a:lnTo>
                <a:lnTo>
                  <a:pt x="6197600" y="185271"/>
                </a:lnTo>
                <a:lnTo>
                  <a:pt x="6209553" y="197224"/>
                </a:lnTo>
                <a:lnTo>
                  <a:pt x="6173694" y="197224"/>
                </a:lnTo>
                <a:lnTo>
                  <a:pt x="6173694" y="221130"/>
                </a:lnTo>
                <a:lnTo>
                  <a:pt x="5994400" y="221130"/>
                </a:lnTo>
                <a:lnTo>
                  <a:pt x="5994400" y="239059"/>
                </a:lnTo>
                <a:lnTo>
                  <a:pt x="5964517" y="239059"/>
                </a:lnTo>
                <a:lnTo>
                  <a:pt x="5964517" y="256989"/>
                </a:lnTo>
                <a:lnTo>
                  <a:pt x="5868894" y="256989"/>
                </a:lnTo>
                <a:lnTo>
                  <a:pt x="5868894" y="274918"/>
                </a:lnTo>
                <a:lnTo>
                  <a:pt x="5850964" y="274918"/>
                </a:lnTo>
                <a:lnTo>
                  <a:pt x="5850964" y="292847"/>
                </a:lnTo>
                <a:lnTo>
                  <a:pt x="5809129" y="292847"/>
                </a:lnTo>
                <a:lnTo>
                  <a:pt x="5809129" y="316753"/>
                </a:lnTo>
                <a:lnTo>
                  <a:pt x="5761317" y="316753"/>
                </a:lnTo>
                <a:lnTo>
                  <a:pt x="5761317" y="340659"/>
                </a:lnTo>
                <a:lnTo>
                  <a:pt x="5749364" y="340659"/>
                </a:lnTo>
                <a:lnTo>
                  <a:pt x="5749364" y="358589"/>
                </a:lnTo>
                <a:lnTo>
                  <a:pt x="5707529" y="358589"/>
                </a:lnTo>
                <a:lnTo>
                  <a:pt x="5707529" y="376518"/>
                </a:lnTo>
                <a:lnTo>
                  <a:pt x="5576047" y="376518"/>
                </a:lnTo>
                <a:lnTo>
                  <a:pt x="5576047" y="394447"/>
                </a:lnTo>
                <a:lnTo>
                  <a:pt x="5522259" y="394447"/>
                </a:lnTo>
                <a:lnTo>
                  <a:pt x="5522259" y="424330"/>
                </a:lnTo>
                <a:lnTo>
                  <a:pt x="5444564" y="424330"/>
                </a:lnTo>
                <a:lnTo>
                  <a:pt x="5444564" y="454212"/>
                </a:lnTo>
                <a:lnTo>
                  <a:pt x="5444564" y="454212"/>
                </a:lnTo>
                <a:lnTo>
                  <a:pt x="5402729" y="454212"/>
                </a:lnTo>
                <a:lnTo>
                  <a:pt x="5331012" y="454212"/>
                </a:lnTo>
                <a:lnTo>
                  <a:pt x="5331012" y="484094"/>
                </a:lnTo>
                <a:lnTo>
                  <a:pt x="5307106" y="484094"/>
                </a:lnTo>
                <a:lnTo>
                  <a:pt x="5307106" y="508000"/>
                </a:lnTo>
                <a:lnTo>
                  <a:pt x="5259294" y="508000"/>
                </a:lnTo>
                <a:lnTo>
                  <a:pt x="5259294" y="537883"/>
                </a:lnTo>
                <a:lnTo>
                  <a:pt x="5193553" y="537883"/>
                </a:lnTo>
                <a:lnTo>
                  <a:pt x="5187576" y="543860"/>
                </a:lnTo>
                <a:lnTo>
                  <a:pt x="5115859" y="543860"/>
                </a:lnTo>
                <a:lnTo>
                  <a:pt x="5127812" y="555813"/>
                </a:lnTo>
                <a:lnTo>
                  <a:pt x="5062070" y="555813"/>
                </a:lnTo>
                <a:lnTo>
                  <a:pt x="5062070" y="579718"/>
                </a:lnTo>
                <a:lnTo>
                  <a:pt x="4996329" y="579718"/>
                </a:lnTo>
                <a:lnTo>
                  <a:pt x="5014258" y="597647"/>
                </a:lnTo>
                <a:lnTo>
                  <a:pt x="4948517" y="597647"/>
                </a:lnTo>
                <a:lnTo>
                  <a:pt x="4948517" y="609600"/>
                </a:lnTo>
                <a:lnTo>
                  <a:pt x="4858870" y="609600"/>
                </a:lnTo>
                <a:lnTo>
                  <a:pt x="4840940" y="627530"/>
                </a:lnTo>
                <a:lnTo>
                  <a:pt x="4769223" y="627530"/>
                </a:lnTo>
                <a:lnTo>
                  <a:pt x="4781176" y="639483"/>
                </a:lnTo>
                <a:lnTo>
                  <a:pt x="4757270" y="639483"/>
                </a:lnTo>
                <a:lnTo>
                  <a:pt x="4757270" y="651436"/>
                </a:lnTo>
                <a:lnTo>
                  <a:pt x="4691529" y="651436"/>
                </a:lnTo>
                <a:lnTo>
                  <a:pt x="4709459" y="669366"/>
                </a:lnTo>
                <a:lnTo>
                  <a:pt x="4637741" y="669366"/>
                </a:lnTo>
                <a:lnTo>
                  <a:pt x="4637741" y="699247"/>
                </a:lnTo>
                <a:lnTo>
                  <a:pt x="4572000" y="699247"/>
                </a:lnTo>
                <a:lnTo>
                  <a:pt x="4572000" y="717177"/>
                </a:lnTo>
                <a:lnTo>
                  <a:pt x="4506259" y="717177"/>
                </a:lnTo>
                <a:lnTo>
                  <a:pt x="4506259" y="759012"/>
                </a:lnTo>
                <a:lnTo>
                  <a:pt x="4464423" y="759012"/>
                </a:lnTo>
                <a:lnTo>
                  <a:pt x="4464423" y="782918"/>
                </a:lnTo>
                <a:lnTo>
                  <a:pt x="4386729" y="782918"/>
                </a:lnTo>
                <a:lnTo>
                  <a:pt x="4386729" y="788894"/>
                </a:lnTo>
                <a:lnTo>
                  <a:pt x="4332941" y="788894"/>
                </a:lnTo>
                <a:lnTo>
                  <a:pt x="4332941" y="812800"/>
                </a:lnTo>
                <a:lnTo>
                  <a:pt x="4267200" y="812800"/>
                </a:lnTo>
                <a:lnTo>
                  <a:pt x="4267200" y="836706"/>
                </a:lnTo>
                <a:lnTo>
                  <a:pt x="4183529" y="836706"/>
                </a:lnTo>
                <a:lnTo>
                  <a:pt x="4183529" y="854636"/>
                </a:lnTo>
                <a:lnTo>
                  <a:pt x="4111812" y="854636"/>
                </a:lnTo>
                <a:lnTo>
                  <a:pt x="4111812" y="878541"/>
                </a:lnTo>
                <a:lnTo>
                  <a:pt x="4046070" y="878541"/>
                </a:lnTo>
                <a:lnTo>
                  <a:pt x="4046070" y="902447"/>
                </a:lnTo>
                <a:lnTo>
                  <a:pt x="3968376" y="902447"/>
                </a:lnTo>
                <a:lnTo>
                  <a:pt x="3968376" y="926353"/>
                </a:lnTo>
                <a:lnTo>
                  <a:pt x="3902635" y="926353"/>
                </a:lnTo>
                <a:lnTo>
                  <a:pt x="3902635" y="938306"/>
                </a:lnTo>
                <a:lnTo>
                  <a:pt x="3854823" y="938306"/>
                </a:lnTo>
                <a:lnTo>
                  <a:pt x="3854823" y="956236"/>
                </a:lnTo>
                <a:lnTo>
                  <a:pt x="3789082" y="956236"/>
                </a:lnTo>
                <a:lnTo>
                  <a:pt x="3789082" y="968189"/>
                </a:lnTo>
                <a:lnTo>
                  <a:pt x="3759200" y="968189"/>
                </a:lnTo>
                <a:lnTo>
                  <a:pt x="3759200" y="992094"/>
                </a:lnTo>
                <a:lnTo>
                  <a:pt x="3729317" y="992094"/>
                </a:lnTo>
                <a:lnTo>
                  <a:pt x="3729317" y="1021977"/>
                </a:lnTo>
                <a:lnTo>
                  <a:pt x="3669553" y="1021977"/>
                </a:lnTo>
                <a:lnTo>
                  <a:pt x="3681506" y="1021977"/>
                </a:lnTo>
                <a:lnTo>
                  <a:pt x="3603812" y="1021977"/>
                </a:lnTo>
                <a:lnTo>
                  <a:pt x="3603812" y="1045883"/>
                </a:lnTo>
                <a:lnTo>
                  <a:pt x="3544047" y="1045883"/>
                </a:lnTo>
                <a:lnTo>
                  <a:pt x="3544047" y="1063812"/>
                </a:lnTo>
                <a:lnTo>
                  <a:pt x="3490259" y="1063812"/>
                </a:lnTo>
                <a:lnTo>
                  <a:pt x="3490259" y="1087718"/>
                </a:lnTo>
                <a:lnTo>
                  <a:pt x="3424517" y="1087718"/>
                </a:lnTo>
                <a:lnTo>
                  <a:pt x="3424517" y="1123577"/>
                </a:lnTo>
                <a:lnTo>
                  <a:pt x="3382682" y="1123577"/>
                </a:lnTo>
                <a:lnTo>
                  <a:pt x="3382682" y="1141506"/>
                </a:lnTo>
                <a:lnTo>
                  <a:pt x="3257176" y="1141506"/>
                </a:lnTo>
                <a:lnTo>
                  <a:pt x="3257176" y="1171389"/>
                </a:lnTo>
                <a:lnTo>
                  <a:pt x="3203388" y="1171389"/>
                </a:lnTo>
                <a:lnTo>
                  <a:pt x="3209364" y="1177365"/>
                </a:lnTo>
                <a:lnTo>
                  <a:pt x="3179482" y="1177365"/>
                </a:lnTo>
                <a:lnTo>
                  <a:pt x="3179482" y="1195294"/>
                </a:lnTo>
                <a:lnTo>
                  <a:pt x="3107764" y="1195294"/>
                </a:lnTo>
                <a:lnTo>
                  <a:pt x="3107764" y="1225177"/>
                </a:lnTo>
                <a:lnTo>
                  <a:pt x="3042023" y="1225177"/>
                </a:lnTo>
                <a:lnTo>
                  <a:pt x="3024094" y="1243106"/>
                </a:lnTo>
                <a:lnTo>
                  <a:pt x="2934447" y="1243106"/>
                </a:lnTo>
                <a:lnTo>
                  <a:pt x="2934447" y="1267012"/>
                </a:lnTo>
                <a:lnTo>
                  <a:pt x="2886635" y="1267012"/>
                </a:lnTo>
                <a:lnTo>
                  <a:pt x="2886635" y="1296894"/>
                </a:lnTo>
                <a:lnTo>
                  <a:pt x="2779059" y="1296894"/>
                </a:lnTo>
                <a:lnTo>
                  <a:pt x="2761129" y="1314824"/>
                </a:lnTo>
                <a:lnTo>
                  <a:pt x="2725270" y="1314824"/>
                </a:lnTo>
                <a:lnTo>
                  <a:pt x="2725270" y="1326777"/>
                </a:lnTo>
                <a:lnTo>
                  <a:pt x="2653553" y="1326777"/>
                </a:lnTo>
                <a:lnTo>
                  <a:pt x="2653553" y="1344706"/>
                </a:lnTo>
                <a:lnTo>
                  <a:pt x="2611717" y="1344706"/>
                </a:lnTo>
                <a:lnTo>
                  <a:pt x="2605741" y="1350682"/>
                </a:lnTo>
                <a:lnTo>
                  <a:pt x="2569882" y="1350682"/>
                </a:lnTo>
                <a:lnTo>
                  <a:pt x="2569882" y="1368612"/>
                </a:lnTo>
                <a:lnTo>
                  <a:pt x="2540000" y="1368612"/>
                </a:lnTo>
                <a:lnTo>
                  <a:pt x="2528047" y="1380565"/>
                </a:lnTo>
                <a:lnTo>
                  <a:pt x="2492188" y="1380565"/>
                </a:lnTo>
                <a:lnTo>
                  <a:pt x="2492188" y="1380565"/>
                </a:lnTo>
                <a:lnTo>
                  <a:pt x="2408517" y="1380565"/>
                </a:lnTo>
                <a:lnTo>
                  <a:pt x="2408517" y="1410447"/>
                </a:lnTo>
                <a:lnTo>
                  <a:pt x="2336800" y="1410447"/>
                </a:lnTo>
                <a:lnTo>
                  <a:pt x="2336800" y="1434353"/>
                </a:lnTo>
                <a:lnTo>
                  <a:pt x="2235200" y="1434353"/>
                </a:lnTo>
                <a:lnTo>
                  <a:pt x="2235200" y="1464236"/>
                </a:lnTo>
                <a:lnTo>
                  <a:pt x="2229223" y="1464236"/>
                </a:lnTo>
                <a:lnTo>
                  <a:pt x="2229223" y="1476189"/>
                </a:lnTo>
                <a:lnTo>
                  <a:pt x="2211294" y="1476189"/>
                </a:lnTo>
                <a:lnTo>
                  <a:pt x="2211294" y="1494118"/>
                </a:lnTo>
                <a:lnTo>
                  <a:pt x="2163482" y="1494118"/>
                </a:lnTo>
                <a:lnTo>
                  <a:pt x="2145553" y="1512047"/>
                </a:lnTo>
                <a:lnTo>
                  <a:pt x="2073835" y="1512047"/>
                </a:lnTo>
                <a:lnTo>
                  <a:pt x="2073835" y="1535953"/>
                </a:lnTo>
                <a:lnTo>
                  <a:pt x="2043953" y="1535953"/>
                </a:lnTo>
                <a:lnTo>
                  <a:pt x="2043953" y="1553883"/>
                </a:lnTo>
                <a:lnTo>
                  <a:pt x="2002117" y="1553883"/>
                </a:lnTo>
                <a:lnTo>
                  <a:pt x="2002117" y="1559859"/>
                </a:lnTo>
                <a:lnTo>
                  <a:pt x="1996140" y="1565836"/>
                </a:lnTo>
                <a:lnTo>
                  <a:pt x="1984188" y="1577788"/>
                </a:lnTo>
                <a:lnTo>
                  <a:pt x="1924423" y="1577788"/>
                </a:lnTo>
                <a:lnTo>
                  <a:pt x="1924423" y="1589741"/>
                </a:lnTo>
                <a:lnTo>
                  <a:pt x="1876612" y="1589741"/>
                </a:lnTo>
                <a:lnTo>
                  <a:pt x="1864659" y="1601694"/>
                </a:lnTo>
                <a:lnTo>
                  <a:pt x="1804894" y="1601694"/>
                </a:lnTo>
                <a:lnTo>
                  <a:pt x="1804894" y="1631577"/>
                </a:lnTo>
                <a:lnTo>
                  <a:pt x="1757082" y="1631577"/>
                </a:lnTo>
                <a:lnTo>
                  <a:pt x="1757082" y="1655483"/>
                </a:lnTo>
                <a:lnTo>
                  <a:pt x="1691341" y="1655483"/>
                </a:lnTo>
                <a:lnTo>
                  <a:pt x="1691341" y="1673412"/>
                </a:lnTo>
                <a:lnTo>
                  <a:pt x="1619623" y="1673412"/>
                </a:lnTo>
                <a:lnTo>
                  <a:pt x="1619623" y="1691341"/>
                </a:lnTo>
                <a:lnTo>
                  <a:pt x="1553882" y="1691341"/>
                </a:lnTo>
                <a:lnTo>
                  <a:pt x="1547906" y="1697317"/>
                </a:lnTo>
                <a:lnTo>
                  <a:pt x="1482164" y="1697317"/>
                </a:lnTo>
                <a:lnTo>
                  <a:pt x="1482164" y="1715247"/>
                </a:lnTo>
                <a:lnTo>
                  <a:pt x="1446306" y="1715247"/>
                </a:lnTo>
                <a:lnTo>
                  <a:pt x="1446306" y="1733177"/>
                </a:lnTo>
                <a:lnTo>
                  <a:pt x="1362635" y="1733177"/>
                </a:lnTo>
                <a:lnTo>
                  <a:pt x="1362635" y="1757083"/>
                </a:lnTo>
                <a:lnTo>
                  <a:pt x="1308847" y="1757083"/>
                </a:lnTo>
                <a:lnTo>
                  <a:pt x="1308847" y="1780989"/>
                </a:lnTo>
                <a:lnTo>
                  <a:pt x="1249082" y="1780989"/>
                </a:lnTo>
                <a:lnTo>
                  <a:pt x="1249082" y="1798918"/>
                </a:lnTo>
                <a:lnTo>
                  <a:pt x="1189317" y="1798918"/>
                </a:lnTo>
                <a:lnTo>
                  <a:pt x="1189317" y="1822824"/>
                </a:lnTo>
                <a:lnTo>
                  <a:pt x="1123576" y="1822824"/>
                </a:lnTo>
                <a:lnTo>
                  <a:pt x="1111623" y="1834777"/>
                </a:lnTo>
                <a:lnTo>
                  <a:pt x="1069788" y="1834777"/>
                </a:lnTo>
                <a:lnTo>
                  <a:pt x="1069788" y="1864659"/>
                </a:lnTo>
                <a:lnTo>
                  <a:pt x="1004047" y="1864659"/>
                </a:lnTo>
                <a:lnTo>
                  <a:pt x="1004047" y="1882589"/>
                </a:lnTo>
                <a:lnTo>
                  <a:pt x="950259" y="1882589"/>
                </a:lnTo>
                <a:lnTo>
                  <a:pt x="950259" y="1882589"/>
                </a:lnTo>
                <a:lnTo>
                  <a:pt x="878541" y="1882589"/>
                </a:lnTo>
                <a:lnTo>
                  <a:pt x="878541" y="1906494"/>
                </a:lnTo>
                <a:lnTo>
                  <a:pt x="836706" y="1906494"/>
                </a:lnTo>
                <a:lnTo>
                  <a:pt x="836706" y="1936377"/>
                </a:lnTo>
                <a:lnTo>
                  <a:pt x="770964" y="1936377"/>
                </a:lnTo>
                <a:lnTo>
                  <a:pt x="770964" y="1936377"/>
                </a:lnTo>
                <a:lnTo>
                  <a:pt x="717176" y="1936377"/>
                </a:lnTo>
                <a:lnTo>
                  <a:pt x="717176" y="1954306"/>
                </a:lnTo>
                <a:lnTo>
                  <a:pt x="621553" y="1954306"/>
                </a:lnTo>
                <a:lnTo>
                  <a:pt x="621553" y="1972236"/>
                </a:lnTo>
                <a:lnTo>
                  <a:pt x="561788" y="1972236"/>
                </a:lnTo>
                <a:lnTo>
                  <a:pt x="573741" y="1984189"/>
                </a:lnTo>
                <a:lnTo>
                  <a:pt x="490070" y="1984189"/>
                </a:lnTo>
                <a:lnTo>
                  <a:pt x="490070" y="2014071"/>
                </a:lnTo>
                <a:lnTo>
                  <a:pt x="430306" y="2014071"/>
                </a:lnTo>
                <a:lnTo>
                  <a:pt x="430306" y="2037977"/>
                </a:lnTo>
                <a:lnTo>
                  <a:pt x="334682" y="2037977"/>
                </a:lnTo>
                <a:lnTo>
                  <a:pt x="334682" y="2043953"/>
                </a:lnTo>
                <a:lnTo>
                  <a:pt x="233082" y="2043953"/>
                </a:lnTo>
                <a:lnTo>
                  <a:pt x="233082" y="2085789"/>
                </a:lnTo>
                <a:lnTo>
                  <a:pt x="0" y="2085789"/>
                </a:lnTo>
              </a:path>
            </a:pathLst>
          </a:custGeom>
          <a:noFill/>
          <a:ln w="19050">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sz="1800" dirty="0">
              <a:solidFill>
                <a:srgbClr val="FFFFFF"/>
              </a:solidFill>
            </a:endParaRPr>
          </a:p>
        </p:txBody>
      </p:sp>
      <p:grpSp>
        <p:nvGrpSpPr>
          <p:cNvPr id="193" name="Group 61"/>
          <p:cNvGrpSpPr>
            <a:grpSpLocks/>
          </p:cNvGrpSpPr>
          <p:nvPr/>
        </p:nvGrpSpPr>
        <p:grpSpPr bwMode="auto">
          <a:xfrm>
            <a:off x="8001032" y="2625446"/>
            <a:ext cx="1111548" cy="455735"/>
            <a:chOff x="2856977" y="1757293"/>
            <a:chExt cx="2655640" cy="736762"/>
          </a:xfrm>
        </p:grpSpPr>
        <p:grpSp>
          <p:nvGrpSpPr>
            <p:cNvPr id="194" name="Group 62"/>
            <p:cNvGrpSpPr>
              <a:grpSpLocks/>
            </p:cNvGrpSpPr>
            <p:nvPr/>
          </p:nvGrpSpPr>
          <p:grpSpPr bwMode="auto">
            <a:xfrm>
              <a:off x="2876020" y="1757293"/>
              <a:ext cx="2636597" cy="373173"/>
              <a:chOff x="4541875" y="739211"/>
              <a:chExt cx="2636597" cy="373173"/>
            </a:xfrm>
          </p:grpSpPr>
          <p:sp>
            <p:nvSpPr>
              <p:cNvPr id="199" name="TextBox 13"/>
              <p:cNvSpPr txBox="1">
                <a:spLocks noChangeArrowheads="1"/>
              </p:cNvSpPr>
              <p:nvPr/>
            </p:nvSpPr>
            <p:spPr bwMode="auto">
              <a:xfrm>
                <a:off x="4795573" y="739211"/>
                <a:ext cx="2382899" cy="373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Empagliflozin </a:t>
                </a:r>
              </a:p>
            </p:txBody>
          </p:sp>
          <p:cxnSp>
            <p:nvCxnSpPr>
              <p:cNvPr id="200" name="Straight Connector 199"/>
              <p:cNvCxnSpPr/>
              <p:nvPr/>
            </p:nvCxnSpPr>
            <p:spPr>
              <a:xfrm>
                <a:off x="4541875" y="955658"/>
                <a:ext cx="283763" cy="0"/>
              </a:xfrm>
              <a:prstGeom prst="line">
                <a:avLst/>
              </a:prstGeom>
              <a:ln w="19050">
                <a:solidFill>
                  <a:srgbClr val="007C92"/>
                </a:solidFill>
              </a:ln>
            </p:spPr>
            <p:style>
              <a:lnRef idx="1">
                <a:schemeClr val="accent1"/>
              </a:lnRef>
              <a:fillRef idx="0">
                <a:schemeClr val="accent1"/>
              </a:fillRef>
              <a:effectRef idx="0">
                <a:schemeClr val="accent1"/>
              </a:effectRef>
              <a:fontRef idx="minor">
                <a:schemeClr val="tx1"/>
              </a:fontRef>
            </p:style>
          </p:cxnSp>
        </p:grpSp>
        <p:grpSp>
          <p:nvGrpSpPr>
            <p:cNvPr id="195" name="Group 64"/>
            <p:cNvGrpSpPr>
              <a:grpSpLocks/>
            </p:cNvGrpSpPr>
            <p:nvPr/>
          </p:nvGrpSpPr>
          <p:grpSpPr bwMode="auto">
            <a:xfrm>
              <a:off x="2856977" y="2120882"/>
              <a:ext cx="1763396" cy="373173"/>
              <a:chOff x="4463981" y="1104381"/>
              <a:chExt cx="1763396" cy="373173"/>
            </a:xfrm>
          </p:grpSpPr>
          <p:sp>
            <p:nvSpPr>
              <p:cNvPr id="196" name="TextBox 13"/>
              <p:cNvSpPr txBox="1">
                <a:spLocks noChangeArrowheads="1"/>
              </p:cNvSpPr>
              <p:nvPr/>
            </p:nvSpPr>
            <p:spPr bwMode="auto">
              <a:xfrm>
                <a:off x="4729161" y="1104381"/>
                <a:ext cx="1498216" cy="373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Placebo</a:t>
                </a:r>
              </a:p>
            </p:txBody>
          </p:sp>
          <p:cxnSp>
            <p:nvCxnSpPr>
              <p:cNvPr id="198" name="Straight Connector 197"/>
              <p:cNvCxnSpPr/>
              <p:nvPr/>
            </p:nvCxnSpPr>
            <p:spPr>
              <a:xfrm>
                <a:off x="4463981" y="1274799"/>
                <a:ext cx="283763" cy="0"/>
              </a:xfrm>
              <a:prstGeom prst="line">
                <a:avLst/>
              </a:prstGeom>
              <a:ln w="19050">
                <a:solidFill>
                  <a:srgbClr val="82786F"/>
                </a:solidFill>
              </a:ln>
            </p:spPr>
            <p:style>
              <a:lnRef idx="1">
                <a:schemeClr val="accent1"/>
              </a:lnRef>
              <a:fillRef idx="0">
                <a:schemeClr val="accent1"/>
              </a:fillRef>
              <a:effectRef idx="0">
                <a:schemeClr val="accent1"/>
              </a:effectRef>
              <a:fontRef idx="minor">
                <a:schemeClr val="tx1"/>
              </a:fontRef>
            </p:style>
          </p:cxnSp>
        </p:grpSp>
      </p:grpSp>
      <p:graphicFrame>
        <p:nvGraphicFramePr>
          <p:cNvPr id="201" name="Table 200"/>
          <p:cNvGraphicFramePr>
            <a:graphicFrameLocks noGrp="1"/>
          </p:cNvGraphicFramePr>
          <p:nvPr>
            <p:extLst/>
          </p:nvPr>
        </p:nvGraphicFramePr>
        <p:xfrm>
          <a:off x="4979128" y="3869623"/>
          <a:ext cx="4164885" cy="682440"/>
        </p:xfrm>
        <a:graphic>
          <a:graphicData uri="http://schemas.openxmlformats.org/drawingml/2006/table">
            <a:tbl>
              <a:tblPr firstRow="1" bandRow="1">
                <a:tableStyleId>{2D5ABB26-0587-4C30-8999-92F81FD0307C}</a:tableStyleId>
              </a:tblPr>
              <a:tblGrid>
                <a:gridCol w="684000">
                  <a:extLst>
                    <a:ext uri="{9D8B030D-6E8A-4147-A177-3AD203B41FA5}">
                      <a16:colId xmlns:a16="http://schemas.microsoft.com/office/drawing/2014/main" xmlns="" val="20000"/>
                    </a:ext>
                  </a:extLst>
                </a:gridCol>
                <a:gridCol w="386765">
                  <a:extLst>
                    <a:ext uri="{9D8B030D-6E8A-4147-A177-3AD203B41FA5}">
                      <a16:colId xmlns:a16="http://schemas.microsoft.com/office/drawing/2014/main" xmlns="" val="20001"/>
                    </a:ext>
                  </a:extLst>
                </a:gridCol>
                <a:gridCol w="386765">
                  <a:extLst>
                    <a:ext uri="{9D8B030D-6E8A-4147-A177-3AD203B41FA5}">
                      <a16:colId xmlns:a16="http://schemas.microsoft.com/office/drawing/2014/main" xmlns="" val="20002"/>
                    </a:ext>
                  </a:extLst>
                </a:gridCol>
                <a:gridCol w="386765">
                  <a:extLst>
                    <a:ext uri="{9D8B030D-6E8A-4147-A177-3AD203B41FA5}">
                      <a16:colId xmlns:a16="http://schemas.microsoft.com/office/drawing/2014/main" xmlns="" val="20003"/>
                    </a:ext>
                  </a:extLst>
                </a:gridCol>
                <a:gridCol w="386765">
                  <a:extLst>
                    <a:ext uri="{9D8B030D-6E8A-4147-A177-3AD203B41FA5}">
                      <a16:colId xmlns:a16="http://schemas.microsoft.com/office/drawing/2014/main" xmlns="" val="20004"/>
                    </a:ext>
                  </a:extLst>
                </a:gridCol>
                <a:gridCol w="386765">
                  <a:extLst>
                    <a:ext uri="{9D8B030D-6E8A-4147-A177-3AD203B41FA5}">
                      <a16:colId xmlns:a16="http://schemas.microsoft.com/office/drawing/2014/main" xmlns="" val="20005"/>
                    </a:ext>
                  </a:extLst>
                </a:gridCol>
                <a:gridCol w="386765">
                  <a:extLst>
                    <a:ext uri="{9D8B030D-6E8A-4147-A177-3AD203B41FA5}">
                      <a16:colId xmlns:a16="http://schemas.microsoft.com/office/drawing/2014/main" xmlns="" val="20006"/>
                    </a:ext>
                  </a:extLst>
                </a:gridCol>
                <a:gridCol w="386765">
                  <a:extLst>
                    <a:ext uri="{9D8B030D-6E8A-4147-A177-3AD203B41FA5}">
                      <a16:colId xmlns:a16="http://schemas.microsoft.com/office/drawing/2014/main" xmlns="" val="20007"/>
                    </a:ext>
                  </a:extLst>
                </a:gridCol>
                <a:gridCol w="386765">
                  <a:extLst>
                    <a:ext uri="{9D8B030D-6E8A-4147-A177-3AD203B41FA5}">
                      <a16:colId xmlns:a16="http://schemas.microsoft.com/office/drawing/2014/main" xmlns="" val="20008"/>
                    </a:ext>
                  </a:extLst>
                </a:gridCol>
                <a:gridCol w="386765">
                  <a:extLst>
                    <a:ext uri="{9D8B030D-6E8A-4147-A177-3AD203B41FA5}">
                      <a16:colId xmlns:a16="http://schemas.microsoft.com/office/drawing/2014/main" xmlns="" val="20009"/>
                    </a:ext>
                  </a:extLst>
                </a:gridCol>
              </a:tblGrid>
              <a:tr h="251460">
                <a:tc gridSpan="2">
                  <a:txBody>
                    <a:bodyPr/>
                    <a:lstStyle/>
                    <a:p>
                      <a:pPr marL="180975" indent="0" algn="l"/>
                      <a:r>
                        <a:rPr lang="en-GB" sz="800" b="1" dirty="0" smtClean="0"/>
                        <a:t>Patients </a:t>
                      </a:r>
                      <a:r>
                        <a:rPr lang="en-GB" sz="800" b="1" dirty="0"/>
                        <a:t>at</a:t>
                      </a:r>
                      <a:r>
                        <a:rPr lang="en-GB" sz="800" b="1" baseline="0" dirty="0"/>
                        <a:t> risk</a:t>
                      </a:r>
                      <a:endParaRPr lang="en-GB" sz="800" b="1" dirty="0"/>
                    </a:p>
                  </a:txBody>
                  <a:tcPr marL="0" marR="0" marT="0" marB="0"/>
                </a:tc>
                <a:tc hMerge="1">
                  <a:txBody>
                    <a:bodyPr/>
                    <a:lstStyle/>
                    <a:p>
                      <a:pPr algn="ctr"/>
                      <a:endParaRPr lang="en-GB" sz="1100" dirty="0"/>
                    </a:p>
                  </a:txBody>
                  <a:tcPr marL="35996" marR="35996" marT="35860" marB="35860"/>
                </a:tc>
                <a:tc>
                  <a:txBody>
                    <a:bodyPr/>
                    <a:lstStyle/>
                    <a:p>
                      <a:pPr algn="ctr"/>
                      <a:endParaRPr lang="en-GB" sz="800" dirty="0"/>
                    </a:p>
                  </a:txBody>
                  <a:tcPr marL="0" marR="0" marT="0" marB="0"/>
                </a:tc>
                <a:tc>
                  <a:txBody>
                    <a:bodyPr/>
                    <a:lstStyle/>
                    <a:p>
                      <a:pPr algn="ctr"/>
                      <a:endParaRPr lang="en-GB" sz="800" dirty="0"/>
                    </a:p>
                  </a:txBody>
                  <a:tcPr marL="0" marR="0" marT="0" marB="0"/>
                </a:tc>
                <a:tc>
                  <a:txBody>
                    <a:bodyPr/>
                    <a:lstStyle/>
                    <a:p>
                      <a:pPr algn="ctr"/>
                      <a:endParaRPr lang="en-GB" sz="800" dirty="0"/>
                    </a:p>
                  </a:txBody>
                  <a:tcPr marL="0" marR="0" marT="0" marB="0"/>
                </a:tc>
                <a:tc>
                  <a:txBody>
                    <a:bodyPr/>
                    <a:lstStyle/>
                    <a:p>
                      <a:pPr algn="ctr"/>
                      <a:endParaRPr lang="en-GB" sz="800" dirty="0"/>
                    </a:p>
                  </a:txBody>
                  <a:tcPr marL="0" marR="0" marT="0" marB="0"/>
                </a:tc>
                <a:tc>
                  <a:txBody>
                    <a:bodyPr/>
                    <a:lstStyle/>
                    <a:p>
                      <a:pPr algn="ctr"/>
                      <a:endParaRPr lang="en-GB" sz="800" dirty="0"/>
                    </a:p>
                  </a:txBody>
                  <a:tcPr marL="0" marR="0" marT="0" marB="0"/>
                </a:tc>
                <a:tc>
                  <a:txBody>
                    <a:bodyPr/>
                    <a:lstStyle/>
                    <a:p>
                      <a:pPr algn="ctr"/>
                      <a:endParaRPr lang="en-GB" sz="800" dirty="0"/>
                    </a:p>
                  </a:txBody>
                  <a:tcPr marL="0" marR="0" marT="0" marB="0"/>
                </a:tc>
                <a:tc>
                  <a:txBody>
                    <a:bodyPr/>
                    <a:lstStyle/>
                    <a:p>
                      <a:pPr algn="ctr"/>
                      <a:endParaRPr lang="en-GB" sz="800" dirty="0"/>
                    </a:p>
                  </a:txBody>
                  <a:tcPr marL="0" marR="0" marT="0" marB="0"/>
                </a:tc>
                <a:tc>
                  <a:txBody>
                    <a:bodyPr/>
                    <a:lstStyle/>
                    <a:p>
                      <a:pPr algn="ctr"/>
                      <a:endParaRPr lang="en-GB" sz="800" dirty="0"/>
                    </a:p>
                  </a:txBody>
                  <a:tcPr marL="0" marR="0" marT="0" marB="0"/>
                </a:tc>
                <a:extLst>
                  <a:ext uri="{0D108BD9-81ED-4DB2-BD59-A6C34878D82A}">
                    <a16:rowId xmlns:a16="http://schemas.microsoft.com/office/drawing/2014/main" xmlns="" val="10000"/>
                  </a:ext>
                </a:extLst>
              </a:tr>
              <a:tr h="251460">
                <a:tc>
                  <a:txBody>
                    <a:bodyPr/>
                    <a:lstStyle/>
                    <a:p>
                      <a:pPr algn="r"/>
                      <a:r>
                        <a:rPr lang="en-GB" sz="800" dirty="0"/>
                        <a:t>Empagliflozin</a:t>
                      </a:r>
                    </a:p>
                  </a:txBody>
                  <a:tcPr marL="0" marR="0" marT="0" marB="0"/>
                </a:tc>
                <a:tc>
                  <a:txBody>
                    <a:bodyPr/>
                    <a:lstStyle/>
                    <a:p>
                      <a:pPr algn="ctr"/>
                      <a:r>
                        <a:rPr lang="en-GB" sz="800" dirty="0"/>
                        <a:t>4687</a:t>
                      </a:r>
                    </a:p>
                  </a:txBody>
                  <a:tcPr marL="0" marR="0" marT="0" marB="0"/>
                </a:tc>
                <a:tc>
                  <a:txBody>
                    <a:bodyPr/>
                    <a:lstStyle/>
                    <a:p>
                      <a:pPr algn="ctr"/>
                      <a:r>
                        <a:rPr lang="en-GB" sz="800" dirty="0"/>
                        <a:t>4580</a:t>
                      </a:r>
                    </a:p>
                  </a:txBody>
                  <a:tcPr marL="0" marR="0" marT="0" marB="0"/>
                </a:tc>
                <a:tc>
                  <a:txBody>
                    <a:bodyPr/>
                    <a:lstStyle/>
                    <a:p>
                      <a:pPr algn="ctr"/>
                      <a:r>
                        <a:rPr lang="en-GB" sz="800" dirty="0"/>
                        <a:t>4455</a:t>
                      </a:r>
                    </a:p>
                  </a:txBody>
                  <a:tcPr marL="0" marR="0" marT="0" marB="0"/>
                </a:tc>
                <a:tc>
                  <a:txBody>
                    <a:bodyPr/>
                    <a:lstStyle/>
                    <a:p>
                      <a:pPr algn="ctr"/>
                      <a:r>
                        <a:rPr lang="en-GB" sz="800" dirty="0"/>
                        <a:t>4328</a:t>
                      </a:r>
                    </a:p>
                  </a:txBody>
                  <a:tcPr marL="0" marR="0" marT="0" marB="0"/>
                </a:tc>
                <a:tc>
                  <a:txBody>
                    <a:bodyPr/>
                    <a:lstStyle/>
                    <a:p>
                      <a:pPr algn="ctr"/>
                      <a:r>
                        <a:rPr lang="en-GB" sz="800" dirty="0"/>
                        <a:t>3851</a:t>
                      </a:r>
                    </a:p>
                  </a:txBody>
                  <a:tcPr marL="0" marR="0" marT="0" marB="0"/>
                </a:tc>
                <a:tc>
                  <a:txBody>
                    <a:bodyPr/>
                    <a:lstStyle/>
                    <a:p>
                      <a:pPr algn="ctr"/>
                      <a:r>
                        <a:rPr lang="en-GB" sz="800" dirty="0"/>
                        <a:t>2821</a:t>
                      </a:r>
                    </a:p>
                  </a:txBody>
                  <a:tcPr marL="0" marR="0" marT="0" marB="0"/>
                </a:tc>
                <a:tc>
                  <a:txBody>
                    <a:bodyPr/>
                    <a:lstStyle/>
                    <a:p>
                      <a:pPr algn="ctr"/>
                      <a:r>
                        <a:rPr lang="en-GB" sz="800" dirty="0"/>
                        <a:t>2359</a:t>
                      </a:r>
                    </a:p>
                  </a:txBody>
                  <a:tcPr marL="0" marR="0" marT="0" marB="0"/>
                </a:tc>
                <a:tc>
                  <a:txBody>
                    <a:bodyPr/>
                    <a:lstStyle/>
                    <a:p>
                      <a:pPr algn="ctr"/>
                      <a:r>
                        <a:rPr lang="en-GB" sz="800" dirty="0"/>
                        <a:t>1534</a:t>
                      </a:r>
                    </a:p>
                  </a:txBody>
                  <a:tcPr marL="0" marR="0" marT="0" marB="0"/>
                </a:tc>
                <a:tc>
                  <a:txBody>
                    <a:bodyPr/>
                    <a:lstStyle/>
                    <a:p>
                      <a:pPr algn="ctr"/>
                      <a:r>
                        <a:rPr lang="en-GB" sz="800" dirty="0"/>
                        <a:t>370</a:t>
                      </a:r>
                    </a:p>
                  </a:txBody>
                  <a:tcPr marL="0" marR="0" marT="0" marB="0"/>
                </a:tc>
                <a:extLst>
                  <a:ext uri="{0D108BD9-81ED-4DB2-BD59-A6C34878D82A}">
                    <a16:rowId xmlns:a16="http://schemas.microsoft.com/office/drawing/2014/main" xmlns="" val="10001"/>
                  </a:ext>
                </a:extLst>
              </a:tr>
              <a:tr h="179520">
                <a:tc>
                  <a:txBody>
                    <a:bodyPr/>
                    <a:lstStyle/>
                    <a:p>
                      <a:pPr algn="r"/>
                      <a:r>
                        <a:rPr lang="en-GB" sz="800" dirty="0"/>
                        <a:t>Placebo</a:t>
                      </a:r>
                    </a:p>
                  </a:txBody>
                  <a:tcPr marL="0" marR="0" marT="0" marB="0"/>
                </a:tc>
                <a:tc>
                  <a:txBody>
                    <a:bodyPr/>
                    <a:lstStyle/>
                    <a:p>
                      <a:pPr algn="ctr"/>
                      <a:r>
                        <a:rPr lang="en-GB" sz="800" dirty="0"/>
                        <a:t>2333</a:t>
                      </a:r>
                    </a:p>
                  </a:txBody>
                  <a:tcPr marL="0" marR="0" marT="0" marB="0"/>
                </a:tc>
                <a:tc>
                  <a:txBody>
                    <a:bodyPr/>
                    <a:lstStyle/>
                    <a:p>
                      <a:pPr algn="ctr"/>
                      <a:r>
                        <a:rPr lang="en-GB" sz="800" dirty="0"/>
                        <a:t>2256</a:t>
                      </a:r>
                    </a:p>
                  </a:txBody>
                  <a:tcPr marL="0" marR="0" marT="0" marB="0"/>
                </a:tc>
                <a:tc>
                  <a:txBody>
                    <a:bodyPr/>
                    <a:lstStyle/>
                    <a:p>
                      <a:pPr algn="ctr"/>
                      <a:r>
                        <a:rPr lang="en-GB" sz="800" dirty="0"/>
                        <a:t>2194</a:t>
                      </a:r>
                    </a:p>
                  </a:txBody>
                  <a:tcPr marL="0" marR="0" marT="0" marB="0"/>
                </a:tc>
                <a:tc>
                  <a:txBody>
                    <a:bodyPr/>
                    <a:lstStyle/>
                    <a:p>
                      <a:pPr algn="ctr"/>
                      <a:r>
                        <a:rPr lang="en-GB" sz="800" dirty="0"/>
                        <a:t>2112</a:t>
                      </a:r>
                    </a:p>
                  </a:txBody>
                  <a:tcPr marL="0" marR="0" marT="0" marB="0"/>
                </a:tc>
                <a:tc>
                  <a:txBody>
                    <a:bodyPr/>
                    <a:lstStyle/>
                    <a:p>
                      <a:pPr algn="ctr"/>
                      <a:r>
                        <a:rPr lang="en-GB" sz="800" dirty="0"/>
                        <a:t>1875</a:t>
                      </a:r>
                    </a:p>
                  </a:txBody>
                  <a:tcPr marL="0" marR="0" marT="0" marB="0"/>
                </a:tc>
                <a:tc>
                  <a:txBody>
                    <a:bodyPr/>
                    <a:lstStyle/>
                    <a:p>
                      <a:pPr algn="ctr"/>
                      <a:r>
                        <a:rPr lang="en-GB" sz="800" dirty="0"/>
                        <a:t>1380</a:t>
                      </a:r>
                    </a:p>
                  </a:txBody>
                  <a:tcPr marL="0" marR="0" marT="0" marB="0"/>
                </a:tc>
                <a:tc>
                  <a:txBody>
                    <a:bodyPr/>
                    <a:lstStyle/>
                    <a:p>
                      <a:pPr algn="ctr"/>
                      <a:r>
                        <a:rPr lang="en-GB" sz="800" dirty="0"/>
                        <a:t>1161</a:t>
                      </a:r>
                    </a:p>
                  </a:txBody>
                  <a:tcPr marL="0" marR="0" marT="0" marB="0"/>
                </a:tc>
                <a:tc>
                  <a:txBody>
                    <a:bodyPr/>
                    <a:lstStyle/>
                    <a:p>
                      <a:pPr algn="ctr"/>
                      <a:r>
                        <a:rPr lang="en-GB" sz="800" dirty="0"/>
                        <a:t>741</a:t>
                      </a:r>
                    </a:p>
                  </a:txBody>
                  <a:tcPr marL="0" marR="0" marT="0" marB="0"/>
                </a:tc>
                <a:tc>
                  <a:txBody>
                    <a:bodyPr/>
                    <a:lstStyle/>
                    <a:p>
                      <a:pPr algn="ctr"/>
                      <a:r>
                        <a:rPr lang="en-GB" sz="800" dirty="0"/>
                        <a:t>166</a:t>
                      </a:r>
                    </a:p>
                  </a:txBody>
                  <a:tcPr marL="0" marR="0" marT="0" marB="0"/>
                </a:tc>
                <a:extLst>
                  <a:ext uri="{0D108BD9-81ED-4DB2-BD59-A6C34878D82A}">
                    <a16:rowId xmlns:a16="http://schemas.microsoft.com/office/drawing/2014/main" xmlns="" val="10002"/>
                  </a:ext>
                </a:extLst>
              </a:tr>
            </a:tbl>
          </a:graphicData>
        </a:graphic>
      </p:graphicFrame>
      <p:sp>
        <p:nvSpPr>
          <p:cNvPr id="181" name="Rectangle 180"/>
          <p:cNvSpPr/>
          <p:nvPr/>
        </p:nvSpPr>
        <p:spPr>
          <a:xfrm>
            <a:off x="5690883" y="799260"/>
            <a:ext cx="3050498" cy="400110"/>
          </a:xfrm>
          <a:prstGeom prst="rect">
            <a:avLst/>
          </a:prstGeom>
        </p:spPr>
        <p:txBody>
          <a:bodyPr wrap="square">
            <a:spAutoFit/>
          </a:bodyPr>
          <a:lstStyle/>
          <a:p>
            <a:pPr algn="ctr" defTabSz="914400" fontAlgn="base">
              <a:spcBef>
                <a:spcPct val="0"/>
              </a:spcBef>
              <a:spcAft>
                <a:spcPct val="0"/>
              </a:spcAft>
            </a:pPr>
            <a:r>
              <a:rPr lang="en-GB" altLang="en-US" sz="1000" b="1" dirty="0">
                <a:solidFill>
                  <a:srgbClr val="001965"/>
                </a:solidFill>
                <a:cs typeface="Arial" charset="0"/>
              </a:rPr>
              <a:t>Time to first occurrence of CV death, non-fatal MI</a:t>
            </a:r>
            <a:r>
              <a:rPr lang="en-GB" altLang="en-US" sz="1000" b="1" baseline="30000" dirty="0">
                <a:solidFill>
                  <a:srgbClr val="001965"/>
                </a:solidFill>
                <a:cs typeface="Arial" charset="0"/>
              </a:rPr>
              <a:t>†</a:t>
            </a:r>
            <a:r>
              <a:rPr lang="en-GB" altLang="en-US" sz="1000" b="1" dirty="0">
                <a:solidFill>
                  <a:srgbClr val="001965"/>
                </a:solidFill>
                <a:cs typeface="Arial" charset="0"/>
              </a:rPr>
              <a:t>, or non-fatal stroke</a:t>
            </a:r>
            <a:endParaRPr lang="en-GB" sz="1000" b="1" dirty="0">
              <a:solidFill>
                <a:srgbClr val="001965"/>
              </a:solidFill>
              <a:cs typeface="Arial" charset="0"/>
            </a:endParaRPr>
          </a:p>
        </p:txBody>
      </p:sp>
      <p:sp>
        <p:nvSpPr>
          <p:cNvPr id="2" name="Obdélník 1"/>
          <p:cNvSpPr/>
          <p:nvPr/>
        </p:nvSpPr>
        <p:spPr>
          <a:xfrm>
            <a:off x="6439602" y="407527"/>
            <a:ext cx="2302233" cy="307777"/>
          </a:xfrm>
          <a:prstGeom prst="rect">
            <a:avLst/>
          </a:prstGeom>
        </p:spPr>
        <p:txBody>
          <a:bodyPr wrap="none">
            <a:spAutoFit/>
          </a:bodyPr>
          <a:lstStyle/>
          <a:p>
            <a:r>
              <a:rPr lang="en-US" altLang="en-US" sz="1400" b="1" dirty="0"/>
              <a:t>EMPA-REG OUTCOME</a:t>
            </a:r>
            <a:endParaRPr lang="cs-CZ" b="1" dirty="0"/>
          </a:p>
        </p:txBody>
      </p:sp>
      <p:sp>
        <p:nvSpPr>
          <p:cNvPr id="4" name="TextovéPole 3"/>
          <p:cNvSpPr txBox="1"/>
          <p:nvPr/>
        </p:nvSpPr>
        <p:spPr>
          <a:xfrm>
            <a:off x="121024" y="622816"/>
            <a:ext cx="4746812" cy="4455066"/>
          </a:xfrm>
          <a:prstGeom prst="rect">
            <a:avLst/>
          </a:prstGeom>
          <a:noFill/>
        </p:spPr>
        <p:txBody>
          <a:bodyPr wrap="square" rtlCol="0">
            <a:spAutoFit/>
          </a:bodyPr>
          <a:lstStyle/>
          <a:p>
            <a:pPr marL="285750" indent="-285750">
              <a:buFontTx/>
              <a:buChar char="-"/>
            </a:pPr>
            <a:r>
              <a:rPr lang="cs-CZ" dirty="0" err="1" smtClean="0"/>
              <a:t>Kardioprotektivní</a:t>
            </a:r>
            <a:r>
              <a:rPr lang="cs-CZ" dirty="0" smtClean="0"/>
              <a:t> účinky by mohly být společné pro celou třídu SGLT-2 inhibitorů</a:t>
            </a:r>
          </a:p>
          <a:p>
            <a:pPr marL="285750" indent="-285750">
              <a:buFontTx/>
              <a:buChar char="-"/>
            </a:pPr>
            <a:endParaRPr lang="cs-CZ" dirty="0"/>
          </a:p>
          <a:p>
            <a:pPr marL="285750" indent="-285750">
              <a:buFontTx/>
              <a:buChar char="-"/>
            </a:pPr>
            <a:r>
              <a:rPr lang="cs-CZ" dirty="0" smtClean="0"/>
              <a:t>Důkazy ze studie EMPA-REG (</a:t>
            </a:r>
            <a:r>
              <a:rPr lang="cs-CZ" dirty="0" err="1" smtClean="0"/>
              <a:t>empagliflozin</a:t>
            </a:r>
            <a:r>
              <a:rPr lang="cs-CZ" dirty="0" smtClean="0"/>
              <a:t>) jen pro pacienty s anamnézou prodělané KV příhody</a:t>
            </a:r>
          </a:p>
          <a:p>
            <a:pPr marL="285750" indent="-285750">
              <a:buFontTx/>
              <a:buChar char="-"/>
            </a:pPr>
            <a:endParaRPr lang="cs-CZ" dirty="0"/>
          </a:p>
          <a:p>
            <a:pPr marL="285750" indent="-285750">
              <a:buFontTx/>
              <a:buChar char="-"/>
            </a:pPr>
            <a:r>
              <a:rPr lang="cs-CZ" dirty="0" smtClean="0"/>
              <a:t>Studie CANVAS - 65 % s anamnézou </a:t>
            </a:r>
            <a:r>
              <a:rPr lang="cs-CZ" dirty="0"/>
              <a:t>prodělané KV </a:t>
            </a:r>
            <a:r>
              <a:rPr lang="cs-CZ" dirty="0" smtClean="0"/>
              <a:t>příhody, 35 % vysoké KV riziko</a:t>
            </a:r>
          </a:p>
          <a:p>
            <a:pPr marL="285750" indent="-285750">
              <a:buFontTx/>
              <a:buChar char="-"/>
            </a:pPr>
            <a:endParaRPr lang="cs-CZ" dirty="0" smtClean="0"/>
          </a:p>
          <a:p>
            <a:pPr marL="285750" indent="-285750">
              <a:buFontTx/>
              <a:buChar char="-"/>
            </a:pPr>
            <a:r>
              <a:rPr lang="cs-CZ" dirty="0" smtClean="0"/>
              <a:t>Zvýšení rizika amputací DK jen pro </a:t>
            </a:r>
            <a:r>
              <a:rPr lang="cs-CZ" dirty="0" err="1" smtClean="0"/>
              <a:t>canagliflozin</a:t>
            </a:r>
            <a:r>
              <a:rPr lang="cs-CZ" dirty="0" smtClean="0"/>
              <a:t>? (kombinovaný SGLT-2/SGLT-1 inhibitor)</a:t>
            </a:r>
          </a:p>
          <a:p>
            <a:pPr marL="285750" indent="-285750">
              <a:buFontTx/>
              <a:buChar char="-"/>
            </a:pPr>
            <a:endParaRPr lang="cs-CZ" dirty="0" smtClean="0"/>
          </a:p>
          <a:p>
            <a:pPr marL="285750" indent="-285750">
              <a:buFontTx/>
              <a:buChar char="-"/>
            </a:pPr>
            <a:r>
              <a:rPr lang="cs-CZ" dirty="0" smtClean="0"/>
              <a:t>Možné pozitivní efekty i u </a:t>
            </a:r>
            <a:r>
              <a:rPr lang="cs-CZ" dirty="0" err="1" smtClean="0"/>
              <a:t>nediabetiků</a:t>
            </a:r>
            <a:r>
              <a:rPr lang="cs-CZ" dirty="0" smtClean="0"/>
              <a:t> (zvýšení glykosurie podstatně menší)</a:t>
            </a:r>
          </a:p>
          <a:p>
            <a:pPr marL="285750" indent="-285750">
              <a:buFontTx/>
              <a:buChar char="-"/>
            </a:pPr>
            <a:endParaRPr lang="cs-CZ" dirty="0" smtClean="0"/>
          </a:p>
          <a:p>
            <a:pPr marL="285750" indent="-285750">
              <a:buFontTx/>
              <a:buChar char="-"/>
            </a:pPr>
            <a:r>
              <a:rPr lang="cs-CZ" dirty="0" smtClean="0"/>
              <a:t>Preskripční omezení – HbA1c </a:t>
            </a:r>
            <a:r>
              <a:rPr lang="cs-CZ" dirty="0" smtClean="0">
                <a:sym typeface="Symbol"/>
              </a:rPr>
              <a:t> 60 </a:t>
            </a:r>
            <a:r>
              <a:rPr lang="cs-CZ" dirty="0" err="1" smtClean="0">
                <a:sym typeface="Symbol"/>
              </a:rPr>
              <a:t>mmol</a:t>
            </a:r>
            <a:r>
              <a:rPr lang="cs-CZ" dirty="0" smtClean="0">
                <a:sym typeface="Symbol"/>
              </a:rPr>
              <a:t>/mol na </a:t>
            </a:r>
            <a:r>
              <a:rPr lang="cs-CZ" dirty="0" err="1" smtClean="0">
                <a:sym typeface="Symbol"/>
              </a:rPr>
              <a:t>monoterapii</a:t>
            </a:r>
            <a:r>
              <a:rPr lang="cs-CZ" dirty="0" smtClean="0">
                <a:sym typeface="Symbol"/>
              </a:rPr>
              <a:t> </a:t>
            </a:r>
            <a:r>
              <a:rPr lang="cs-CZ" dirty="0" err="1" smtClean="0">
                <a:sym typeface="Symbol"/>
              </a:rPr>
              <a:t>metforminem</a:t>
            </a:r>
            <a:r>
              <a:rPr lang="cs-CZ" dirty="0" smtClean="0">
                <a:sym typeface="Symbol"/>
              </a:rPr>
              <a:t> nebo léčba inzulínem</a:t>
            </a:r>
          </a:p>
          <a:p>
            <a:pPr marL="285750" indent="-285750">
              <a:buFontTx/>
              <a:buChar char="-"/>
            </a:pPr>
            <a:endParaRPr lang="cs-CZ" dirty="0" smtClean="0">
              <a:sym typeface="Symbol"/>
            </a:endParaRPr>
          </a:p>
          <a:p>
            <a:pPr marL="285750" indent="-285750">
              <a:buFontTx/>
              <a:buChar char="-"/>
            </a:pPr>
            <a:r>
              <a:rPr lang="cs-CZ" dirty="0" smtClean="0">
                <a:sym typeface="Symbol"/>
              </a:rPr>
              <a:t>Nežádoucí účinky (mykotické genitální infekce, polyurie) nejsou v praxi vzácné</a:t>
            </a:r>
            <a:endParaRPr lang="cs-CZ" dirty="0" smtClean="0"/>
          </a:p>
          <a:p>
            <a:r>
              <a:rPr lang="cs-CZ" dirty="0" smtClean="0"/>
              <a:t> </a:t>
            </a:r>
          </a:p>
        </p:txBody>
      </p:sp>
    </p:spTree>
    <p:extLst>
      <p:ext uri="{BB962C8B-B14F-4D97-AF65-F5344CB8AC3E}">
        <p14:creationId xmlns:p14="http://schemas.microsoft.com/office/powerpoint/2010/main" val="826819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barn(inVertical)">
                                      <p:cBhvr>
                                        <p:cTn id="7" dur="500"/>
                                        <p:tgtEl>
                                          <p:spTgt spid="4">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
                                            <p:txEl>
                                              <p:pRg st="4" end="4"/>
                                            </p:txEl>
                                          </p:spTgt>
                                        </p:tgtEl>
                                        <p:attrNameLst>
                                          <p:attrName>style.visibility</p:attrName>
                                        </p:attrNameLst>
                                      </p:cBhvr>
                                      <p:to>
                                        <p:strVal val="visible"/>
                                      </p:to>
                                    </p:set>
                                    <p:animEffect transition="in" filter="barn(inVertical)">
                                      <p:cBhvr>
                                        <p:cTn id="12" dur="500"/>
                                        <p:tgtEl>
                                          <p:spTgt spid="4">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animEffect transition="in" filter="barn(inVertical)">
                                      <p:cBhvr>
                                        <p:cTn id="17" dur="500"/>
                                        <p:tgtEl>
                                          <p:spTgt spid="4">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4">
                                            <p:txEl>
                                              <p:pRg st="8" end="8"/>
                                            </p:txEl>
                                          </p:spTgt>
                                        </p:tgtEl>
                                        <p:attrNameLst>
                                          <p:attrName>style.visibility</p:attrName>
                                        </p:attrNameLst>
                                      </p:cBhvr>
                                      <p:to>
                                        <p:strVal val="visible"/>
                                      </p:to>
                                    </p:set>
                                    <p:animEffect transition="in" filter="barn(inVertical)">
                                      <p:cBhvr>
                                        <p:cTn id="22" dur="500"/>
                                        <p:tgtEl>
                                          <p:spTgt spid="4">
                                            <p:txEl>
                                              <p:pRg st="8" end="8"/>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animEffect transition="in" filter="barn(inVertical)">
                                      <p:cBhvr>
                                        <p:cTn id="27" dur="500"/>
                                        <p:tgtEl>
                                          <p:spTgt spid="4">
                                            <p:txEl>
                                              <p:pRg st="10" end="1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4">
                                            <p:txEl>
                                              <p:pRg st="12" end="12"/>
                                            </p:txEl>
                                          </p:spTgt>
                                        </p:tgtEl>
                                        <p:attrNameLst>
                                          <p:attrName>style.visibility</p:attrName>
                                        </p:attrNameLst>
                                      </p:cBhvr>
                                      <p:to>
                                        <p:strVal val="visible"/>
                                      </p:to>
                                    </p:set>
                                    <p:animEffect transition="in" filter="barn(inVertical)">
                                      <p:cBhvr>
                                        <p:cTn id="32" dur="500"/>
                                        <p:tgtEl>
                                          <p:spTgt spid="4">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p:cNvSpPr txBox="1"/>
          <p:nvPr/>
        </p:nvSpPr>
        <p:spPr>
          <a:xfrm>
            <a:off x="5153891" y="3338"/>
            <a:ext cx="3990126" cy="200020"/>
          </a:xfrm>
          <a:prstGeom prst="rect">
            <a:avLst/>
          </a:prstGeom>
          <a:noFill/>
        </p:spPr>
        <p:txBody>
          <a:bodyPr wrap="square" lIns="91406" tIns="45703" rIns="91406" bIns="45703" rtlCol="0">
            <a:spAutoFit/>
          </a:bodyPr>
          <a:lstStyle/>
          <a:p>
            <a:pPr algn="r" defTabSz="914018" fontAlgn="base">
              <a:spcBef>
                <a:spcPct val="0"/>
              </a:spcBef>
              <a:spcAft>
                <a:spcPct val="0"/>
              </a:spcAft>
            </a:pPr>
            <a:r>
              <a:rPr lang="en-GB" sz="700" dirty="0">
                <a:solidFill>
                  <a:srgbClr val="82786F"/>
                </a:solidFill>
                <a:cs typeface="Arial" charset="0"/>
              </a:rPr>
              <a:t>Semaglutide is an investigational product and not currently approved</a:t>
            </a:r>
          </a:p>
        </p:txBody>
      </p:sp>
      <p:sp>
        <p:nvSpPr>
          <p:cNvPr id="4" name="Title 3"/>
          <p:cNvSpPr>
            <a:spLocks noGrp="1"/>
          </p:cNvSpPr>
          <p:nvPr>
            <p:ph type="title"/>
          </p:nvPr>
        </p:nvSpPr>
        <p:spPr/>
        <p:txBody>
          <a:bodyPr/>
          <a:lstStyle/>
          <a:p>
            <a:endParaRPr lang="en-GB"/>
          </a:p>
        </p:txBody>
      </p:sp>
      <p:sp>
        <p:nvSpPr>
          <p:cNvPr id="5" name="Text Placeholder 4"/>
          <p:cNvSpPr>
            <a:spLocks noGrp="1"/>
          </p:cNvSpPr>
          <p:nvPr>
            <p:ph type="body" sz="quarter" idx="10"/>
          </p:nvPr>
        </p:nvSpPr>
        <p:spPr/>
        <p:txBody>
          <a:bodyPr/>
          <a:lstStyle/>
          <a:p>
            <a:r>
              <a:rPr lang="en-GB" dirty="0">
                <a:cs typeface="Arial" pitchFamily="34" charset="0"/>
              </a:rPr>
              <a:t>CI, confidence interval; CV, cardiovascular; GLP-1; </a:t>
            </a:r>
            <a:r>
              <a:rPr lang="en-GB" dirty="0"/>
              <a:t>glucagon-like peptide-1; </a:t>
            </a:r>
            <a:r>
              <a:rPr lang="en-GB" dirty="0">
                <a:cs typeface="Arial" pitchFamily="34" charset="0"/>
              </a:rPr>
              <a:t>HR, hazard ratio; MI, myocardial infarction; T2DM, type 2 diabetes</a:t>
            </a:r>
          </a:p>
          <a:p>
            <a:r>
              <a:rPr lang="en-GB" dirty="0">
                <a:ea typeface="Verdana"/>
                <a:cs typeface="Verdana"/>
              </a:rPr>
              <a:t>1. </a:t>
            </a:r>
            <a:r>
              <a:rPr lang="da-DK" dirty="0">
                <a:ea typeface="Verdana"/>
                <a:cs typeface="Verdana"/>
              </a:rPr>
              <a:t>Marso SP et al. </a:t>
            </a:r>
            <a:r>
              <a:rPr lang="da-DK" i="1" dirty="0">
                <a:ea typeface="Verdana"/>
                <a:cs typeface="Verdana"/>
              </a:rPr>
              <a:t>N Engl J Med </a:t>
            </a:r>
            <a:r>
              <a:rPr lang="da-DK" dirty="0">
                <a:ea typeface="Verdana"/>
                <a:cs typeface="Verdana"/>
              </a:rPr>
              <a:t>2016;375:311–322</a:t>
            </a:r>
            <a:r>
              <a:rPr lang="en-GB" dirty="0">
                <a:ea typeface="Verdana"/>
                <a:cs typeface="Verdana"/>
              </a:rPr>
              <a:t>; 2. </a:t>
            </a:r>
            <a:r>
              <a:rPr lang="da-DK" dirty="0">
                <a:ea typeface="Verdana"/>
                <a:cs typeface="Verdana"/>
              </a:rPr>
              <a:t>Marso SP et al. </a:t>
            </a:r>
            <a:r>
              <a:rPr lang="da-DK" i="1" dirty="0">
                <a:ea typeface="Verdana"/>
                <a:cs typeface="Verdana"/>
              </a:rPr>
              <a:t>N Engl J Med </a:t>
            </a:r>
            <a:r>
              <a:rPr lang="da-DK" dirty="0">
                <a:ea typeface="Verdana"/>
                <a:cs typeface="Verdana"/>
              </a:rPr>
              <a:t>2016;375:1834–1844; 3. Pfeffer MA et al. </a:t>
            </a:r>
            <a:r>
              <a:rPr lang="da-DK" i="1" dirty="0">
                <a:ea typeface="Verdana"/>
                <a:cs typeface="Verdana"/>
              </a:rPr>
              <a:t>N Engl J Med </a:t>
            </a:r>
            <a:r>
              <a:rPr lang="da-DK" dirty="0">
                <a:ea typeface="Verdana"/>
                <a:cs typeface="Verdana"/>
              </a:rPr>
              <a:t>2015;373:2247–2257. 4. Holman RR et al. </a:t>
            </a:r>
            <a:r>
              <a:rPr lang="da-DK" i="1" dirty="0">
                <a:ea typeface="Verdana"/>
                <a:cs typeface="Verdana"/>
              </a:rPr>
              <a:t>N Engl J Med </a:t>
            </a:r>
            <a:r>
              <a:rPr lang="da-DK" dirty="0">
                <a:ea typeface="Verdana"/>
                <a:cs typeface="Verdana"/>
              </a:rPr>
              <a:t>2017. doi: 10.1056/NEJMoa1612917 </a:t>
            </a:r>
          </a:p>
        </p:txBody>
      </p:sp>
      <p:sp>
        <p:nvSpPr>
          <p:cNvPr id="6" name="Content Placeholder 5"/>
          <p:cNvSpPr>
            <a:spLocks noGrp="1"/>
          </p:cNvSpPr>
          <p:nvPr>
            <p:ph idx="1"/>
          </p:nvPr>
        </p:nvSpPr>
        <p:spPr/>
        <p:txBody>
          <a:bodyPr/>
          <a:lstStyle/>
          <a:p>
            <a:endParaRPr lang="da-DK" dirty="0">
              <a:ea typeface="Verdana"/>
              <a:cs typeface="Verdana"/>
            </a:endParaRPr>
          </a:p>
        </p:txBody>
      </p:sp>
      <p:cxnSp>
        <p:nvCxnSpPr>
          <p:cNvPr id="3" name="Straight Connector 2"/>
          <p:cNvCxnSpPr/>
          <p:nvPr/>
        </p:nvCxnSpPr>
        <p:spPr>
          <a:xfrm>
            <a:off x="4654556" y="-22855"/>
            <a:ext cx="0" cy="4669675"/>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232056" y="2410344"/>
            <a:ext cx="8818959" cy="0"/>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sp>
        <p:nvSpPr>
          <p:cNvPr id="50" name="Rectangle 49"/>
          <p:cNvSpPr>
            <a:spLocks noChangeArrowheads="1"/>
          </p:cNvSpPr>
          <p:nvPr/>
        </p:nvSpPr>
        <p:spPr bwMode="auto">
          <a:xfrm>
            <a:off x="4753248" y="149802"/>
            <a:ext cx="3600450" cy="184666"/>
          </a:xfrm>
          <a:prstGeom prst="rect">
            <a:avLst/>
          </a:prstGeom>
          <a:noFill/>
          <a:ln>
            <a:noFill/>
          </a:ln>
          <a:extLst/>
        </p:spPr>
        <p:txBody>
          <a:bodyPr lIns="0" tIns="0" rIns="0" bIns="0">
            <a:spAutoFit/>
          </a:bodyPr>
          <a:lstStyle/>
          <a:p>
            <a:pPr defTabSz="914400"/>
            <a:r>
              <a:rPr lang="en-GB" sz="1200" b="1" dirty="0" smtClean="0">
                <a:solidFill>
                  <a:srgbClr val="001965"/>
                </a:solidFill>
              </a:rPr>
              <a:t>SUSTAIN 6</a:t>
            </a:r>
            <a:r>
              <a:rPr lang="en-GB" sz="1200" b="1" baseline="30000" dirty="0" smtClean="0">
                <a:solidFill>
                  <a:srgbClr val="001965"/>
                </a:solidFill>
              </a:rPr>
              <a:t>2</a:t>
            </a:r>
            <a:endParaRPr lang="en-GB" sz="1200" b="1" dirty="0">
              <a:solidFill>
                <a:srgbClr val="001965"/>
              </a:solidFill>
            </a:endParaRPr>
          </a:p>
        </p:txBody>
      </p:sp>
      <p:grpSp>
        <p:nvGrpSpPr>
          <p:cNvPr id="31" name="Group 30"/>
          <p:cNvGrpSpPr/>
          <p:nvPr/>
        </p:nvGrpSpPr>
        <p:grpSpPr>
          <a:xfrm>
            <a:off x="258099" y="867766"/>
            <a:ext cx="4156740" cy="1016864"/>
            <a:chOff x="258099" y="867755"/>
            <a:chExt cx="4156740" cy="1016863"/>
          </a:xfrm>
        </p:grpSpPr>
        <p:grpSp>
          <p:nvGrpSpPr>
            <p:cNvPr id="2" name="Group 1"/>
            <p:cNvGrpSpPr/>
            <p:nvPr/>
          </p:nvGrpSpPr>
          <p:grpSpPr>
            <a:xfrm>
              <a:off x="1562710" y="987019"/>
              <a:ext cx="2852129" cy="713469"/>
              <a:chOff x="410185" y="1258747"/>
              <a:chExt cx="2852129" cy="713469"/>
            </a:xfrm>
          </p:grpSpPr>
          <p:cxnSp>
            <p:nvCxnSpPr>
              <p:cNvPr id="68" name="Straight Connector 67"/>
              <p:cNvCxnSpPr/>
              <p:nvPr/>
            </p:nvCxnSpPr>
            <p:spPr>
              <a:xfrm>
                <a:off x="1112347" y="1412550"/>
                <a:ext cx="0" cy="396425"/>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1104106" y="1412550"/>
                <a:ext cx="2015332" cy="2706"/>
              </a:xfrm>
              <a:prstGeom prst="straightConnector1">
                <a:avLst/>
              </a:prstGeom>
              <a:ln w="19050">
                <a:solidFill>
                  <a:srgbClr val="00196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V="1">
                <a:off x="1103668" y="1808975"/>
                <a:ext cx="1991995" cy="3218"/>
              </a:xfrm>
              <a:prstGeom prst="straightConnector1">
                <a:avLst/>
              </a:prstGeom>
              <a:ln w="19050">
                <a:solidFill>
                  <a:srgbClr val="00196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10185" y="1623747"/>
                <a:ext cx="69412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72" name="Rounded Rectangle 71"/>
              <p:cNvSpPr/>
              <p:nvPr/>
            </p:nvSpPr>
            <p:spPr>
              <a:xfrm>
                <a:off x="1178328" y="1258747"/>
                <a:ext cx="2083986" cy="317140"/>
              </a:xfrm>
              <a:prstGeom prst="roundRect">
                <a:avLst/>
              </a:prstGeom>
              <a:solidFill>
                <a:srgbClr val="0019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rIns="35996" anchor="ctr">
                <a:noAutofit/>
              </a:bodyPr>
              <a:lstStyle/>
              <a:p>
                <a:pPr defTabSz="914370" fontAlgn="base">
                  <a:spcBef>
                    <a:spcPct val="0"/>
                  </a:spcBef>
                  <a:spcAft>
                    <a:spcPct val="0"/>
                  </a:spcAft>
                  <a:defRPr/>
                </a:pPr>
                <a:r>
                  <a:rPr lang="en-GB" sz="1000" dirty="0">
                    <a:solidFill>
                      <a:srgbClr val="FFFFFF"/>
                    </a:solidFill>
                  </a:rPr>
                  <a:t>Liraglutide 0.6–1.8 mg OD </a:t>
                </a:r>
                <a:br>
                  <a:rPr lang="en-GB" sz="1000" dirty="0">
                    <a:solidFill>
                      <a:srgbClr val="FFFFFF"/>
                    </a:solidFill>
                  </a:rPr>
                </a:br>
                <a:r>
                  <a:rPr lang="en-GB" sz="1000" dirty="0">
                    <a:solidFill>
                      <a:srgbClr val="FFFFFF"/>
                    </a:solidFill>
                  </a:rPr>
                  <a:t>+ standard of care</a:t>
                </a:r>
              </a:p>
            </p:txBody>
          </p:sp>
          <p:sp>
            <p:nvSpPr>
              <p:cNvPr id="73" name="Rounded Rectangle 72"/>
              <p:cNvSpPr/>
              <p:nvPr/>
            </p:nvSpPr>
            <p:spPr>
              <a:xfrm>
                <a:off x="1178328" y="1655076"/>
                <a:ext cx="2083986" cy="317140"/>
              </a:xfrm>
              <a:prstGeom prst="roundRect">
                <a:avLst/>
              </a:prstGeom>
              <a:solidFill>
                <a:srgbClr val="8278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1" rIns="35996" anchor="ctr">
                <a:noAutofit/>
              </a:bodyPr>
              <a:lstStyle/>
              <a:p>
                <a:pPr defTabSz="914370" fontAlgn="base">
                  <a:spcBef>
                    <a:spcPct val="50000"/>
                  </a:spcBef>
                  <a:spcAft>
                    <a:spcPct val="0"/>
                  </a:spcAft>
                </a:pPr>
                <a:r>
                  <a:rPr lang="en-GB" sz="1000" dirty="0">
                    <a:solidFill>
                      <a:srgbClr val="FFFFFF"/>
                    </a:solidFill>
                  </a:rPr>
                  <a:t>Placebo</a:t>
                </a:r>
                <a:br>
                  <a:rPr lang="en-GB" sz="1000" dirty="0">
                    <a:solidFill>
                      <a:srgbClr val="FFFFFF"/>
                    </a:solidFill>
                  </a:rPr>
                </a:br>
                <a:r>
                  <a:rPr lang="en-GB" sz="1000" dirty="0">
                    <a:solidFill>
                      <a:srgbClr val="FFFFFF"/>
                    </a:solidFill>
                  </a:rPr>
                  <a:t>+ standard of care</a:t>
                </a:r>
              </a:p>
            </p:txBody>
          </p:sp>
        </p:grpSp>
        <p:sp>
          <p:nvSpPr>
            <p:cNvPr id="40" name="Rectangle 5"/>
            <p:cNvSpPr>
              <a:spLocks noChangeArrowheads="1"/>
            </p:cNvSpPr>
            <p:nvPr/>
          </p:nvSpPr>
          <p:spPr bwMode="auto">
            <a:xfrm>
              <a:off x="258099" y="867755"/>
              <a:ext cx="1899829" cy="1016863"/>
            </a:xfrm>
            <a:prstGeom prst="roundRect">
              <a:avLst/>
            </a:prstGeom>
            <a:solidFill>
              <a:schemeClr val="accent4"/>
            </a:solidFill>
            <a:ln w="9525">
              <a:noFill/>
              <a:miter lim="800000"/>
              <a:headEnd/>
              <a:tailEnd/>
            </a:ln>
            <a:effectLst/>
          </p:spPr>
          <p:txBody>
            <a:bodyPr wrap="square" lIns="36000" tIns="36000" rIns="36000" bIns="36000" anchor="ctr" anchorCtr="1">
              <a:spAutoFit/>
            </a:bodyPr>
            <a:lstStyle/>
            <a:p>
              <a:pPr defTabSz="914400">
                <a:defRPr/>
              </a:pPr>
              <a:r>
                <a:rPr lang="en-GB" sz="1100" dirty="0">
                  <a:solidFill>
                    <a:srgbClr val="001965"/>
                  </a:solidFill>
                  <a:ea typeface="Verdana" panose="020B0604030504040204" pitchFamily="34" charset="0"/>
                  <a:cs typeface="Verdana" panose="020B0604030504040204" pitchFamily="34" charset="0"/>
                </a:rPr>
                <a:t>T2DM; HbA</a:t>
              </a:r>
              <a:r>
                <a:rPr lang="en-GB" sz="1100" baseline="-25000" dirty="0">
                  <a:solidFill>
                    <a:srgbClr val="001965"/>
                  </a:solidFill>
                  <a:ea typeface="Verdana" panose="020B0604030504040204" pitchFamily="34" charset="0"/>
                  <a:cs typeface="Verdana" panose="020B0604030504040204" pitchFamily="34" charset="0"/>
                </a:rPr>
                <a:t>1c</a:t>
              </a:r>
              <a:r>
                <a:rPr lang="en-GB" sz="1100" dirty="0">
                  <a:solidFill>
                    <a:srgbClr val="001965"/>
                  </a:solidFill>
                  <a:ea typeface="Verdana" panose="020B0604030504040204" pitchFamily="34" charset="0"/>
                  <a:cs typeface="Verdana" panose="020B0604030504040204" pitchFamily="34" charset="0"/>
                </a:rPr>
                <a:t> ≥7.0</a:t>
              </a:r>
              <a:r>
                <a:rPr lang="en-GB" sz="1100" dirty="0" smtClean="0">
                  <a:solidFill>
                    <a:srgbClr val="001965"/>
                  </a:solidFill>
                  <a:ea typeface="Verdana" panose="020B0604030504040204" pitchFamily="34" charset="0"/>
                  <a:cs typeface="Verdana" panose="020B0604030504040204" pitchFamily="34" charset="0"/>
                </a:rPr>
                <a:t>%</a:t>
              </a:r>
              <a:br>
                <a:rPr lang="en-GB" sz="1100" dirty="0" smtClean="0">
                  <a:solidFill>
                    <a:srgbClr val="001965"/>
                  </a:solidFill>
                  <a:ea typeface="Verdana" panose="020B0604030504040204" pitchFamily="34" charset="0"/>
                  <a:cs typeface="Verdana" panose="020B0604030504040204" pitchFamily="34" charset="0"/>
                </a:rPr>
              </a:br>
              <a:r>
                <a:rPr lang="en-GB" sz="1100" dirty="0" smtClean="0">
                  <a:solidFill>
                    <a:srgbClr val="001965"/>
                  </a:solidFill>
                  <a:ea typeface="Verdana" panose="020B0604030504040204" pitchFamily="34" charset="0"/>
                  <a:cs typeface="Verdana" panose="020B0604030504040204" pitchFamily="34" charset="0"/>
                </a:rPr>
                <a:t>≥50 years </a:t>
              </a:r>
              <a:r>
                <a:rPr lang="en-GB" sz="1100" dirty="0">
                  <a:solidFill>
                    <a:srgbClr val="001965"/>
                  </a:solidFill>
                  <a:ea typeface="Verdana" panose="020B0604030504040204" pitchFamily="34" charset="0"/>
                  <a:cs typeface="Verdana" panose="020B0604030504040204" pitchFamily="34" charset="0"/>
                </a:rPr>
                <a:t>+ </a:t>
              </a:r>
              <a:r>
                <a:rPr lang="en-GB" sz="1100" dirty="0" smtClean="0">
                  <a:solidFill>
                    <a:srgbClr val="001965"/>
                  </a:solidFill>
                  <a:ea typeface="Verdana" panose="020B0604030504040204" pitchFamily="34" charset="0"/>
                  <a:cs typeface="Verdana" panose="020B0604030504040204" pitchFamily="34" charset="0"/>
                </a:rPr>
                <a:t>CVD; </a:t>
              </a:r>
              <a:r>
                <a:rPr lang="en-GB" sz="1100" dirty="0">
                  <a:solidFill>
                    <a:srgbClr val="001965"/>
                  </a:solidFill>
                  <a:ea typeface="Verdana" panose="020B0604030504040204" pitchFamily="34" charset="0"/>
                  <a:cs typeface="Verdana" panose="020B0604030504040204" pitchFamily="34" charset="0"/>
                </a:rPr>
                <a:t>chronic renal failure or age ≥60 </a:t>
              </a:r>
              <a:r>
                <a:rPr lang="en-GB" sz="1100" dirty="0" smtClean="0">
                  <a:solidFill>
                    <a:srgbClr val="001965"/>
                  </a:solidFill>
                  <a:ea typeface="Verdana" panose="020B0604030504040204" pitchFamily="34" charset="0"/>
                  <a:cs typeface="Verdana" panose="020B0604030504040204" pitchFamily="34" charset="0"/>
                </a:rPr>
                <a:t>years; CVD risk factors (n=9,340)</a:t>
              </a:r>
              <a:endParaRPr lang="en-GB" sz="1100" dirty="0">
                <a:solidFill>
                  <a:srgbClr val="001965"/>
                </a:solidFill>
                <a:ea typeface="Verdana" panose="020B0604030504040204" pitchFamily="34" charset="0"/>
                <a:cs typeface="Verdana" panose="020B0604030504040204" pitchFamily="34" charset="0"/>
              </a:endParaRPr>
            </a:p>
          </p:txBody>
        </p:sp>
      </p:grpSp>
      <p:grpSp>
        <p:nvGrpSpPr>
          <p:cNvPr id="119" name="Group 118"/>
          <p:cNvGrpSpPr/>
          <p:nvPr/>
        </p:nvGrpSpPr>
        <p:grpSpPr>
          <a:xfrm>
            <a:off x="700873" y="189397"/>
            <a:ext cx="3953683" cy="2168830"/>
            <a:chOff x="700873" y="189397"/>
            <a:chExt cx="3953683" cy="2168830"/>
          </a:xfrm>
        </p:grpSpPr>
        <p:pic>
          <p:nvPicPr>
            <p:cNvPr id="16" name="Picture 15"/>
            <p:cNvPicPr>
              <a:picLocks noChangeAspect="1"/>
            </p:cNvPicPr>
            <p:nvPr/>
          </p:nvPicPr>
          <p:blipFill>
            <a:blip r:embed="rId3"/>
            <a:stretch>
              <a:fillRect/>
            </a:stretch>
          </p:blipFill>
          <p:spPr>
            <a:xfrm>
              <a:off x="700873" y="345810"/>
              <a:ext cx="3127997" cy="2012417"/>
            </a:xfrm>
            <a:prstGeom prst="rect">
              <a:avLst/>
            </a:prstGeom>
            <a:solidFill>
              <a:schemeClr val="bg1"/>
            </a:solidFill>
          </p:spPr>
        </p:pic>
        <p:sp>
          <p:nvSpPr>
            <p:cNvPr id="74" name="Rectangle 73"/>
            <p:cNvSpPr/>
            <p:nvPr/>
          </p:nvSpPr>
          <p:spPr>
            <a:xfrm>
              <a:off x="2394285" y="189397"/>
              <a:ext cx="2260271" cy="369332"/>
            </a:xfrm>
            <a:prstGeom prst="rect">
              <a:avLst/>
            </a:prstGeom>
          </p:spPr>
          <p:txBody>
            <a:bodyPr wrap="square">
              <a:spAutoFit/>
            </a:bodyPr>
            <a:lstStyle/>
            <a:p>
              <a:pPr algn="ctr" defTabSz="914400" fontAlgn="base">
                <a:spcBef>
                  <a:spcPct val="0"/>
                </a:spcBef>
                <a:spcAft>
                  <a:spcPct val="0"/>
                </a:spcAft>
              </a:pPr>
              <a:r>
                <a:rPr lang="en-GB" altLang="en-US" sz="900" b="1" dirty="0">
                  <a:solidFill>
                    <a:srgbClr val="001965"/>
                  </a:solidFill>
                  <a:cs typeface="Arial" charset="0"/>
                </a:rPr>
                <a:t>Time to CV death, non-fatal MI, or </a:t>
              </a:r>
              <a:r>
                <a:rPr lang="en-GB" altLang="en-US" sz="900" b="1" dirty="0" smtClean="0">
                  <a:solidFill>
                    <a:srgbClr val="001965"/>
                  </a:solidFill>
                  <a:cs typeface="Arial" charset="0"/>
                </a:rPr>
                <a:t>non-fatal </a:t>
              </a:r>
              <a:r>
                <a:rPr lang="en-GB" altLang="en-US" sz="900" b="1" dirty="0">
                  <a:solidFill>
                    <a:srgbClr val="001965"/>
                  </a:solidFill>
                  <a:cs typeface="Arial" charset="0"/>
                </a:rPr>
                <a:t>stroke</a:t>
              </a:r>
              <a:endParaRPr lang="en-GB" sz="900" b="1" dirty="0">
                <a:solidFill>
                  <a:srgbClr val="001965"/>
                </a:solidFill>
                <a:cs typeface="Arial" charset="0"/>
              </a:endParaRPr>
            </a:p>
          </p:txBody>
        </p:sp>
      </p:grpSp>
      <p:sp>
        <p:nvSpPr>
          <p:cNvPr id="48" name="Rectangle 49"/>
          <p:cNvSpPr>
            <a:spLocks noChangeArrowheads="1"/>
          </p:cNvSpPr>
          <p:nvPr/>
        </p:nvSpPr>
        <p:spPr bwMode="auto">
          <a:xfrm>
            <a:off x="330200" y="149802"/>
            <a:ext cx="3600450" cy="184666"/>
          </a:xfrm>
          <a:prstGeom prst="rect">
            <a:avLst/>
          </a:prstGeom>
          <a:noFill/>
          <a:ln>
            <a:noFill/>
          </a:ln>
          <a:extLst/>
        </p:spPr>
        <p:txBody>
          <a:bodyPr lIns="0" tIns="0" rIns="0" bIns="0">
            <a:spAutoFit/>
          </a:bodyPr>
          <a:lstStyle/>
          <a:p>
            <a:pPr defTabSz="914400">
              <a:spcBef>
                <a:spcPct val="20000"/>
              </a:spcBef>
              <a:buClr>
                <a:srgbClr val="009FDA"/>
              </a:buClr>
              <a:defRPr/>
            </a:pPr>
            <a:r>
              <a:rPr lang="en-GB" sz="1200" b="1" dirty="0" smtClean="0">
                <a:solidFill>
                  <a:srgbClr val="001965"/>
                </a:solidFill>
                <a:cs typeface="Arial" pitchFamily="34" charset="0"/>
              </a:rPr>
              <a:t>LEADER</a:t>
            </a:r>
            <a:r>
              <a:rPr lang="en-GB" sz="1200" b="1" baseline="30000" dirty="0" smtClean="0">
                <a:solidFill>
                  <a:srgbClr val="001965"/>
                </a:solidFill>
                <a:cs typeface="Arial" pitchFamily="34" charset="0"/>
              </a:rPr>
              <a:t>1</a:t>
            </a:r>
            <a:endParaRPr lang="en-GB" sz="1200" b="1" dirty="0">
              <a:solidFill>
                <a:srgbClr val="001965"/>
              </a:solidFill>
              <a:cs typeface="Arial" pitchFamily="34" charset="0"/>
            </a:endParaRPr>
          </a:p>
        </p:txBody>
      </p:sp>
      <p:grpSp>
        <p:nvGrpSpPr>
          <p:cNvPr id="18" name="Group 17"/>
          <p:cNvGrpSpPr/>
          <p:nvPr/>
        </p:nvGrpSpPr>
        <p:grpSpPr>
          <a:xfrm>
            <a:off x="4787569" y="713815"/>
            <a:ext cx="3937355" cy="1225473"/>
            <a:chOff x="4787545" y="713814"/>
            <a:chExt cx="3937355" cy="1225473"/>
          </a:xfrm>
        </p:grpSpPr>
        <p:grpSp>
          <p:nvGrpSpPr>
            <p:cNvPr id="108" name="Group 107"/>
            <p:cNvGrpSpPr/>
            <p:nvPr/>
          </p:nvGrpSpPr>
          <p:grpSpPr>
            <a:xfrm>
              <a:off x="6380709" y="713814"/>
              <a:ext cx="2344191" cy="1225473"/>
              <a:chOff x="1716639" y="1210827"/>
              <a:chExt cx="4607814" cy="1161875"/>
            </a:xfrm>
          </p:grpSpPr>
          <p:cxnSp>
            <p:nvCxnSpPr>
              <p:cNvPr id="109" name="Straight Arrow Connector 108"/>
              <p:cNvCxnSpPr/>
              <p:nvPr/>
            </p:nvCxnSpPr>
            <p:spPr>
              <a:xfrm>
                <a:off x="2011169" y="1645487"/>
                <a:ext cx="748558" cy="0"/>
              </a:xfrm>
              <a:prstGeom prst="straightConnector1">
                <a:avLst/>
              </a:prstGeom>
              <a:ln w="19050">
                <a:solidFill>
                  <a:srgbClr val="00196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p:nvPr/>
            </p:nvCxnSpPr>
            <p:spPr>
              <a:xfrm>
                <a:off x="2002805" y="2248722"/>
                <a:ext cx="742512" cy="0"/>
              </a:xfrm>
              <a:prstGeom prst="straightConnector1">
                <a:avLst/>
              </a:prstGeom>
              <a:ln w="19050">
                <a:solidFill>
                  <a:srgbClr val="00196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716639" y="1829411"/>
                <a:ext cx="285640"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a:off x="2011169" y="1953398"/>
                <a:ext cx="748558" cy="0"/>
              </a:xfrm>
              <a:prstGeom prst="straightConnector1">
                <a:avLst/>
              </a:prstGeom>
              <a:ln w="19050">
                <a:solidFill>
                  <a:srgbClr val="00196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a:off x="2011169" y="1330839"/>
                <a:ext cx="0" cy="91800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p:nvPr/>
            </p:nvCxnSpPr>
            <p:spPr>
              <a:xfrm>
                <a:off x="2002279" y="1336576"/>
                <a:ext cx="767477" cy="0"/>
              </a:xfrm>
              <a:prstGeom prst="straightConnector1">
                <a:avLst/>
              </a:prstGeom>
              <a:ln w="19050">
                <a:solidFill>
                  <a:srgbClr val="00196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5" name="Rounded Rectangle 114"/>
              <p:cNvSpPr/>
              <p:nvPr/>
            </p:nvSpPr>
            <p:spPr>
              <a:xfrm>
                <a:off x="2096143" y="1210827"/>
                <a:ext cx="4228310" cy="234000"/>
              </a:xfrm>
              <a:prstGeom prst="roundRect">
                <a:avLst/>
              </a:prstGeom>
              <a:solidFill>
                <a:srgbClr val="0019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9" tIns="34289" rIns="35999" bIns="34289" anchor="ctr">
                <a:noAutofit/>
              </a:bodyPr>
              <a:lstStyle/>
              <a:p>
                <a:pPr defTabSz="685766" fontAlgn="base">
                  <a:spcBef>
                    <a:spcPct val="0"/>
                  </a:spcBef>
                  <a:spcAft>
                    <a:spcPct val="0"/>
                  </a:spcAft>
                  <a:defRPr/>
                </a:pPr>
                <a:r>
                  <a:rPr lang="en-GB" sz="1000" b="1" dirty="0">
                    <a:solidFill>
                      <a:srgbClr val="FFFFFF"/>
                    </a:solidFill>
                  </a:rPr>
                  <a:t>Semaglutide 1.0 mg</a:t>
                </a:r>
              </a:p>
            </p:txBody>
          </p:sp>
          <p:sp>
            <p:nvSpPr>
              <p:cNvPr id="116" name="Rounded Rectangle 115"/>
              <p:cNvSpPr/>
              <p:nvPr/>
            </p:nvSpPr>
            <p:spPr>
              <a:xfrm>
                <a:off x="2096143" y="1520119"/>
                <a:ext cx="4228310" cy="234000"/>
              </a:xfrm>
              <a:prstGeom prst="roundRect">
                <a:avLst/>
              </a:prstGeom>
              <a:solidFill>
                <a:srgbClr val="009F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9" tIns="34289" rIns="35999" bIns="34289" anchor="ctr">
                <a:noAutofit/>
              </a:bodyPr>
              <a:lstStyle/>
              <a:p>
                <a:pPr defTabSz="685766" fontAlgn="base">
                  <a:spcBef>
                    <a:spcPct val="0"/>
                  </a:spcBef>
                  <a:spcAft>
                    <a:spcPct val="0"/>
                  </a:spcAft>
                  <a:defRPr/>
                </a:pPr>
                <a:r>
                  <a:rPr lang="en-GB" sz="1000" b="1" dirty="0">
                    <a:solidFill>
                      <a:srgbClr val="FFFFFF"/>
                    </a:solidFill>
                  </a:rPr>
                  <a:t>Semaglutide 0.5 mg</a:t>
                </a:r>
              </a:p>
            </p:txBody>
          </p:sp>
          <p:sp>
            <p:nvSpPr>
              <p:cNvPr id="117" name="Rounded Rectangle 116"/>
              <p:cNvSpPr/>
              <p:nvPr/>
            </p:nvSpPr>
            <p:spPr>
              <a:xfrm>
                <a:off x="2096143" y="1829411"/>
                <a:ext cx="4228310" cy="234000"/>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9" tIns="34289" rIns="35999" bIns="34289" anchor="ctr">
                <a:noAutofit/>
              </a:bodyPr>
              <a:lstStyle/>
              <a:p>
                <a:pPr defTabSz="685766" fontAlgn="base">
                  <a:spcBef>
                    <a:spcPct val="50000"/>
                  </a:spcBef>
                  <a:spcAft>
                    <a:spcPct val="0"/>
                  </a:spcAft>
                </a:pPr>
                <a:r>
                  <a:rPr lang="en-GB" sz="1000" b="1" dirty="0">
                    <a:solidFill>
                      <a:srgbClr val="FFFFFF"/>
                    </a:solidFill>
                  </a:rPr>
                  <a:t>Placebo 1.0 mg</a:t>
                </a:r>
              </a:p>
            </p:txBody>
          </p:sp>
          <p:sp>
            <p:nvSpPr>
              <p:cNvPr id="118" name="Rounded Rectangle 117"/>
              <p:cNvSpPr/>
              <p:nvPr/>
            </p:nvSpPr>
            <p:spPr>
              <a:xfrm>
                <a:off x="2096143" y="2138702"/>
                <a:ext cx="4228310" cy="234000"/>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999" tIns="34289" rIns="35999" bIns="34289" anchor="ctr">
                <a:noAutofit/>
              </a:bodyPr>
              <a:lstStyle/>
              <a:p>
                <a:pPr defTabSz="685766" fontAlgn="base">
                  <a:spcBef>
                    <a:spcPct val="50000"/>
                  </a:spcBef>
                  <a:spcAft>
                    <a:spcPct val="0"/>
                  </a:spcAft>
                </a:pPr>
                <a:r>
                  <a:rPr lang="en-GB" sz="1000" b="1" dirty="0">
                    <a:solidFill>
                      <a:srgbClr val="FFFFFF"/>
                    </a:solidFill>
                  </a:rPr>
                  <a:t>Placebo 0.5 mg</a:t>
                </a:r>
              </a:p>
            </p:txBody>
          </p:sp>
        </p:grpSp>
        <p:sp>
          <p:nvSpPr>
            <p:cNvPr id="98" name="Rectangle 5"/>
            <p:cNvSpPr>
              <a:spLocks noChangeArrowheads="1"/>
            </p:cNvSpPr>
            <p:nvPr/>
          </p:nvSpPr>
          <p:spPr bwMode="auto">
            <a:xfrm>
              <a:off x="4787545" y="961396"/>
              <a:ext cx="1611615" cy="829579"/>
            </a:xfrm>
            <a:prstGeom prst="roundRect">
              <a:avLst/>
            </a:prstGeom>
            <a:solidFill>
              <a:schemeClr val="accent4"/>
            </a:solidFill>
            <a:ln w="9525">
              <a:noFill/>
              <a:miter lim="800000"/>
              <a:headEnd/>
              <a:tailEnd/>
            </a:ln>
            <a:effectLst/>
          </p:spPr>
          <p:txBody>
            <a:bodyPr wrap="square" lIns="36000" tIns="36000" rIns="36000" bIns="36000" anchor="ctr" anchorCtr="1">
              <a:spAutoFit/>
            </a:bodyPr>
            <a:lstStyle/>
            <a:p>
              <a:pPr defTabSz="914400">
                <a:defRPr/>
              </a:pPr>
              <a:r>
                <a:rPr lang="en-GB" sz="1100" dirty="0">
                  <a:solidFill>
                    <a:srgbClr val="001965"/>
                  </a:solidFill>
                  <a:ea typeface="Verdana" panose="020B0604030504040204" pitchFamily="34" charset="0"/>
                  <a:cs typeface="Verdana" panose="020B0604030504040204" pitchFamily="34" charset="0"/>
                </a:rPr>
                <a:t>T2DM; HbA</a:t>
              </a:r>
              <a:r>
                <a:rPr lang="en-GB" sz="1100" baseline="-25000" dirty="0">
                  <a:solidFill>
                    <a:srgbClr val="001965"/>
                  </a:solidFill>
                  <a:ea typeface="Verdana" panose="020B0604030504040204" pitchFamily="34" charset="0"/>
                  <a:cs typeface="Verdana" panose="020B0604030504040204" pitchFamily="34" charset="0"/>
                </a:rPr>
                <a:t>1c</a:t>
              </a:r>
              <a:r>
                <a:rPr lang="en-GB" sz="1100" dirty="0">
                  <a:solidFill>
                    <a:srgbClr val="001965"/>
                  </a:solidFill>
                  <a:ea typeface="Verdana" panose="020B0604030504040204" pitchFamily="34" charset="0"/>
                  <a:cs typeface="Verdana" panose="020B0604030504040204" pitchFamily="34" charset="0"/>
                </a:rPr>
                <a:t> ≥7.0</a:t>
              </a:r>
              <a:r>
                <a:rPr lang="en-GB" sz="1100" dirty="0" smtClean="0">
                  <a:solidFill>
                    <a:srgbClr val="001965"/>
                  </a:solidFill>
                  <a:ea typeface="Verdana" panose="020B0604030504040204" pitchFamily="34" charset="0"/>
                  <a:cs typeface="Verdana" panose="020B0604030504040204" pitchFamily="34" charset="0"/>
                </a:rPr>
                <a:t>%</a:t>
              </a:r>
              <a:br>
                <a:rPr lang="en-GB" sz="1100" dirty="0" smtClean="0">
                  <a:solidFill>
                    <a:srgbClr val="001965"/>
                  </a:solidFill>
                  <a:ea typeface="Verdana" panose="020B0604030504040204" pitchFamily="34" charset="0"/>
                  <a:cs typeface="Verdana" panose="020B0604030504040204" pitchFamily="34" charset="0"/>
                </a:rPr>
              </a:br>
              <a:r>
                <a:rPr lang="en-CA" sz="1100" dirty="0">
                  <a:solidFill>
                    <a:srgbClr val="001965"/>
                  </a:solidFill>
                </a:rPr>
                <a:t>0–2 OADs ± basal or pre-mix insulin </a:t>
              </a:r>
              <a:r>
                <a:rPr lang="en-GB" sz="1100" dirty="0" smtClean="0">
                  <a:solidFill>
                    <a:srgbClr val="001965"/>
                  </a:solidFill>
                  <a:ea typeface="Verdana" panose="020B0604030504040204" pitchFamily="34" charset="0"/>
                  <a:cs typeface="Verdana" panose="020B0604030504040204" pitchFamily="34" charset="0"/>
                </a:rPr>
                <a:t> (n=3,297)</a:t>
              </a:r>
              <a:endParaRPr lang="en-GB" sz="1100" dirty="0">
                <a:solidFill>
                  <a:srgbClr val="001965"/>
                </a:solidFill>
                <a:ea typeface="Verdana" panose="020B0604030504040204" pitchFamily="34" charset="0"/>
                <a:cs typeface="Verdana" panose="020B0604030504040204" pitchFamily="34" charset="0"/>
              </a:endParaRPr>
            </a:p>
          </p:txBody>
        </p:sp>
      </p:grpSp>
      <p:grpSp>
        <p:nvGrpSpPr>
          <p:cNvPr id="120" name="Group 119"/>
          <p:cNvGrpSpPr/>
          <p:nvPr/>
        </p:nvGrpSpPr>
        <p:grpSpPr>
          <a:xfrm>
            <a:off x="5212040" y="185316"/>
            <a:ext cx="4186427" cy="2111501"/>
            <a:chOff x="5212039" y="185312"/>
            <a:chExt cx="4186427" cy="2111501"/>
          </a:xfrm>
        </p:grpSpPr>
        <p:grpSp>
          <p:nvGrpSpPr>
            <p:cNvPr id="30" name="Group 29"/>
            <p:cNvGrpSpPr/>
            <p:nvPr/>
          </p:nvGrpSpPr>
          <p:grpSpPr>
            <a:xfrm>
              <a:off x="5212039" y="469882"/>
              <a:ext cx="3398665" cy="1826931"/>
              <a:chOff x="5212039" y="469882"/>
              <a:chExt cx="3398665" cy="1826931"/>
            </a:xfrm>
          </p:grpSpPr>
          <p:pic>
            <p:nvPicPr>
              <p:cNvPr id="19" name="Picture 18"/>
              <p:cNvPicPr>
                <a:picLocks noChangeAspect="1"/>
              </p:cNvPicPr>
              <p:nvPr/>
            </p:nvPicPr>
            <p:blipFill rotWithShape="1">
              <a:blip r:embed="rId4"/>
              <a:srcRect t="6096" b="28087"/>
              <a:stretch/>
            </p:blipFill>
            <p:spPr>
              <a:xfrm>
                <a:off x="5212039" y="469882"/>
                <a:ext cx="3398665" cy="1826931"/>
              </a:xfrm>
              <a:prstGeom prst="rect">
                <a:avLst/>
              </a:prstGeom>
              <a:solidFill>
                <a:schemeClr val="bg1"/>
              </a:solidFill>
            </p:spPr>
          </p:pic>
          <p:pic>
            <p:nvPicPr>
              <p:cNvPr id="27" name="Picture 26"/>
              <p:cNvPicPr>
                <a:picLocks noChangeAspect="1"/>
              </p:cNvPicPr>
              <p:nvPr/>
            </p:nvPicPr>
            <p:blipFill>
              <a:blip r:embed="rId5"/>
              <a:stretch>
                <a:fillRect/>
              </a:stretch>
            </p:blipFill>
            <p:spPr>
              <a:xfrm>
                <a:off x="8185179" y="1938779"/>
                <a:ext cx="338950" cy="215279"/>
              </a:xfrm>
              <a:prstGeom prst="rect">
                <a:avLst/>
              </a:prstGeom>
            </p:spPr>
          </p:pic>
        </p:grpSp>
        <p:sp>
          <p:nvSpPr>
            <p:cNvPr id="105" name="Rectangle 104"/>
            <p:cNvSpPr/>
            <p:nvPr/>
          </p:nvSpPr>
          <p:spPr>
            <a:xfrm>
              <a:off x="6347968" y="185312"/>
              <a:ext cx="3050498" cy="369332"/>
            </a:xfrm>
            <a:prstGeom prst="rect">
              <a:avLst/>
            </a:prstGeom>
          </p:spPr>
          <p:txBody>
            <a:bodyPr wrap="square">
              <a:spAutoFit/>
            </a:bodyPr>
            <a:lstStyle/>
            <a:p>
              <a:pPr algn="ctr" defTabSz="914400" fontAlgn="base">
                <a:spcBef>
                  <a:spcPct val="0"/>
                </a:spcBef>
                <a:spcAft>
                  <a:spcPct val="0"/>
                </a:spcAft>
              </a:pPr>
              <a:r>
                <a:rPr lang="en-GB" altLang="en-US" sz="900" b="1" dirty="0">
                  <a:solidFill>
                    <a:srgbClr val="001965"/>
                  </a:solidFill>
                  <a:cs typeface="Arial" charset="0"/>
                </a:rPr>
                <a:t>Time to first occurrence of CV death, </a:t>
              </a:r>
              <a:endParaRPr lang="en-GB" altLang="en-US" sz="900" b="1" dirty="0" smtClean="0">
                <a:solidFill>
                  <a:srgbClr val="001965"/>
                </a:solidFill>
                <a:cs typeface="Arial" charset="0"/>
              </a:endParaRPr>
            </a:p>
            <a:p>
              <a:pPr algn="ctr" defTabSz="914400" fontAlgn="base">
                <a:spcBef>
                  <a:spcPct val="0"/>
                </a:spcBef>
                <a:spcAft>
                  <a:spcPct val="0"/>
                </a:spcAft>
              </a:pPr>
              <a:r>
                <a:rPr lang="en-GB" altLang="en-US" sz="900" b="1" dirty="0" smtClean="0">
                  <a:solidFill>
                    <a:srgbClr val="001965"/>
                  </a:solidFill>
                  <a:cs typeface="Arial" charset="0"/>
                </a:rPr>
                <a:t>non-fatal </a:t>
              </a:r>
              <a:r>
                <a:rPr lang="en-GB" altLang="en-US" sz="900" b="1" dirty="0">
                  <a:solidFill>
                    <a:srgbClr val="001965"/>
                  </a:solidFill>
                  <a:cs typeface="Arial" charset="0"/>
                </a:rPr>
                <a:t>MI or non-fatal stroke </a:t>
              </a:r>
            </a:p>
          </p:txBody>
        </p:sp>
      </p:grpSp>
      <p:grpSp>
        <p:nvGrpSpPr>
          <p:cNvPr id="123" name="Group 122"/>
          <p:cNvGrpSpPr/>
          <p:nvPr/>
        </p:nvGrpSpPr>
        <p:grpSpPr>
          <a:xfrm>
            <a:off x="4774459" y="2777461"/>
            <a:ext cx="4172480" cy="1374863"/>
            <a:chOff x="4779960" y="2862218"/>
            <a:chExt cx="4172480" cy="1374861"/>
          </a:xfrm>
        </p:grpSpPr>
        <p:sp>
          <p:nvSpPr>
            <p:cNvPr id="124" name="Rectangle 17"/>
            <p:cNvSpPr>
              <a:spLocks noChangeArrowheads="1"/>
            </p:cNvSpPr>
            <p:nvPr/>
          </p:nvSpPr>
          <p:spPr bwMode="auto">
            <a:xfrm>
              <a:off x="7152440" y="2862218"/>
              <a:ext cx="1800000" cy="762949"/>
            </a:xfrm>
            <a:prstGeom prst="roundRect">
              <a:avLst/>
            </a:prstGeom>
            <a:solidFill>
              <a:srgbClr val="007C92"/>
            </a:solidFill>
            <a:ln w="9525">
              <a:noFill/>
              <a:miter lim="800000"/>
              <a:headEnd/>
              <a:tailEnd/>
            </a:ln>
            <a:effectLst/>
          </p:spPr>
          <p:txBody>
            <a:bodyPr lIns="72000" tIns="108000" rIns="72000" bIns="72000" anchor="ctr" anchorCtr="1">
              <a:spAutoFit/>
            </a:bodyPr>
            <a:lstStyle/>
            <a:p>
              <a:pPr defTabSz="914400">
                <a:defRPr/>
              </a:pPr>
              <a:r>
                <a:rPr lang="en-GB" sz="1100" dirty="0" err="1" smtClean="0">
                  <a:solidFill>
                    <a:srgbClr val="FFFFFF"/>
                  </a:solidFill>
                  <a:cs typeface="Arial" pitchFamily="34" charset="0"/>
                </a:rPr>
                <a:t>Exenatide</a:t>
              </a:r>
              <a:r>
                <a:rPr lang="en-GB" sz="1100" dirty="0" smtClean="0">
                  <a:solidFill>
                    <a:srgbClr val="FFFFFF"/>
                  </a:solidFill>
                  <a:cs typeface="Arial" pitchFamily="34" charset="0"/>
                </a:rPr>
                <a:t> QW</a:t>
              </a:r>
              <a:br>
                <a:rPr lang="en-GB" sz="1100" dirty="0" smtClean="0">
                  <a:solidFill>
                    <a:srgbClr val="FFFFFF"/>
                  </a:solidFill>
                  <a:cs typeface="Arial" pitchFamily="34" charset="0"/>
                </a:rPr>
              </a:br>
              <a:r>
                <a:rPr lang="en-GB" sz="1100" dirty="0" smtClean="0">
                  <a:solidFill>
                    <a:srgbClr val="FFFFFF"/>
                  </a:solidFill>
                  <a:cs typeface="Arial" pitchFamily="34" charset="0"/>
                </a:rPr>
                <a:t>(</a:t>
              </a:r>
              <a:r>
                <a:rPr lang="en-GB" sz="1100" dirty="0">
                  <a:solidFill>
                    <a:srgbClr val="FFFFFF"/>
                  </a:solidFill>
                  <a:cs typeface="Arial" pitchFamily="34" charset="0"/>
                </a:rPr>
                <a:t>10 or </a:t>
              </a:r>
              <a:r>
                <a:rPr lang="en-GB" sz="1100" dirty="0" smtClean="0">
                  <a:solidFill>
                    <a:srgbClr val="FFFFFF"/>
                  </a:solidFill>
                  <a:cs typeface="Arial" pitchFamily="34" charset="0"/>
                </a:rPr>
                <a:t>20 </a:t>
              </a:r>
              <a:r>
                <a:rPr lang="en-GB" sz="1100" dirty="0">
                  <a:solidFill>
                    <a:srgbClr val="FFFFFF"/>
                  </a:solidFill>
                  <a:latin typeface="Symbol" panose="05050102010706020507" pitchFamily="18" charset="2"/>
                  <a:cs typeface="Arial" pitchFamily="34" charset="0"/>
                </a:rPr>
                <a:t>m</a:t>
              </a:r>
              <a:r>
                <a:rPr lang="en-GB" sz="1100" dirty="0">
                  <a:solidFill>
                    <a:srgbClr val="FFFFFF"/>
                  </a:solidFill>
                  <a:cs typeface="Arial" pitchFamily="34" charset="0"/>
                </a:rPr>
                <a:t>g/day) + standard of care</a:t>
              </a:r>
            </a:p>
          </p:txBody>
        </p:sp>
        <p:sp>
          <p:nvSpPr>
            <p:cNvPr id="125" name="Rectangle 18"/>
            <p:cNvSpPr>
              <a:spLocks noChangeArrowheads="1"/>
            </p:cNvSpPr>
            <p:nvPr/>
          </p:nvSpPr>
          <p:spPr bwMode="auto">
            <a:xfrm>
              <a:off x="7152440" y="3661416"/>
              <a:ext cx="1800000" cy="575663"/>
            </a:xfrm>
            <a:prstGeom prst="roundRect">
              <a:avLst/>
            </a:prstGeom>
            <a:solidFill>
              <a:schemeClr val="accent3"/>
            </a:solidFill>
            <a:ln w="9525">
              <a:noFill/>
              <a:miter lim="800000"/>
              <a:headEnd/>
              <a:tailEnd/>
            </a:ln>
            <a:effectLst/>
          </p:spPr>
          <p:txBody>
            <a:bodyPr lIns="72000" tIns="108000" rIns="72000" bIns="72000" anchor="ctr" anchorCtr="1">
              <a:spAutoFit/>
            </a:bodyPr>
            <a:lstStyle/>
            <a:p>
              <a:pPr algn="ctr" defTabSz="980954">
                <a:buClr>
                  <a:srgbClr val="009FDA"/>
                </a:buClr>
                <a:defRPr/>
              </a:pPr>
              <a:r>
                <a:rPr lang="en-GB" sz="1100" dirty="0">
                  <a:solidFill>
                    <a:srgbClr val="FFFFFF"/>
                  </a:solidFill>
                  <a:cs typeface="Arial" pitchFamily="34" charset="0"/>
                </a:rPr>
                <a:t>Placebo + standard of care</a:t>
              </a:r>
            </a:p>
          </p:txBody>
        </p:sp>
        <p:cxnSp>
          <p:nvCxnSpPr>
            <p:cNvPr id="126" name="AutoShape 19"/>
            <p:cNvCxnSpPr>
              <a:cxnSpLocks noChangeShapeType="1"/>
            </p:cNvCxnSpPr>
            <p:nvPr/>
          </p:nvCxnSpPr>
          <p:spPr bwMode="auto">
            <a:xfrm flipV="1">
              <a:off x="6643688" y="3349710"/>
              <a:ext cx="512901" cy="273499"/>
            </a:xfrm>
            <a:prstGeom prst="bentConnector3">
              <a:avLst>
                <a:gd name="adj1" fmla="val 50000"/>
              </a:avLst>
            </a:prstGeom>
            <a:noFill/>
            <a:ln w="28575">
              <a:solidFill>
                <a:schemeClr val="accent2"/>
              </a:solidFill>
              <a:miter lim="800000"/>
              <a:headEnd/>
              <a:tailEnd/>
            </a:ln>
          </p:spPr>
        </p:cxnSp>
        <p:cxnSp>
          <p:nvCxnSpPr>
            <p:cNvPr id="127" name="AutoShape 20"/>
            <p:cNvCxnSpPr>
              <a:cxnSpLocks noChangeShapeType="1"/>
            </p:cNvCxnSpPr>
            <p:nvPr/>
          </p:nvCxnSpPr>
          <p:spPr bwMode="auto">
            <a:xfrm>
              <a:off x="6643688" y="3691471"/>
              <a:ext cx="512901" cy="257777"/>
            </a:xfrm>
            <a:prstGeom prst="bentConnector3">
              <a:avLst>
                <a:gd name="adj1" fmla="val 50000"/>
              </a:avLst>
            </a:prstGeom>
            <a:noFill/>
            <a:ln w="28575">
              <a:solidFill>
                <a:schemeClr val="accent2"/>
              </a:solidFill>
              <a:miter lim="800000"/>
              <a:headEnd/>
              <a:tailEnd/>
            </a:ln>
          </p:spPr>
        </p:cxnSp>
        <p:sp>
          <p:nvSpPr>
            <p:cNvPr id="128" name="Rectangle 16"/>
            <p:cNvSpPr>
              <a:spLocks noChangeArrowheads="1"/>
            </p:cNvSpPr>
            <p:nvPr/>
          </p:nvSpPr>
          <p:spPr bwMode="auto">
            <a:xfrm>
              <a:off x="4779960" y="3333158"/>
              <a:ext cx="1946591" cy="642292"/>
            </a:xfrm>
            <a:prstGeom prst="roundRect">
              <a:avLst/>
            </a:prstGeom>
            <a:solidFill>
              <a:schemeClr val="accent4"/>
            </a:solidFill>
            <a:ln w="9525">
              <a:noFill/>
              <a:miter lim="800000"/>
              <a:headEnd/>
              <a:tailEnd/>
            </a:ln>
            <a:effectLst/>
          </p:spPr>
          <p:txBody>
            <a:bodyPr wrap="square" lIns="36000" tIns="36000" rIns="36000" bIns="36000" anchor="ctr" anchorCtr="1">
              <a:spAutoFit/>
            </a:bodyPr>
            <a:lstStyle/>
            <a:p>
              <a:pPr defTabSz="914400"/>
              <a:r>
                <a:rPr lang="en-GB" sz="1100" dirty="0">
                  <a:solidFill>
                    <a:srgbClr val="001965"/>
                  </a:solidFill>
                  <a:ea typeface="Verdana" panose="020B0604030504040204" pitchFamily="34" charset="0"/>
                  <a:cs typeface="Verdana" panose="020B0604030504040204" pitchFamily="34" charset="0"/>
                </a:rPr>
                <a:t>T2DM; HbA</a:t>
              </a:r>
              <a:r>
                <a:rPr lang="en-GB" sz="1100" baseline="-25000" dirty="0">
                  <a:solidFill>
                    <a:srgbClr val="001965"/>
                  </a:solidFill>
                  <a:ea typeface="Verdana" panose="020B0604030504040204" pitchFamily="34" charset="0"/>
                  <a:cs typeface="Verdana" panose="020B0604030504040204" pitchFamily="34" charset="0"/>
                </a:rPr>
                <a:t>1c</a:t>
              </a:r>
              <a:r>
                <a:rPr lang="en-GB" sz="1100" dirty="0">
                  <a:solidFill>
                    <a:srgbClr val="001965"/>
                  </a:solidFill>
                  <a:ea typeface="Verdana" panose="020B0604030504040204" pitchFamily="34" charset="0"/>
                  <a:cs typeface="Verdana" panose="020B0604030504040204" pitchFamily="34" charset="0"/>
                </a:rPr>
                <a:t> </a:t>
              </a:r>
              <a:r>
                <a:rPr lang="en-GB" sz="1100" dirty="0" smtClean="0">
                  <a:solidFill>
                    <a:srgbClr val="001965"/>
                  </a:solidFill>
                  <a:ea typeface="Verdana" panose="020B0604030504040204" pitchFamily="34" charset="0"/>
                  <a:cs typeface="Verdana" panose="020B0604030504040204" pitchFamily="34" charset="0"/>
                </a:rPr>
                <a:t>6.5–10.0</a:t>
              </a:r>
              <a:r>
                <a:rPr lang="en-GB" sz="1100" dirty="0">
                  <a:solidFill>
                    <a:srgbClr val="001965"/>
                  </a:solidFill>
                  <a:ea typeface="Verdana" panose="020B0604030504040204" pitchFamily="34" charset="0"/>
                  <a:cs typeface="Verdana" panose="020B0604030504040204" pitchFamily="34" charset="0"/>
                </a:rPr>
                <a:t>%; any level of CV </a:t>
              </a:r>
              <a:r>
                <a:rPr lang="en-GB" sz="1100" dirty="0" smtClean="0">
                  <a:solidFill>
                    <a:srgbClr val="001965"/>
                  </a:solidFill>
                  <a:ea typeface="Verdana" panose="020B0604030504040204" pitchFamily="34" charset="0"/>
                  <a:cs typeface="Verdana" panose="020B0604030504040204" pitchFamily="34" charset="0"/>
                </a:rPr>
                <a:t>risk (n=14,752</a:t>
              </a:r>
              <a:r>
                <a:rPr lang="en-GB" sz="1100" dirty="0">
                  <a:solidFill>
                    <a:srgbClr val="001965"/>
                  </a:solidFill>
                  <a:ea typeface="Verdana" panose="020B0604030504040204" pitchFamily="34" charset="0"/>
                  <a:cs typeface="Verdana" panose="020B0604030504040204" pitchFamily="34" charset="0"/>
                </a:rPr>
                <a:t>)</a:t>
              </a:r>
            </a:p>
          </p:txBody>
        </p:sp>
      </p:grpSp>
      <p:sp>
        <p:nvSpPr>
          <p:cNvPr id="129" name="Rectangle 49"/>
          <p:cNvSpPr>
            <a:spLocks noChangeArrowheads="1"/>
          </p:cNvSpPr>
          <p:nvPr/>
        </p:nvSpPr>
        <p:spPr bwMode="auto">
          <a:xfrm>
            <a:off x="4833220" y="2568133"/>
            <a:ext cx="3827463" cy="184666"/>
          </a:xfrm>
          <a:prstGeom prst="rect">
            <a:avLst/>
          </a:prstGeom>
          <a:noFill/>
          <a:ln>
            <a:noFill/>
          </a:ln>
          <a:extLst/>
        </p:spPr>
        <p:txBody>
          <a:bodyPr lIns="0" tIns="0" rIns="0" bIns="0">
            <a:spAutoFit/>
          </a:bodyPr>
          <a:lstStyle/>
          <a:p>
            <a:pPr defTabSz="914400">
              <a:spcBef>
                <a:spcPct val="20000"/>
              </a:spcBef>
              <a:buClr>
                <a:srgbClr val="009FDA"/>
              </a:buClr>
              <a:defRPr/>
            </a:pPr>
            <a:r>
              <a:rPr lang="en-GB" sz="1200" b="1" dirty="0" smtClean="0">
                <a:solidFill>
                  <a:srgbClr val="001965"/>
                </a:solidFill>
                <a:cs typeface="Arial" pitchFamily="34" charset="0"/>
              </a:rPr>
              <a:t>EXSCEL</a:t>
            </a:r>
            <a:r>
              <a:rPr lang="en-GB" sz="1200" b="1" baseline="30000" dirty="0" smtClean="0">
                <a:solidFill>
                  <a:srgbClr val="001965"/>
                </a:solidFill>
                <a:cs typeface="Arial" pitchFamily="34" charset="0"/>
              </a:rPr>
              <a:t>4</a:t>
            </a:r>
            <a:endParaRPr lang="en-GB" sz="1200" b="1" dirty="0">
              <a:solidFill>
                <a:srgbClr val="001965"/>
              </a:solidFill>
              <a:cs typeface="Arial" pitchFamily="34" charset="0"/>
            </a:endParaRPr>
          </a:p>
        </p:txBody>
      </p:sp>
      <p:sp>
        <p:nvSpPr>
          <p:cNvPr id="131" name="Rectangle 130"/>
          <p:cNvSpPr/>
          <p:nvPr/>
        </p:nvSpPr>
        <p:spPr>
          <a:xfrm>
            <a:off x="5571054" y="2453493"/>
            <a:ext cx="2581470" cy="369332"/>
          </a:xfrm>
          <a:prstGeom prst="rect">
            <a:avLst/>
          </a:prstGeom>
        </p:spPr>
        <p:txBody>
          <a:bodyPr wrap="square">
            <a:spAutoFit/>
          </a:bodyPr>
          <a:lstStyle/>
          <a:p>
            <a:pPr algn="ctr" defTabSz="914400" fontAlgn="base">
              <a:spcBef>
                <a:spcPct val="0"/>
              </a:spcBef>
              <a:spcAft>
                <a:spcPct val="0"/>
              </a:spcAft>
            </a:pPr>
            <a:r>
              <a:rPr lang="en-GB" altLang="en-US" sz="900" b="1" dirty="0">
                <a:solidFill>
                  <a:srgbClr val="001965"/>
                </a:solidFill>
                <a:cs typeface="Arial" charset="0"/>
              </a:rPr>
              <a:t>Time to CV death, non-fatal MI, or non-fatal stroke</a:t>
            </a:r>
            <a:endParaRPr lang="en-GB" sz="900" b="1" dirty="0">
              <a:solidFill>
                <a:srgbClr val="001965"/>
              </a:solidFill>
              <a:cs typeface="Arial" charset="0"/>
            </a:endParaRPr>
          </a:p>
        </p:txBody>
      </p:sp>
      <p:grpSp>
        <p:nvGrpSpPr>
          <p:cNvPr id="17" name="Group 16"/>
          <p:cNvGrpSpPr/>
          <p:nvPr/>
        </p:nvGrpSpPr>
        <p:grpSpPr>
          <a:xfrm>
            <a:off x="15821108" y="1383347"/>
            <a:ext cx="4154479" cy="2739286"/>
            <a:chOff x="10466434" y="2301581"/>
            <a:chExt cx="4154479" cy="2739286"/>
          </a:xfrm>
        </p:grpSpPr>
        <p:grpSp>
          <p:nvGrpSpPr>
            <p:cNvPr id="9" name="Group 8"/>
            <p:cNvGrpSpPr/>
            <p:nvPr/>
          </p:nvGrpSpPr>
          <p:grpSpPr>
            <a:xfrm>
              <a:off x="10466434" y="2301581"/>
              <a:ext cx="4154479" cy="2739286"/>
              <a:chOff x="2062171" y="5543549"/>
              <a:chExt cx="4154479" cy="2739286"/>
            </a:xfrm>
            <a:solidFill>
              <a:schemeClr val="bg1"/>
            </a:solidFill>
          </p:grpSpPr>
          <p:graphicFrame>
            <p:nvGraphicFramePr>
              <p:cNvPr id="65" name="Chart 64"/>
              <p:cNvGraphicFramePr/>
              <p:nvPr>
                <p:extLst/>
              </p:nvPr>
            </p:nvGraphicFramePr>
            <p:xfrm>
              <a:off x="2240279" y="5543549"/>
              <a:ext cx="3976371" cy="2585289"/>
            </p:xfrm>
            <a:graphic>
              <a:graphicData uri="http://schemas.openxmlformats.org/drawingml/2006/chart">
                <c:chart xmlns:c="http://schemas.openxmlformats.org/drawingml/2006/chart" xmlns:r="http://schemas.openxmlformats.org/officeDocument/2006/relationships" r:id="rId6"/>
              </a:graphicData>
            </a:graphic>
          </p:graphicFrame>
          <p:sp>
            <p:nvSpPr>
              <p:cNvPr id="66" name="Rounded Rectangle 65"/>
              <p:cNvSpPr/>
              <p:nvPr/>
            </p:nvSpPr>
            <p:spPr>
              <a:xfrm>
                <a:off x="2703519" y="5599624"/>
                <a:ext cx="1946602" cy="679672"/>
              </a:xfrm>
              <a:prstGeom prst="roundRect">
                <a:avLst>
                  <a:gd name="adj" fmla="val 0"/>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fontAlgn="base">
                  <a:spcBef>
                    <a:spcPct val="0"/>
                  </a:spcBef>
                  <a:spcAft>
                    <a:spcPct val="0"/>
                  </a:spcAft>
                </a:pPr>
                <a:r>
                  <a:rPr lang="en-GB" sz="1000" b="1" dirty="0" smtClean="0">
                    <a:solidFill>
                      <a:srgbClr val="001965"/>
                    </a:solidFill>
                    <a:cs typeface="Arial" panose="020B0604020202020204" pitchFamily="34" charset="0"/>
                  </a:rPr>
                  <a:t>HR: 0.91 </a:t>
                </a:r>
                <a:br>
                  <a:rPr lang="en-GB" sz="1000" b="1" dirty="0" smtClean="0">
                    <a:solidFill>
                      <a:srgbClr val="001965"/>
                    </a:solidFill>
                    <a:cs typeface="Arial" panose="020B0604020202020204" pitchFamily="34" charset="0"/>
                  </a:rPr>
                </a:br>
                <a:r>
                  <a:rPr lang="en-GB" sz="1000" dirty="0" smtClean="0">
                    <a:solidFill>
                      <a:srgbClr val="001965"/>
                    </a:solidFill>
                    <a:cs typeface="Arial" panose="020B0604020202020204" pitchFamily="34" charset="0"/>
                  </a:rPr>
                  <a:t>95</a:t>
                </a:r>
                <a:r>
                  <a:rPr lang="en-GB" sz="1000" dirty="0">
                    <a:solidFill>
                      <a:srgbClr val="001965"/>
                    </a:solidFill>
                    <a:cs typeface="Arial" panose="020B0604020202020204" pitchFamily="34" charset="0"/>
                  </a:rPr>
                  <a:t>% </a:t>
                </a:r>
                <a:r>
                  <a:rPr lang="en-GB" sz="1000" dirty="0" smtClean="0">
                    <a:solidFill>
                      <a:srgbClr val="001965"/>
                    </a:solidFill>
                    <a:cs typeface="Arial" panose="020B0604020202020204" pitchFamily="34" charset="0"/>
                  </a:rPr>
                  <a:t>CI: 0.83</a:t>
                </a:r>
                <a:r>
                  <a:rPr lang="en-GB" sz="1000" dirty="0" smtClean="0">
                    <a:solidFill>
                      <a:srgbClr val="001965"/>
                    </a:solidFill>
                  </a:rPr>
                  <a:t>–</a:t>
                </a:r>
                <a:r>
                  <a:rPr lang="en-GB" sz="1000" dirty="0" smtClean="0">
                    <a:solidFill>
                      <a:srgbClr val="001965"/>
                    </a:solidFill>
                    <a:cs typeface="Arial" panose="020B0604020202020204" pitchFamily="34" charset="0"/>
                  </a:rPr>
                  <a:t>1.00</a:t>
                </a:r>
                <a:endParaRPr lang="en-GB" sz="1000" dirty="0">
                  <a:solidFill>
                    <a:srgbClr val="001965"/>
                  </a:solidFill>
                  <a:cs typeface="Arial" panose="020B0604020202020204" pitchFamily="34" charset="0"/>
                </a:endParaRPr>
              </a:p>
              <a:p>
                <a:pPr defTabSz="914400" fontAlgn="base">
                  <a:spcBef>
                    <a:spcPct val="0"/>
                  </a:spcBef>
                  <a:spcAft>
                    <a:spcPct val="0"/>
                  </a:spcAft>
                </a:pPr>
                <a:r>
                  <a:rPr lang="en-GB" sz="1000" i="1" dirty="0">
                    <a:solidFill>
                      <a:srgbClr val="001965"/>
                    </a:solidFill>
                    <a:cs typeface="Arial" panose="020B0604020202020204" pitchFamily="34" charset="0"/>
                  </a:rPr>
                  <a:t>p</a:t>
                </a:r>
                <a:r>
                  <a:rPr lang="en-GB" sz="1000" dirty="0">
                    <a:solidFill>
                      <a:srgbClr val="001965"/>
                    </a:solidFill>
                    <a:cs typeface="Arial" panose="020B0604020202020204" pitchFamily="34" charset="0"/>
                  </a:rPr>
                  <a:t>&lt;0.001 for non-inferiority</a:t>
                </a:r>
              </a:p>
              <a:p>
                <a:pPr defTabSz="914400" fontAlgn="base">
                  <a:spcBef>
                    <a:spcPct val="0"/>
                  </a:spcBef>
                  <a:spcAft>
                    <a:spcPct val="0"/>
                  </a:spcAft>
                </a:pPr>
                <a:r>
                  <a:rPr lang="en-GB" sz="1000" i="1" dirty="0" smtClean="0">
                    <a:solidFill>
                      <a:srgbClr val="001965"/>
                    </a:solidFill>
                    <a:cs typeface="Arial" panose="020B0604020202020204" pitchFamily="34" charset="0"/>
                  </a:rPr>
                  <a:t>p</a:t>
                </a:r>
                <a:r>
                  <a:rPr lang="en-GB" sz="1000" dirty="0" smtClean="0">
                    <a:solidFill>
                      <a:srgbClr val="001965"/>
                    </a:solidFill>
                    <a:cs typeface="Arial" panose="020B0604020202020204" pitchFamily="34" charset="0"/>
                  </a:rPr>
                  <a:t>=0.06 </a:t>
                </a:r>
                <a:r>
                  <a:rPr lang="en-GB" sz="1000" dirty="0">
                    <a:solidFill>
                      <a:srgbClr val="001965"/>
                    </a:solidFill>
                    <a:cs typeface="Arial" panose="020B0604020202020204" pitchFamily="34" charset="0"/>
                  </a:rPr>
                  <a:t>for superiority</a:t>
                </a:r>
              </a:p>
            </p:txBody>
          </p:sp>
          <p:sp>
            <p:nvSpPr>
              <p:cNvPr id="67" name="object 5"/>
              <p:cNvSpPr txBox="1"/>
              <p:nvPr/>
            </p:nvSpPr>
            <p:spPr>
              <a:xfrm>
                <a:off x="2062171" y="5668238"/>
                <a:ext cx="166712" cy="2095400"/>
              </a:xfrm>
              <a:prstGeom prst="rect">
                <a:avLst/>
              </a:prstGeom>
              <a:grpFill/>
            </p:spPr>
            <p:txBody>
              <a:bodyPr vert="vert270" wrap="square" lIns="0" tIns="0" rIns="0" bIns="0" rtlCol="0">
                <a:spAutoFit/>
              </a:bodyPr>
              <a:lstStyle/>
              <a:p>
                <a:pPr marL="9525" algn="ctr" defTabSz="914400">
                  <a:lnSpc>
                    <a:spcPts val="1304"/>
                  </a:lnSpc>
                </a:pPr>
                <a:r>
                  <a:rPr sz="1050" b="1" spc="-8" dirty="0">
                    <a:solidFill>
                      <a:srgbClr val="001965"/>
                    </a:solidFill>
                    <a:cs typeface="Verdana"/>
                  </a:rPr>
                  <a:t>P</a:t>
                </a:r>
                <a:r>
                  <a:rPr sz="1050" b="1" dirty="0">
                    <a:solidFill>
                      <a:srgbClr val="001965"/>
                    </a:solidFill>
                    <a:cs typeface="Verdana"/>
                  </a:rPr>
                  <a:t>at</a:t>
                </a:r>
                <a:r>
                  <a:rPr sz="1050" b="1" spc="-8" dirty="0">
                    <a:solidFill>
                      <a:srgbClr val="001965"/>
                    </a:solidFill>
                    <a:cs typeface="Verdana"/>
                  </a:rPr>
                  <a:t>i</a:t>
                </a:r>
                <a:r>
                  <a:rPr sz="1050" b="1" spc="-4" dirty="0">
                    <a:solidFill>
                      <a:srgbClr val="001965"/>
                    </a:solidFill>
                    <a:cs typeface="Verdana"/>
                  </a:rPr>
                  <a:t>e</a:t>
                </a:r>
                <a:r>
                  <a:rPr sz="1050" b="1" dirty="0">
                    <a:solidFill>
                      <a:srgbClr val="001965"/>
                    </a:solidFill>
                    <a:cs typeface="Verdana"/>
                  </a:rPr>
                  <a:t>n</a:t>
                </a:r>
                <a:r>
                  <a:rPr sz="1050" b="1" spc="4" dirty="0">
                    <a:solidFill>
                      <a:srgbClr val="001965"/>
                    </a:solidFill>
                    <a:cs typeface="Verdana"/>
                  </a:rPr>
                  <a:t>t</a:t>
                </a:r>
                <a:r>
                  <a:rPr sz="1050" b="1" dirty="0">
                    <a:solidFill>
                      <a:srgbClr val="001965"/>
                    </a:solidFill>
                    <a:cs typeface="Verdana"/>
                  </a:rPr>
                  <a:t>s</a:t>
                </a:r>
                <a:r>
                  <a:rPr sz="1050" b="1" spc="11" dirty="0">
                    <a:solidFill>
                      <a:srgbClr val="001965"/>
                    </a:solidFill>
                    <a:cs typeface="Verdana"/>
                  </a:rPr>
                  <a:t> </a:t>
                </a:r>
                <a:r>
                  <a:rPr sz="1050" b="1" spc="-4" dirty="0">
                    <a:solidFill>
                      <a:srgbClr val="001965"/>
                    </a:solidFill>
                    <a:cs typeface="Verdana"/>
                  </a:rPr>
                  <a:t>w</a:t>
                </a:r>
                <a:r>
                  <a:rPr sz="1050" b="1" spc="-8" dirty="0">
                    <a:solidFill>
                      <a:srgbClr val="001965"/>
                    </a:solidFill>
                    <a:cs typeface="Verdana"/>
                  </a:rPr>
                  <a:t>i</a:t>
                </a:r>
                <a:r>
                  <a:rPr sz="1050" b="1" spc="4" dirty="0">
                    <a:solidFill>
                      <a:srgbClr val="001965"/>
                    </a:solidFill>
                    <a:cs typeface="Verdana"/>
                  </a:rPr>
                  <a:t>t</a:t>
                </a:r>
                <a:r>
                  <a:rPr sz="1050" b="1" dirty="0">
                    <a:solidFill>
                      <a:srgbClr val="001965"/>
                    </a:solidFill>
                    <a:cs typeface="Verdana"/>
                  </a:rPr>
                  <a:t>h</a:t>
                </a:r>
                <a:r>
                  <a:rPr sz="1050" b="1" spc="15" dirty="0">
                    <a:solidFill>
                      <a:srgbClr val="001965"/>
                    </a:solidFill>
                    <a:cs typeface="Verdana"/>
                  </a:rPr>
                  <a:t> </a:t>
                </a:r>
                <a:r>
                  <a:rPr sz="1050" b="1" dirty="0">
                    <a:solidFill>
                      <a:srgbClr val="001965"/>
                    </a:solidFill>
                    <a:cs typeface="Verdana"/>
                  </a:rPr>
                  <a:t>an</a:t>
                </a:r>
                <a:r>
                  <a:rPr sz="1050" b="1" spc="4" dirty="0">
                    <a:solidFill>
                      <a:srgbClr val="001965"/>
                    </a:solidFill>
                    <a:cs typeface="Verdana"/>
                  </a:rPr>
                  <a:t> </a:t>
                </a:r>
                <a:r>
                  <a:rPr sz="1050" b="1" spc="-4" dirty="0">
                    <a:solidFill>
                      <a:srgbClr val="001965"/>
                    </a:solidFill>
                    <a:cs typeface="Verdana"/>
                  </a:rPr>
                  <a:t>e</a:t>
                </a:r>
                <a:r>
                  <a:rPr sz="1050" b="1" spc="-8" dirty="0">
                    <a:solidFill>
                      <a:srgbClr val="001965"/>
                    </a:solidFill>
                    <a:cs typeface="Verdana"/>
                  </a:rPr>
                  <a:t>v</a:t>
                </a:r>
                <a:r>
                  <a:rPr sz="1050" b="1" spc="-4" dirty="0">
                    <a:solidFill>
                      <a:srgbClr val="001965"/>
                    </a:solidFill>
                    <a:cs typeface="Verdana"/>
                  </a:rPr>
                  <a:t>e</a:t>
                </a:r>
                <a:r>
                  <a:rPr sz="1050" b="1" dirty="0">
                    <a:solidFill>
                      <a:srgbClr val="001965"/>
                    </a:solidFill>
                    <a:cs typeface="Verdana"/>
                  </a:rPr>
                  <a:t>nt</a:t>
                </a:r>
                <a:r>
                  <a:rPr sz="1050" b="1" spc="8" dirty="0">
                    <a:solidFill>
                      <a:srgbClr val="001965"/>
                    </a:solidFill>
                    <a:cs typeface="Verdana"/>
                  </a:rPr>
                  <a:t> </a:t>
                </a:r>
                <a:r>
                  <a:rPr sz="1050" b="1" spc="-4" dirty="0">
                    <a:solidFill>
                      <a:srgbClr val="001965"/>
                    </a:solidFill>
                    <a:cs typeface="Verdana"/>
                  </a:rPr>
                  <a:t>(%</a:t>
                </a:r>
                <a:r>
                  <a:rPr sz="1050" b="1" dirty="0">
                    <a:solidFill>
                      <a:srgbClr val="001965"/>
                    </a:solidFill>
                    <a:cs typeface="Verdana"/>
                  </a:rPr>
                  <a:t>)</a:t>
                </a:r>
              </a:p>
            </p:txBody>
          </p:sp>
          <p:sp>
            <p:nvSpPr>
              <p:cNvPr id="75" name="TextBox 74"/>
              <p:cNvSpPr txBox="1"/>
              <p:nvPr/>
            </p:nvSpPr>
            <p:spPr>
              <a:xfrm>
                <a:off x="2927926" y="8028919"/>
                <a:ext cx="2778325" cy="253916"/>
              </a:xfrm>
              <a:prstGeom prst="rect">
                <a:avLst/>
              </a:prstGeom>
              <a:grpFill/>
            </p:spPr>
            <p:txBody>
              <a:bodyPr vert="horz" wrap="none" rtlCol="0">
                <a:spAutoFit/>
              </a:bodyPr>
              <a:lstStyle/>
              <a:p>
                <a:pPr algn="ctr" defTabSz="914400"/>
                <a:r>
                  <a:rPr lang="en-US" sz="1050" b="1" dirty="0" smtClean="0">
                    <a:solidFill>
                      <a:srgbClr val="001965"/>
                    </a:solidFill>
                  </a:rPr>
                  <a:t>Time from </a:t>
                </a:r>
                <a:r>
                  <a:rPr lang="en-US" sz="1050" b="1" dirty="0" err="1" smtClean="0">
                    <a:solidFill>
                      <a:srgbClr val="001965"/>
                    </a:solidFill>
                  </a:rPr>
                  <a:t>randomisation</a:t>
                </a:r>
                <a:r>
                  <a:rPr lang="en-US" sz="1050" b="1" dirty="0" smtClean="0">
                    <a:solidFill>
                      <a:srgbClr val="001965"/>
                    </a:solidFill>
                  </a:rPr>
                  <a:t> (weeks)</a:t>
                </a:r>
                <a:endParaRPr lang="en-US" sz="1050" b="1" dirty="0">
                  <a:solidFill>
                    <a:srgbClr val="001965"/>
                  </a:solidFill>
                </a:endParaRPr>
              </a:p>
            </p:txBody>
          </p:sp>
        </p:grpSp>
        <p:sp>
          <p:nvSpPr>
            <p:cNvPr id="76" name="Rounded Rectangle 75"/>
            <p:cNvSpPr/>
            <p:nvPr/>
          </p:nvSpPr>
          <p:spPr>
            <a:xfrm>
              <a:off x="13719972" y="2361679"/>
              <a:ext cx="520043" cy="153888"/>
            </a:xfrm>
            <a:prstGeom prst="roundRect">
              <a:avLst>
                <a:gd name="adj" fmla="val 0"/>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defTabSz="914400" fontAlgn="base">
                <a:spcBef>
                  <a:spcPct val="0"/>
                </a:spcBef>
                <a:spcAft>
                  <a:spcPct val="0"/>
                </a:spcAft>
              </a:pPr>
              <a:r>
                <a:rPr lang="en-GB" sz="1000" dirty="0" smtClean="0">
                  <a:solidFill>
                    <a:srgbClr val="001965"/>
                  </a:solidFill>
                  <a:cs typeface="Arial" panose="020B0604020202020204" pitchFamily="34" charset="0"/>
                </a:rPr>
                <a:t>Placebo</a:t>
              </a:r>
              <a:endParaRPr lang="en-GB" sz="1000" dirty="0">
                <a:solidFill>
                  <a:srgbClr val="001965"/>
                </a:solidFill>
                <a:cs typeface="Arial" panose="020B0604020202020204" pitchFamily="34" charset="0"/>
              </a:endParaRPr>
            </a:p>
          </p:txBody>
        </p:sp>
        <p:sp>
          <p:nvSpPr>
            <p:cNvPr id="77" name="Rounded Rectangle 76"/>
            <p:cNvSpPr/>
            <p:nvPr/>
          </p:nvSpPr>
          <p:spPr>
            <a:xfrm>
              <a:off x="13854830" y="3014378"/>
              <a:ext cx="675167" cy="153888"/>
            </a:xfrm>
            <a:prstGeom prst="roundRect">
              <a:avLst>
                <a:gd name="adj" fmla="val 0"/>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914400" fontAlgn="base">
                <a:spcBef>
                  <a:spcPct val="0"/>
                </a:spcBef>
                <a:spcAft>
                  <a:spcPct val="0"/>
                </a:spcAft>
              </a:pPr>
              <a:r>
                <a:rPr lang="en-GB" sz="1000" dirty="0" err="1" smtClean="0">
                  <a:solidFill>
                    <a:srgbClr val="001965"/>
                  </a:solidFill>
                  <a:cs typeface="Arial" panose="020B0604020202020204" pitchFamily="34" charset="0"/>
                </a:rPr>
                <a:t>Exenatide</a:t>
              </a:r>
              <a:endParaRPr lang="en-GB" sz="1000" dirty="0">
                <a:solidFill>
                  <a:srgbClr val="001965"/>
                </a:solidFill>
                <a:cs typeface="Arial" panose="020B0604020202020204" pitchFamily="34" charset="0"/>
              </a:endParaRPr>
            </a:p>
          </p:txBody>
        </p:sp>
      </p:grpSp>
      <p:grpSp>
        <p:nvGrpSpPr>
          <p:cNvPr id="78" name="Group 77"/>
          <p:cNvGrpSpPr/>
          <p:nvPr/>
        </p:nvGrpSpPr>
        <p:grpSpPr>
          <a:xfrm>
            <a:off x="275223" y="2798934"/>
            <a:ext cx="4172479" cy="1374863"/>
            <a:chOff x="4779961" y="2862218"/>
            <a:chExt cx="4172479" cy="1374861"/>
          </a:xfrm>
        </p:grpSpPr>
        <p:sp>
          <p:nvSpPr>
            <p:cNvPr id="79" name="Rectangle 17"/>
            <p:cNvSpPr>
              <a:spLocks noChangeArrowheads="1"/>
            </p:cNvSpPr>
            <p:nvPr/>
          </p:nvSpPr>
          <p:spPr bwMode="auto">
            <a:xfrm>
              <a:off x="7152440" y="2862218"/>
              <a:ext cx="1800000" cy="762949"/>
            </a:xfrm>
            <a:prstGeom prst="roundRect">
              <a:avLst/>
            </a:prstGeom>
            <a:solidFill>
              <a:srgbClr val="739600"/>
            </a:solidFill>
            <a:ln w="9525">
              <a:noFill/>
              <a:miter lim="800000"/>
              <a:headEnd/>
              <a:tailEnd/>
            </a:ln>
            <a:effectLst/>
          </p:spPr>
          <p:txBody>
            <a:bodyPr lIns="72000" tIns="108000" rIns="72000" bIns="72000" anchor="ctr" anchorCtr="1">
              <a:spAutoFit/>
            </a:bodyPr>
            <a:lstStyle/>
            <a:p>
              <a:pPr defTabSz="914400">
                <a:defRPr/>
              </a:pPr>
              <a:r>
                <a:rPr lang="en-GB" sz="1100" dirty="0">
                  <a:solidFill>
                    <a:srgbClr val="FFFFFF"/>
                  </a:solidFill>
                  <a:cs typeface="Arial" pitchFamily="34" charset="0"/>
                </a:rPr>
                <a:t>Lixisenatide </a:t>
              </a:r>
              <a:r>
                <a:rPr lang="en-GB" sz="1100" dirty="0" smtClean="0">
                  <a:solidFill>
                    <a:srgbClr val="FFFFFF"/>
                  </a:solidFill>
                  <a:cs typeface="Arial" pitchFamily="34" charset="0"/>
                </a:rPr>
                <a:t/>
              </a:r>
              <a:br>
                <a:rPr lang="en-GB" sz="1100" dirty="0" smtClean="0">
                  <a:solidFill>
                    <a:srgbClr val="FFFFFF"/>
                  </a:solidFill>
                  <a:cs typeface="Arial" pitchFamily="34" charset="0"/>
                </a:rPr>
              </a:br>
              <a:r>
                <a:rPr lang="en-GB" sz="1100" dirty="0" smtClean="0">
                  <a:solidFill>
                    <a:srgbClr val="FFFFFF"/>
                  </a:solidFill>
                  <a:cs typeface="Arial" pitchFamily="34" charset="0"/>
                </a:rPr>
                <a:t>(</a:t>
              </a:r>
              <a:r>
                <a:rPr lang="en-GB" sz="1100" dirty="0">
                  <a:solidFill>
                    <a:srgbClr val="FFFFFF"/>
                  </a:solidFill>
                  <a:cs typeface="Arial" pitchFamily="34" charset="0"/>
                </a:rPr>
                <a:t>10 or </a:t>
              </a:r>
              <a:r>
                <a:rPr lang="en-GB" sz="1100" dirty="0" smtClean="0">
                  <a:solidFill>
                    <a:srgbClr val="FFFFFF"/>
                  </a:solidFill>
                  <a:cs typeface="Arial" pitchFamily="34" charset="0"/>
                </a:rPr>
                <a:t>20 </a:t>
              </a:r>
              <a:r>
                <a:rPr lang="en-GB" sz="1100" dirty="0">
                  <a:solidFill>
                    <a:srgbClr val="FFFFFF"/>
                  </a:solidFill>
                  <a:latin typeface="Symbol" panose="05050102010706020507" pitchFamily="18" charset="2"/>
                  <a:cs typeface="Arial" pitchFamily="34" charset="0"/>
                </a:rPr>
                <a:t>m</a:t>
              </a:r>
              <a:r>
                <a:rPr lang="en-GB" sz="1100" dirty="0">
                  <a:solidFill>
                    <a:srgbClr val="FFFFFF"/>
                  </a:solidFill>
                  <a:cs typeface="Arial" pitchFamily="34" charset="0"/>
                </a:rPr>
                <a:t>g/day) + standard of care</a:t>
              </a:r>
            </a:p>
          </p:txBody>
        </p:sp>
        <p:sp>
          <p:nvSpPr>
            <p:cNvPr id="80" name="Rectangle 18"/>
            <p:cNvSpPr>
              <a:spLocks noChangeArrowheads="1"/>
            </p:cNvSpPr>
            <p:nvPr/>
          </p:nvSpPr>
          <p:spPr bwMode="auto">
            <a:xfrm>
              <a:off x="7152440" y="3661416"/>
              <a:ext cx="1800000" cy="575663"/>
            </a:xfrm>
            <a:prstGeom prst="roundRect">
              <a:avLst/>
            </a:prstGeom>
            <a:solidFill>
              <a:schemeClr val="accent3"/>
            </a:solidFill>
            <a:ln w="9525">
              <a:noFill/>
              <a:miter lim="800000"/>
              <a:headEnd/>
              <a:tailEnd/>
            </a:ln>
            <a:effectLst/>
          </p:spPr>
          <p:txBody>
            <a:bodyPr lIns="72000" tIns="108000" rIns="72000" bIns="72000" anchor="ctr" anchorCtr="1">
              <a:spAutoFit/>
            </a:bodyPr>
            <a:lstStyle/>
            <a:p>
              <a:pPr algn="ctr" defTabSz="980954">
                <a:buClr>
                  <a:srgbClr val="009FDA"/>
                </a:buClr>
                <a:defRPr/>
              </a:pPr>
              <a:r>
                <a:rPr lang="en-GB" sz="1100" dirty="0">
                  <a:solidFill>
                    <a:srgbClr val="FFFFFF"/>
                  </a:solidFill>
                  <a:cs typeface="Arial" pitchFamily="34" charset="0"/>
                </a:rPr>
                <a:t>Placebo + standard of care</a:t>
              </a:r>
            </a:p>
          </p:txBody>
        </p:sp>
        <p:cxnSp>
          <p:nvCxnSpPr>
            <p:cNvPr id="81" name="AutoShape 19"/>
            <p:cNvCxnSpPr>
              <a:cxnSpLocks noChangeShapeType="1"/>
            </p:cNvCxnSpPr>
            <p:nvPr/>
          </p:nvCxnSpPr>
          <p:spPr bwMode="auto">
            <a:xfrm flipV="1">
              <a:off x="6643688" y="3349710"/>
              <a:ext cx="512901" cy="273499"/>
            </a:xfrm>
            <a:prstGeom prst="bentConnector3">
              <a:avLst>
                <a:gd name="adj1" fmla="val 50000"/>
              </a:avLst>
            </a:prstGeom>
            <a:noFill/>
            <a:ln w="28575">
              <a:solidFill>
                <a:schemeClr val="accent2"/>
              </a:solidFill>
              <a:miter lim="800000"/>
              <a:headEnd/>
              <a:tailEnd/>
            </a:ln>
          </p:spPr>
        </p:cxnSp>
        <p:cxnSp>
          <p:nvCxnSpPr>
            <p:cNvPr id="82" name="AutoShape 20"/>
            <p:cNvCxnSpPr>
              <a:cxnSpLocks noChangeShapeType="1"/>
            </p:cNvCxnSpPr>
            <p:nvPr/>
          </p:nvCxnSpPr>
          <p:spPr bwMode="auto">
            <a:xfrm>
              <a:off x="6643688" y="3691471"/>
              <a:ext cx="512901" cy="257777"/>
            </a:xfrm>
            <a:prstGeom prst="bentConnector3">
              <a:avLst>
                <a:gd name="adj1" fmla="val 50000"/>
              </a:avLst>
            </a:prstGeom>
            <a:noFill/>
            <a:ln w="28575">
              <a:solidFill>
                <a:schemeClr val="accent2"/>
              </a:solidFill>
              <a:miter lim="800000"/>
              <a:headEnd/>
              <a:tailEnd/>
            </a:ln>
          </p:spPr>
        </p:cxnSp>
        <p:sp>
          <p:nvSpPr>
            <p:cNvPr id="83" name="Rectangle 16"/>
            <p:cNvSpPr>
              <a:spLocks noChangeArrowheads="1"/>
            </p:cNvSpPr>
            <p:nvPr/>
          </p:nvSpPr>
          <p:spPr bwMode="auto">
            <a:xfrm>
              <a:off x="4779961" y="3333158"/>
              <a:ext cx="1863252" cy="642292"/>
            </a:xfrm>
            <a:prstGeom prst="roundRect">
              <a:avLst/>
            </a:prstGeom>
            <a:solidFill>
              <a:schemeClr val="accent4"/>
            </a:solidFill>
            <a:ln w="9525">
              <a:noFill/>
              <a:miter lim="800000"/>
              <a:headEnd/>
              <a:tailEnd/>
            </a:ln>
            <a:effectLst/>
          </p:spPr>
          <p:txBody>
            <a:bodyPr lIns="36000" tIns="36000" rIns="36000" bIns="36000" anchor="ctr" anchorCtr="1">
              <a:spAutoFit/>
            </a:bodyPr>
            <a:lstStyle/>
            <a:p>
              <a:pPr defTabSz="914400"/>
              <a:r>
                <a:rPr lang="en-GB" sz="1100" dirty="0">
                  <a:solidFill>
                    <a:srgbClr val="001965"/>
                  </a:solidFill>
                  <a:ea typeface="Verdana" panose="020B0604030504040204" pitchFamily="34" charset="0"/>
                  <a:cs typeface="Verdana" panose="020B0604030504040204" pitchFamily="34" charset="0"/>
                </a:rPr>
                <a:t>T2DM; HbA</a:t>
              </a:r>
              <a:r>
                <a:rPr lang="en-GB" sz="1100" baseline="-25000" dirty="0">
                  <a:solidFill>
                    <a:srgbClr val="001965"/>
                  </a:solidFill>
                  <a:ea typeface="Verdana" panose="020B0604030504040204" pitchFamily="34" charset="0"/>
                  <a:cs typeface="Verdana" panose="020B0604030504040204" pitchFamily="34" charset="0"/>
                </a:rPr>
                <a:t>1c</a:t>
              </a:r>
              <a:r>
                <a:rPr lang="en-GB" sz="1100" dirty="0">
                  <a:solidFill>
                    <a:srgbClr val="001965"/>
                  </a:solidFill>
                  <a:ea typeface="Verdana" panose="020B0604030504040204" pitchFamily="34" charset="0"/>
                  <a:cs typeface="Verdana" panose="020B0604030504040204" pitchFamily="34" charset="0"/>
                </a:rPr>
                <a:t> 5.5–11.0%; ACS within 180  days (n=6,068)</a:t>
              </a:r>
            </a:p>
          </p:txBody>
        </p:sp>
      </p:grpSp>
      <p:pic>
        <p:nvPicPr>
          <p:cNvPr id="84" name="Picture 83"/>
          <p:cNvPicPr>
            <a:picLocks noChangeAspect="1"/>
          </p:cNvPicPr>
          <p:nvPr/>
        </p:nvPicPr>
        <p:blipFill>
          <a:blip r:embed="rId7"/>
          <a:stretch>
            <a:fillRect/>
          </a:stretch>
        </p:blipFill>
        <p:spPr>
          <a:xfrm>
            <a:off x="786554" y="2821633"/>
            <a:ext cx="3179795" cy="1848044"/>
          </a:xfrm>
          <a:prstGeom prst="rect">
            <a:avLst/>
          </a:prstGeom>
        </p:spPr>
      </p:pic>
      <p:sp>
        <p:nvSpPr>
          <p:cNvPr id="85" name="Rectangle 84"/>
          <p:cNvSpPr/>
          <p:nvPr/>
        </p:nvSpPr>
        <p:spPr>
          <a:xfrm>
            <a:off x="979671" y="2435801"/>
            <a:ext cx="3154282" cy="400110"/>
          </a:xfrm>
          <a:prstGeom prst="rect">
            <a:avLst/>
          </a:prstGeom>
        </p:spPr>
        <p:txBody>
          <a:bodyPr wrap="square">
            <a:spAutoFit/>
          </a:bodyPr>
          <a:lstStyle/>
          <a:p>
            <a:pPr algn="ctr" defTabSz="914400"/>
            <a:r>
              <a:rPr lang="en-GB" altLang="en-US" sz="1000" b="1" dirty="0" smtClean="0">
                <a:solidFill>
                  <a:srgbClr val="001965"/>
                </a:solidFill>
              </a:rPr>
              <a:t>CV </a:t>
            </a:r>
            <a:r>
              <a:rPr lang="en-GB" altLang="en-US" sz="1000" b="1" dirty="0">
                <a:solidFill>
                  <a:srgbClr val="001965"/>
                </a:solidFill>
              </a:rPr>
              <a:t>death, non-fatal MI, non-fatal stroke, or hospitalisation for unstable angina</a:t>
            </a:r>
            <a:endParaRPr lang="en-GB" sz="1000" b="1" dirty="0">
              <a:solidFill>
                <a:srgbClr val="001965"/>
              </a:solidFill>
            </a:endParaRPr>
          </a:p>
        </p:txBody>
      </p:sp>
      <p:sp>
        <p:nvSpPr>
          <p:cNvPr id="86" name="Rounded Rectangle 85"/>
          <p:cNvSpPr/>
          <p:nvPr/>
        </p:nvSpPr>
        <p:spPr>
          <a:xfrm>
            <a:off x="7717671" y="1030013"/>
            <a:ext cx="347624" cy="107722"/>
          </a:xfrm>
          <a:prstGeom prst="roundRect">
            <a:avLst>
              <a:gd name="adj" fmla="val 0"/>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914400" fontAlgn="base">
              <a:spcBef>
                <a:spcPct val="0"/>
              </a:spcBef>
              <a:spcAft>
                <a:spcPct val="0"/>
              </a:spcAft>
            </a:pPr>
            <a:r>
              <a:rPr lang="en-GB" sz="700" dirty="0" smtClean="0">
                <a:solidFill>
                  <a:srgbClr val="001965"/>
                </a:solidFill>
                <a:cs typeface="Arial" panose="020B0604020202020204" pitchFamily="34" charset="0"/>
              </a:rPr>
              <a:t>Placebo</a:t>
            </a:r>
            <a:endParaRPr lang="en-GB" sz="700" dirty="0">
              <a:solidFill>
                <a:srgbClr val="001965"/>
              </a:solidFill>
              <a:cs typeface="Arial" panose="020B0604020202020204" pitchFamily="34" charset="0"/>
            </a:endParaRPr>
          </a:p>
        </p:txBody>
      </p:sp>
      <p:sp>
        <p:nvSpPr>
          <p:cNvPr id="87" name="Rounded Rectangle 86"/>
          <p:cNvSpPr/>
          <p:nvPr/>
        </p:nvSpPr>
        <p:spPr>
          <a:xfrm>
            <a:off x="7772345" y="1456340"/>
            <a:ext cx="581377" cy="107722"/>
          </a:xfrm>
          <a:prstGeom prst="roundRect">
            <a:avLst>
              <a:gd name="adj" fmla="val 0"/>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defTabSz="914400" fontAlgn="base">
              <a:spcBef>
                <a:spcPct val="0"/>
              </a:spcBef>
              <a:spcAft>
                <a:spcPct val="0"/>
              </a:spcAft>
            </a:pPr>
            <a:r>
              <a:rPr lang="en-GB" sz="700" dirty="0" smtClean="0">
                <a:solidFill>
                  <a:srgbClr val="001965"/>
                </a:solidFill>
                <a:cs typeface="Arial" panose="020B0604020202020204" pitchFamily="34" charset="0"/>
              </a:rPr>
              <a:t>Semaglutide</a:t>
            </a:r>
            <a:endParaRPr lang="en-GB" sz="700" dirty="0">
              <a:solidFill>
                <a:srgbClr val="001965"/>
              </a:solidFill>
              <a:cs typeface="Arial" panose="020B0604020202020204" pitchFamily="34" charset="0"/>
            </a:endParaRPr>
          </a:p>
        </p:txBody>
      </p:sp>
      <p:sp>
        <p:nvSpPr>
          <p:cNvPr id="88" name="TextBox 87"/>
          <p:cNvSpPr txBox="1"/>
          <p:nvPr/>
        </p:nvSpPr>
        <p:spPr>
          <a:xfrm>
            <a:off x="1353432" y="4459275"/>
            <a:ext cx="2165978" cy="215444"/>
          </a:xfrm>
          <a:prstGeom prst="rect">
            <a:avLst/>
          </a:prstGeom>
          <a:solidFill>
            <a:schemeClr val="bg1"/>
          </a:solidFill>
        </p:spPr>
        <p:txBody>
          <a:bodyPr vert="horz" wrap="none" rtlCol="0" anchor="ctr">
            <a:spAutoFit/>
          </a:bodyPr>
          <a:lstStyle/>
          <a:p>
            <a:pPr algn="ctr" defTabSz="914400"/>
            <a:r>
              <a:rPr lang="en-US" sz="800" b="1" dirty="0" smtClean="0">
                <a:solidFill>
                  <a:srgbClr val="001965"/>
                </a:solidFill>
              </a:rPr>
              <a:t>Time from </a:t>
            </a:r>
            <a:r>
              <a:rPr lang="en-US" sz="800" b="1" dirty="0" err="1" smtClean="0">
                <a:solidFill>
                  <a:srgbClr val="001965"/>
                </a:solidFill>
              </a:rPr>
              <a:t>randomisation</a:t>
            </a:r>
            <a:r>
              <a:rPr lang="en-US" sz="800" b="1" dirty="0" smtClean="0">
                <a:solidFill>
                  <a:srgbClr val="001965"/>
                </a:solidFill>
              </a:rPr>
              <a:t> (weeks)</a:t>
            </a:r>
            <a:endParaRPr lang="en-US" sz="800" b="1" dirty="0">
              <a:solidFill>
                <a:srgbClr val="001965"/>
              </a:solidFill>
            </a:endParaRPr>
          </a:p>
        </p:txBody>
      </p:sp>
      <p:sp>
        <p:nvSpPr>
          <p:cNvPr id="89" name="Rectangle 49"/>
          <p:cNvSpPr>
            <a:spLocks noChangeArrowheads="1"/>
          </p:cNvSpPr>
          <p:nvPr/>
        </p:nvSpPr>
        <p:spPr bwMode="auto">
          <a:xfrm>
            <a:off x="243169" y="2604627"/>
            <a:ext cx="855887" cy="184666"/>
          </a:xfrm>
          <a:prstGeom prst="rect">
            <a:avLst/>
          </a:prstGeom>
          <a:noFill/>
          <a:ln>
            <a:noFill/>
          </a:ln>
          <a:extLst/>
        </p:spPr>
        <p:txBody>
          <a:bodyPr wrap="square" lIns="0" tIns="0" rIns="0" bIns="0">
            <a:spAutoFit/>
          </a:bodyPr>
          <a:lstStyle/>
          <a:p>
            <a:pPr defTabSz="914400">
              <a:spcBef>
                <a:spcPct val="20000"/>
              </a:spcBef>
              <a:buClr>
                <a:srgbClr val="009FDA"/>
              </a:buClr>
              <a:defRPr/>
            </a:pPr>
            <a:r>
              <a:rPr lang="en-GB" sz="1200" b="1" dirty="0" smtClean="0">
                <a:solidFill>
                  <a:srgbClr val="001965"/>
                </a:solidFill>
                <a:cs typeface="Arial" pitchFamily="34" charset="0"/>
              </a:rPr>
              <a:t>ELIXA</a:t>
            </a:r>
            <a:r>
              <a:rPr lang="en-GB" sz="1200" b="1" baseline="30000" dirty="0" smtClean="0">
                <a:solidFill>
                  <a:srgbClr val="001965"/>
                </a:solidFill>
                <a:cs typeface="Arial" pitchFamily="34" charset="0"/>
              </a:rPr>
              <a:t>3</a:t>
            </a:r>
            <a:endParaRPr lang="en-GB" sz="1200" b="1" dirty="0">
              <a:solidFill>
                <a:srgbClr val="001965"/>
              </a:solidFill>
              <a:cs typeface="Arial" pitchFamily="34" charset="0"/>
            </a:endParaRPr>
          </a:p>
        </p:txBody>
      </p:sp>
      <p:pic>
        <p:nvPicPr>
          <p:cNvPr id="20" name="Picture 19"/>
          <p:cNvPicPr>
            <a:picLocks noChangeAspect="1"/>
          </p:cNvPicPr>
          <p:nvPr/>
        </p:nvPicPr>
        <p:blipFill>
          <a:blip r:embed="rId8"/>
          <a:stretch>
            <a:fillRect/>
          </a:stretch>
        </p:blipFill>
        <p:spPr>
          <a:xfrm>
            <a:off x="5405764" y="2788571"/>
            <a:ext cx="3056299" cy="1839241"/>
          </a:xfrm>
          <a:prstGeom prst="rect">
            <a:avLst/>
          </a:prstGeom>
          <a:solidFill>
            <a:schemeClr val="bg1"/>
          </a:solidFill>
        </p:spPr>
      </p:pic>
      <p:sp>
        <p:nvSpPr>
          <p:cNvPr id="90" name="Rectangle 89"/>
          <p:cNvSpPr/>
          <p:nvPr/>
        </p:nvSpPr>
        <p:spPr>
          <a:xfrm>
            <a:off x="-22395" y="3338"/>
            <a:ext cx="9166411" cy="5140162"/>
          </a:xfrm>
          <a:prstGeom prst="rect">
            <a:avLst/>
          </a:prstGeom>
          <a:solidFill>
            <a:schemeClr val="bg1"/>
          </a:solidFill>
        </p:spPr>
        <p:txBody>
          <a:bodyPr wrap="square" anchor="ctr">
            <a:noAutofit/>
          </a:bodyPr>
          <a:lstStyle/>
          <a:p>
            <a:pPr algn="ctr" defTabSz="914400"/>
            <a:endParaRPr lang="en-GB" sz="3200" b="1" dirty="0">
              <a:solidFill>
                <a:srgbClr val="001965"/>
              </a:solidFill>
            </a:endParaRPr>
          </a:p>
        </p:txBody>
      </p:sp>
      <p:grpSp>
        <p:nvGrpSpPr>
          <p:cNvPr id="8" name="Group 7"/>
          <p:cNvGrpSpPr/>
          <p:nvPr/>
        </p:nvGrpSpPr>
        <p:grpSpPr>
          <a:xfrm>
            <a:off x="-14775" y="-48125"/>
            <a:ext cx="9225810" cy="5220201"/>
            <a:chOff x="-14775" y="-48126"/>
            <a:chExt cx="9225810" cy="5220201"/>
          </a:xfrm>
        </p:grpSpPr>
        <p:sp>
          <p:nvSpPr>
            <p:cNvPr id="91" name="Rectangle 90"/>
            <p:cNvSpPr/>
            <p:nvPr/>
          </p:nvSpPr>
          <p:spPr>
            <a:xfrm>
              <a:off x="5095238" y="2850850"/>
              <a:ext cx="3837105" cy="584775"/>
            </a:xfrm>
            <a:prstGeom prst="rect">
              <a:avLst/>
            </a:prstGeom>
          </p:spPr>
          <p:txBody>
            <a:bodyPr wrap="square">
              <a:spAutoFit/>
            </a:bodyPr>
            <a:lstStyle/>
            <a:p>
              <a:pPr defTabSz="914400"/>
              <a:r>
                <a:rPr lang="cs-CZ" sz="3200" b="1" dirty="0" smtClean="0">
                  <a:solidFill>
                    <a:srgbClr val="001965"/>
                  </a:solidFill>
                </a:rPr>
                <a:t>GLP-1 agonisté</a:t>
              </a:r>
              <a:endParaRPr lang="en-GB" sz="3200" b="1" dirty="0">
                <a:solidFill>
                  <a:srgbClr val="001965"/>
                </a:solidFill>
              </a:endParaRPr>
            </a:p>
          </p:txBody>
        </p:sp>
        <p:grpSp>
          <p:nvGrpSpPr>
            <p:cNvPr id="7" name="Group 6"/>
            <p:cNvGrpSpPr/>
            <p:nvPr/>
          </p:nvGrpSpPr>
          <p:grpSpPr>
            <a:xfrm>
              <a:off x="-14775" y="-48126"/>
              <a:ext cx="9225810" cy="5220201"/>
              <a:chOff x="-14775" y="-48126"/>
              <a:chExt cx="9225810" cy="5220201"/>
            </a:xfrm>
          </p:grpSpPr>
          <p:cxnSp>
            <p:nvCxnSpPr>
              <p:cNvPr id="92" name="Straight Connector 91"/>
              <p:cNvCxnSpPr/>
              <p:nvPr/>
            </p:nvCxnSpPr>
            <p:spPr>
              <a:xfrm>
                <a:off x="4654556" y="-48126"/>
                <a:ext cx="0" cy="5220201"/>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14775" y="2410344"/>
                <a:ext cx="9225810" cy="9006"/>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308576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par>
                                <p:cTn id="7" presetID="10" presetClass="exit" presetSubtype="0" fill="hold" grpId="0" nodeType="withEffect">
                                  <p:stCondLst>
                                    <p:cond delay="0"/>
                                  </p:stCondLst>
                                  <p:childTnLst>
                                    <p:animEffect transition="out" filter="fade">
                                      <p:cBhvr>
                                        <p:cTn id="8" dur="500"/>
                                        <p:tgtEl>
                                          <p:spTgt spid="90"/>
                                        </p:tgtEl>
                                      </p:cBhvr>
                                    </p:animEffect>
                                    <p:set>
                                      <p:cBhvr>
                                        <p:cTn id="9" dur="1" fill="hold">
                                          <p:stCondLst>
                                            <p:cond delay="499"/>
                                          </p:stCondLst>
                                        </p:cTn>
                                        <p:tgtEl>
                                          <p:spTgt spid="90"/>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nodeType="clickEffect">
                                  <p:stCondLst>
                                    <p:cond delay="0"/>
                                  </p:stCondLst>
                                  <p:childTnLst>
                                    <p:set>
                                      <p:cBhvr>
                                        <p:cTn id="13" dur="1" fill="hold">
                                          <p:stCondLst>
                                            <p:cond delay="0"/>
                                          </p:stCondLst>
                                        </p:cTn>
                                        <p:tgtEl>
                                          <p:spTgt spid="31"/>
                                        </p:tgtEl>
                                        <p:attrNameLst>
                                          <p:attrName>style.visibility</p:attrName>
                                        </p:attrNameLst>
                                      </p:cBhvr>
                                      <p:to>
                                        <p:strVal val="hidden"/>
                                      </p:to>
                                    </p:set>
                                  </p:childTnLst>
                                </p:cTn>
                              </p:par>
                              <p:par>
                                <p:cTn id="14" presetID="1" presetClass="entr" presetSubtype="0" fill="hold" nodeType="withEffect">
                                  <p:stCondLst>
                                    <p:cond delay="0"/>
                                  </p:stCondLst>
                                  <p:childTnLst>
                                    <p:set>
                                      <p:cBhvr>
                                        <p:cTn id="15" dur="1" fill="hold">
                                          <p:stCondLst>
                                            <p:cond delay="0"/>
                                          </p:stCondLst>
                                        </p:cTn>
                                        <p:tgtEl>
                                          <p:spTgt spid="11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nodeType="clickEffect">
                                  <p:stCondLst>
                                    <p:cond delay="0"/>
                                  </p:stCondLst>
                                  <p:childTnLst>
                                    <p:set>
                                      <p:cBhvr>
                                        <p:cTn id="19" dur="1" fill="hold">
                                          <p:stCondLst>
                                            <p:cond delay="0"/>
                                          </p:stCondLst>
                                        </p:cTn>
                                        <p:tgtEl>
                                          <p:spTgt spid="18"/>
                                        </p:tgtEl>
                                        <p:attrNameLst>
                                          <p:attrName>style.visibility</p:attrName>
                                        </p:attrNameLst>
                                      </p:cBhvr>
                                      <p:to>
                                        <p:strVal val="hidden"/>
                                      </p:to>
                                    </p:set>
                                  </p:childTnLst>
                                </p:cTn>
                              </p:par>
                              <p:par>
                                <p:cTn id="20" presetID="1" presetClass="entr" presetSubtype="0" fill="hold" nodeType="withEffect">
                                  <p:stCondLst>
                                    <p:cond delay="0"/>
                                  </p:stCondLst>
                                  <p:childTnLst>
                                    <p:set>
                                      <p:cBhvr>
                                        <p:cTn id="21" dur="1" fill="hold">
                                          <p:stCondLst>
                                            <p:cond delay="0"/>
                                          </p:stCondLst>
                                        </p:cTn>
                                        <p:tgtEl>
                                          <p:spTgt spid="120"/>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87"/>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86"/>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84"/>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85"/>
                                        </p:tgtEl>
                                        <p:attrNameLst>
                                          <p:attrName>style.visibility</p:attrName>
                                        </p:attrNameLst>
                                      </p:cBhvr>
                                      <p:to>
                                        <p:strVal val="visible"/>
                                      </p:to>
                                    </p:set>
                                  </p:childTnLst>
                                </p:cTn>
                              </p:par>
                              <p:par>
                                <p:cTn id="32" presetID="1" presetClass="exit" presetSubtype="0" fill="hold" nodeType="withEffect">
                                  <p:stCondLst>
                                    <p:cond delay="0"/>
                                  </p:stCondLst>
                                  <p:childTnLst>
                                    <p:set>
                                      <p:cBhvr>
                                        <p:cTn id="33" dur="1" fill="hold">
                                          <p:stCondLst>
                                            <p:cond delay="0"/>
                                          </p:stCondLst>
                                        </p:cTn>
                                        <p:tgtEl>
                                          <p:spTgt spid="78"/>
                                        </p:tgtEl>
                                        <p:attrNameLst>
                                          <p:attrName>style.visibility</p:attrName>
                                        </p:attrNameLst>
                                      </p:cBhvr>
                                      <p:to>
                                        <p:strVal val="hidden"/>
                                      </p:to>
                                    </p:set>
                                  </p:childTnLst>
                                </p:cTn>
                              </p:par>
                              <p:par>
                                <p:cTn id="34" presetID="1" presetClass="entr" presetSubtype="0" fill="hold" grpId="0" nodeType="withEffect">
                                  <p:stCondLst>
                                    <p:cond delay="0"/>
                                  </p:stCondLst>
                                  <p:childTnLst>
                                    <p:set>
                                      <p:cBhvr>
                                        <p:cTn id="35" dur="1" fill="hold">
                                          <p:stCondLst>
                                            <p:cond delay="0"/>
                                          </p:stCondLst>
                                        </p:cTn>
                                        <p:tgtEl>
                                          <p:spTgt spid="88"/>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123"/>
                                        </p:tgtEl>
                                        <p:attrNameLst>
                                          <p:attrName>style.visibility</p:attrName>
                                        </p:attrNameLst>
                                      </p:cBhvr>
                                      <p:to>
                                        <p:strVal val="hidden"/>
                                      </p:to>
                                    </p:set>
                                  </p:childTnLst>
                                </p:cTn>
                              </p:par>
                              <p:par>
                                <p:cTn id="40" presetID="1" presetClass="entr" presetSubtype="0" fill="hold" grpId="0" nodeType="withEffect">
                                  <p:stCondLst>
                                    <p:cond delay="0"/>
                                  </p:stCondLst>
                                  <p:childTnLst>
                                    <p:set>
                                      <p:cBhvr>
                                        <p:cTn id="41" dur="1" fill="hold">
                                          <p:stCondLst>
                                            <p:cond delay="0"/>
                                          </p:stCondLst>
                                        </p:cTn>
                                        <p:tgtEl>
                                          <p:spTgt spid="131"/>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85" grpId="0"/>
      <p:bldP spid="86" grpId="0" animBg="1"/>
      <p:bldP spid="87" grpId="0" animBg="1"/>
      <p:bldP spid="88" grpId="0" animBg="1"/>
      <p:bldP spid="9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714351" y="2425019"/>
            <a:ext cx="4315201" cy="2325501"/>
            <a:chOff x="4714327" y="2463119"/>
            <a:chExt cx="4315201" cy="2325501"/>
          </a:xfrm>
        </p:grpSpPr>
        <p:sp>
          <p:nvSpPr>
            <p:cNvPr id="168" name="Rectangle 167"/>
            <p:cNvSpPr/>
            <p:nvPr/>
          </p:nvSpPr>
          <p:spPr>
            <a:xfrm>
              <a:off x="5796074" y="2469571"/>
              <a:ext cx="3050498" cy="369332"/>
            </a:xfrm>
            <a:prstGeom prst="rect">
              <a:avLst/>
            </a:prstGeom>
          </p:spPr>
          <p:txBody>
            <a:bodyPr wrap="square">
              <a:spAutoFit/>
            </a:bodyPr>
            <a:lstStyle/>
            <a:p>
              <a:pPr algn="ctr" defTabSz="914400"/>
              <a:r>
                <a:rPr lang="en-GB" altLang="en-US" sz="900" b="1" dirty="0" smtClean="0">
                  <a:solidFill>
                    <a:srgbClr val="001965"/>
                  </a:solidFill>
                </a:rPr>
                <a:t>CV death</a:t>
              </a:r>
              <a:r>
                <a:rPr lang="en-GB" altLang="en-US" sz="900" b="1" dirty="0">
                  <a:solidFill>
                    <a:srgbClr val="001965"/>
                  </a:solidFill>
                </a:rPr>
                <a:t>, non-fatal MI </a:t>
              </a:r>
              <a:r>
                <a:rPr lang="en-GB" altLang="en-US" sz="900" b="1" dirty="0" smtClean="0">
                  <a:solidFill>
                    <a:srgbClr val="001965"/>
                  </a:solidFill>
                </a:rPr>
                <a:t>or</a:t>
              </a:r>
              <a:br>
                <a:rPr lang="en-GB" altLang="en-US" sz="900" b="1" dirty="0" smtClean="0">
                  <a:solidFill>
                    <a:srgbClr val="001965"/>
                  </a:solidFill>
                </a:rPr>
              </a:br>
              <a:r>
                <a:rPr lang="en-GB" altLang="en-US" sz="900" b="1" dirty="0" smtClean="0">
                  <a:solidFill>
                    <a:srgbClr val="001965"/>
                  </a:solidFill>
                </a:rPr>
                <a:t> </a:t>
              </a:r>
              <a:r>
                <a:rPr lang="en-GB" altLang="en-US" sz="900" b="1" dirty="0">
                  <a:solidFill>
                    <a:srgbClr val="001965"/>
                  </a:solidFill>
                </a:rPr>
                <a:t>non-fatal </a:t>
              </a:r>
              <a:r>
                <a:rPr lang="en-GB" altLang="en-US" sz="900" b="1" dirty="0" smtClean="0">
                  <a:solidFill>
                    <a:srgbClr val="001965"/>
                  </a:solidFill>
                </a:rPr>
                <a:t>stroke</a:t>
              </a:r>
              <a:endParaRPr lang="en-GB" sz="900" b="1" dirty="0">
                <a:solidFill>
                  <a:srgbClr val="001965"/>
                </a:solidFill>
              </a:endParaRPr>
            </a:p>
          </p:txBody>
        </p:sp>
        <p:grpSp>
          <p:nvGrpSpPr>
            <p:cNvPr id="88" name="Group 87"/>
            <p:cNvGrpSpPr/>
            <p:nvPr/>
          </p:nvGrpSpPr>
          <p:grpSpPr>
            <a:xfrm>
              <a:off x="4714327" y="2463119"/>
              <a:ext cx="4315201" cy="2325501"/>
              <a:chOff x="4562047" y="1310528"/>
              <a:chExt cx="4315201" cy="2558051"/>
            </a:xfrm>
          </p:grpSpPr>
          <p:graphicFrame>
            <p:nvGraphicFramePr>
              <p:cNvPr id="89" name="Chart 88"/>
              <p:cNvGraphicFramePr>
                <a:graphicFrameLocks/>
              </p:cNvGraphicFramePr>
              <p:nvPr>
                <p:extLst/>
              </p:nvPr>
            </p:nvGraphicFramePr>
            <p:xfrm>
              <a:off x="4663338" y="1310528"/>
              <a:ext cx="4213910" cy="2558051"/>
            </p:xfrm>
            <a:graphic>
              <a:graphicData uri="http://schemas.openxmlformats.org/drawingml/2006/chart">
                <c:chart xmlns:c="http://schemas.openxmlformats.org/drawingml/2006/chart" xmlns:r="http://schemas.openxmlformats.org/officeDocument/2006/relationships" r:id="rId3"/>
              </a:graphicData>
            </a:graphic>
          </p:graphicFrame>
          <p:sp>
            <p:nvSpPr>
              <p:cNvPr id="90" name="TextBox 89"/>
              <p:cNvSpPr txBox="1"/>
              <p:nvPr/>
            </p:nvSpPr>
            <p:spPr>
              <a:xfrm>
                <a:off x="5125140" y="3459432"/>
                <a:ext cx="3344185" cy="270843"/>
              </a:xfrm>
              <a:prstGeom prst="rect">
                <a:avLst/>
              </a:prstGeom>
              <a:noFill/>
            </p:spPr>
            <p:txBody>
              <a:bodyPr wrap="none" rtlCol="0">
                <a:spAutoFit/>
              </a:bodyPr>
              <a:lstStyle/>
              <a:p>
                <a:pPr defTabSz="914400"/>
                <a:r>
                  <a:rPr lang="en-GB" sz="1000" b="1" dirty="0">
                    <a:solidFill>
                      <a:srgbClr val="001965"/>
                    </a:solidFill>
                  </a:rPr>
                  <a:t>Time to first EAC-confirmed event (months)</a:t>
                </a:r>
              </a:p>
            </p:txBody>
          </p:sp>
          <p:sp>
            <p:nvSpPr>
              <p:cNvPr id="91" name="TextBox 90"/>
              <p:cNvSpPr txBox="1"/>
              <p:nvPr/>
            </p:nvSpPr>
            <p:spPr>
              <a:xfrm>
                <a:off x="5170230" y="1581250"/>
                <a:ext cx="2382544" cy="558614"/>
              </a:xfrm>
              <a:prstGeom prst="rect">
                <a:avLst/>
              </a:prstGeom>
              <a:noFill/>
            </p:spPr>
            <p:txBody>
              <a:bodyPr wrap="square" rtlCol="0">
                <a:spAutoFit/>
              </a:bodyPr>
              <a:lstStyle/>
              <a:p>
                <a:pPr defTabSz="914400"/>
                <a:r>
                  <a:rPr lang="en-GB" sz="900" b="1" dirty="0">
                    <a:solidFill>
                      <a:srgbClr val="002060"/>
                    </a:solidFill>
                    <a:cs typeface="Arial" charset="0"/>
                  </a:rPr>
                  <a:t>HR 0.91 </a:t>
                </a:r>
              </a:p>
              <a:p>
                <a:pPr defTabSz="914400"/>
                <a:r>
                  <a:rPr lang="en-GB" sz="900" dirty="0">
                    <a:solidFill>
                      <a:srgbClr val="002060"/>
                    </a:solidFill>
                    <a:cs typeface="Arial" charset="0"/>
                  </a:rPr>
                  <a:t>(95% CI 0.78 ; 1.06) </a:t>
                </a:r>
              </a:p>
              <a:p>
                <a:pPr defTabSz="914400"/>
                <a:r>
                  <a:rPr lang="en-GB" sz="900" dirty="0">
                    <a:solidFill>
                      <a:srgbClr val="002060"/>
                    </a:solidFill>
                    <a:cs typeface="Arial" charset="0"/>
                  </a:rPr>
                  <a:t>Non-inferiority </a:t>
                </a:r>
                <a:r>
                  <a:rPr lang="en-GB" sz="900" dirty="0" smtClean="0">
                    <a:solidFill>
                      <a:srgbClr val="002060"/>
                    </a:solidFill>
                    <a:cs typeface="Arial" charset="0"/>
                  </a:rPr>
                  <a:t>confirmed (</a:t>
                </a:r>
                <a:r>
                  <a:rPr lang="en-GB" sz="900" i="1" dirty="0" smtClean="0">
                    <a:solidFill>
                      <a:srgbClr val="002060"/>
                    </a:solidFill>
                    <a:cs typeface="Arial" charset="0"/>
                  </a:rPr>
                  <a:t>p</a:t>
                </a:r>
                <a:r>
                  <a:rPr lang="en-GB" sz="900" dirty="0" smtClean="0">
                    <a:solidFill>
                      <a:srgbClr val="002060"/>
                    </a:solidFill>
                    <a:cs typeface="Arial" charset="0"/>
                  </a:rPr>
                  <a:t>&lt;0.001)</a:t>
                </a:r>
                <a:endParaRPr lang="en-GB" sz="900" dirty="0">
                  <a:solidFill>
                    <a:srgbClr val="002060"/>
                  </a:solidFill>
                  <a:cs typeface="Arial" charset="0"/>
                </a:endParaRPr>
              </a:p>
            </p:txBody>
          </p:sp>
          <p:sp>
            <p:nvSpPr>
              <p:cNvPr id="92" name="TextBox 91"/>
              <p:cNvSpPr txBox="1"/>
              <p:nvPr/>
            </p:nvSpPr>
            <p:spPr>
              <a:xfrm>
                <a:off x="7201416" y="2803264"/>
                <a:ext cx="1595921" cy="237241"/>
              </a:xfrm>
              <a:prstGeom prst="rect">
                <a:avLst/>
              </a:prstGeom>
              <a:noFill/>
            </p:spPr>
            <p:txBody>
              <a:bodyPr wrap="square" rtlCol="0">
                <a:noAutofit/>
              </a:bodyPr>
              <a:lstStyle/>
              <a:p>
                <a:pPr defTabSz="914400"/>
                <a:r>
                  <a:rPr lang="en-GB" sz="900" dirty="0" smtClean="0">
                    <a:solidFill>
                      <a:srgbClr val="002060"/>
                    </a:solidFill>
                  </a:rPr>
                  <a:t>Insulin </a:t>
                </a:r>
                <a:r>
                  <a:rPr lang="en-GB" sz="900" dirty="0" err="1">
                    <a:solidFill>
                      <a:srgbClr val="002060"/>
                    </a:solidFill>
                  </a:rPr>
                  <a:t>degludec</a:t>
                </a:r>
                <a:endParaRPr lang="en-GB" sz="900" dirty="0">
                  <a:solidFill>
                    <a:srgbClr val="002060"/>
                  </a:solidFill>
                </a:endParaRPr>
              </a:p>
            </p:txBody>
          </p:sp>
          <p:sp>
            <p:nvSpPr>
              <p:cNvPr id="93" name="TextBox 92"/>
              <p:cNvSpPr txBox="1"/>
              <p:nvPr/>
            </p:nvSpPr>
            <p:spPr>
              <a:xfrm>
                <a:off x="4562047" y="1402097"/>
                <a:ext cx="338554" cy="2016513"/>
              </a:xfrm>
              <a:prstGeom prst="rect">
                <a:avLst/>
              </a:prstGeom>
              <a:noFill/>
            </p:spPr>
            <p:txBody>
              <a:bodyPr vert="vert270" wrap="none" rtlCol="0">
                <a:spAutoFit/>
              </a:bodyPr>
              <a:lstStyle/>
              <a:p>
                <a:pPr defTabSz="914400"/>
                <a:r>
                  <a:rPr lang="en-GB" sz="1000" b="1" dirty="0">
                    <a:solidFill>
                      <a:srgbClr val="001965"/>
                    </a:solidFill>
                  </a:rPr>
                  <a:t>Patients </a:t>
                </a:r>
                <a:r>
                  <a:rPr lang="en-GB" sz="1000" b="1" dirty="0" smtClean="0">
                    <a:solidFill>
                      <a:srgbClr val="001965"/>
                    </a:solidFill>
                  </a:rPr>
                  <a:t>with </a:t>
                </a:r>
                <a:r>
                  <a:rPr lang="en-GB" sz="1000" b="1" dirty="0">
                    <a:solidFill>
                      <a:srgbClr val="001965"/>
                    </a:solidFill>
                  </a:rPr>
                  <a:t>event (%)</a:t>
                </a:r>
              </a:p>
            </p:txBody>
          </p:sp>
          <p:cxnSp>
            <p:nvCxnSpPr>
              <p:cNvPr id="94" name="Straight Connector 93"/>
              <p:cNvCxnSpPr/>
              <p:nvPr/>
            </p:nvCxnSpPr>
            <p:spPr>
              <a:xfrm>
                <a:off x="7030418" y="2660181"/>
                <a:ext cx="15896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7042453" y="2914178"/>
                <a:ext cx="158963"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7171313" y="2548948"/>
                <a:ext cx="1447078" cy="253915"/>
              </a:xfrm>
              <a:prstGeom prst="rect">
                <a:avLst/>
              </a:prstGeom>
              <a:noFill/>
            </p:spPr>
            <p:txBody>
              <a:bodyPr wrap="square" rtlCol="0">
                <a:spAutoFit/>
              </a:bodyPr>
              <a:lstStyle/>
              <a:p>
                <a:pPr algn="r" defTabSz="914400"/>
                <a:r>
                  <a:rPr lang="en-GB" sz="900" dirty="0">
                    <a:solidFill>
                      <a:srgbClr val="001965"/>
                    </a:solidFill>
                  </a:rPr>
                  <a:t>Insulin </a:t>
                </a:r>
                <a:r>
                  <a:rPr lang="en-GB" sz="900" dirty="0" smtClean="0">
                    <a:solidFill>
                      <a:srgbClr val="001965"/>
                    </a:solidFill>
                  </a:rPr>
                  <a:t>glargine U100</a:t>
                </a:r>
                <a:endParaRPr lang="en-GB" sz="900" dirty="0">
                  <a:solidFill>
                    <a:srgbClr val="001965"/>
                  </a:solidFill>
                </a:endParaRPr>
              </a:p>
            </p:txBody>
          </p:sp>
        </p:grpSp>
      </p:grpSp>
      <p:sp>
        <p:nvSpPr>
          <p:cNvPr id="6" name="Content Placeholder 5"/>
          <p:cNvSpPr>
            <a:spLocks noGrp="1"/>
          </p:cNvSpPr>
          <p:nvPr>
            <p:ph sz="quarter" idx="10"/>
          </p:nvPr>
        </p:nvSpPr>
        <p:spPr>
          <a:xfrm>
            <a:off x="330200" y="4623302"/>
            <a:ext cx="8510400" cy="454579"/>
          </a:xfrm>
        </p:spPr>
        <p:txBody>
          <a:bodyPr/>
          <a:lstStyle/>
          <a:p>
            <a:r>
              <a:rPr lang="en-GB" dirty="0" smtClean="0"/>
              <a:t>CI, confidence interval; CV, cardiovascular; CVD, cardiovascular disease; CVOT, cardiovascular outcomes trial; EAC</a:t>
            </a:r>
            <a:r>
              <a:rPr lang="en-GB" dirty="0"/>
              <a:t>, event adjudication </a:t>
            </a:r>
            <a:r>
              <a:rPr lang="en-GB" dirty="0" smtClean="0"/>
              <a:t>committee; </a:t>
            </a:r>
            <a:r>
              <a:rPr lang="en-GB" dirty="0" smtClean="0">
                <a:ea typeface="Verdana"/>
                <a:cs typeface="Verdana"/>
              </a:rPr>
              <a:t>HbA</a:t>
            </a:r>
            <a:r>
              <a:rPr lang="en-GB" baseline="-25000" dirty="0" smtClean="0">
                <a:ea typeface="Verdana"/>
                <a:cs typeface="Verdana"/>
              </a:rPr>
              <a:t>1c</a:t>
            </a:r>
            <a:r>
              <a:rPr lang="en-GB" dirty="0">
                <a:ea typeface="Verdana"/>
                <a:cs typeface="Verdana"/>
              </a:rPr>
              <a:t>, glycosylated </a:t>
            </a:r>
            <a:r>
              <a:rPr lang="en-GB" dirty="0" smtClean="0">
                <a:ea typeface="Verdana"/>
                <a:cs typeface="Verdana"/>
              </a:rPr>
              <a:t>haemoglobin; </a:t>
            </a:r>
            <a:r>
              <a:rPr lang="en-GB" dirty="0" smtClean="0"/>
              <a:t>HR, hazard ratio; MI, myocardial infarction; OAD, oral antidiabetic therapy; SGLT-2i, sodium</a:t>
            </a:r>
            <a:r>
              <a:rPr lang="en-GB" altLang="en-US" dirty="0">
                <a:solidFill>
                  <a:srgbClr val="8B7D70"/>
                </a:solidFill>
                <a:ea typeface="ＭＳ Ｐゴシック" charset="0"/>
              </a:rPr>
              <a:t>–</a:t>
            </a:r>
            <a:r>
              <a:rPr lang="en-GB" dirty="0" smtClean="0"/>
              <a:t>glucose cotransporter-2 inhibitor; T2DM, type 2 diabetes mellitus. </a:t>
            </a:r>
            <a:br>
              <a:rPr lang="en-GB" dirty="0" smtClean="0"/>
            </a:br>
            <a:r>
              <a:rPr lang="en-GB" dirty="0" smtClean="0">
                <a:latin typeface="Verdana" charset="0"/>
                <a:ea typeface="Verdana" charset="0"/>
                <a:cs typeface="Verdana" charset="0"/>
              </a:rPr>
              <a:t>1. </a:t>
            </a:r>
            <a:r>
              <a:rPr lang="en-GB" dirty="0">
                <a:latin typeface="Verdana" charset="0"/>
                <a:ea typeface="Verdana" charset="0"/>
                <a:cs typeface="Verdana" charset="0"/>
              </a:rPr>
              <a:t>The ORIGIN trial investigators </a:t>
            </a:r>
            <a:r>
              <a:rPr lang="en-GB" i="1" dirty="0">
                <a:latin typeface="Verdana" charset="0"/>
                <a:ea typeface="Verdana" charset="0"/>
                <a:cs typeface="Verdana" charset="0"/>
              </a:rPr>
              <a:t>N </a:t>
            </a:r>
            <a:r>
              <a:rPr lang="en-GB" i="1" dirty="0" err="1">
                <a:latin typeface="Verdana" charset="0"/>
                <a:ea typeface="Verdana" charset="0"/>
                <a:cs typeface="Verdana" charset="0"/>
              </a:rPr>
              <a:t>Engl</a:t>
            </a:r>
            <a:r>
              <a:rPr lang="en-GB" i="1" dirty="0">
                <a:latin typeface="Verdana" charset="0"/>
                <a:ea typeface="Verdana" charset="0"/>
                <a:cs typeface="Verdana" charset="0"/>
              </a:rPr>
              <a:t> J Med</a:t>
            </a:r>
            <a:r>
              <a:rPr lang="en-GB" dirty="0">
                <a:latin typeface="Verdana" charset="0"/>
                <a:ea typeface="Verdana" charset="0"/>
                <a:cs typeface="Verdana" charset="0"/>
              </a:rPr>
              <a:t> 2012;367:319–328; 2. </a:t>
            </a:r>
            <a:r>
              <a:rPr lang="en-GB" dirty="0" err="1">
                <a:latin typeface="Verdana" charset="0"/>
                <a:ea typeface="Verdana" charset="0"/>
                <a:cs typeface="Verdana" charset="0"/>
              </a:rPr>
              <a:t>Marso</a:t>
            </a:r>
            <a:r>
              <a:rPr lang="en-GB" dirty="0">
                <a:latin typeface="Verdana" charset="0"/>
                <a:ea typeface="Verdana" charset="0"/>
                <a:cs typeface="Verdana" charset="0"/>
              </a:rPr>
              <a:t> et al </a:t>
            </a:r>
            <a:r>
              <a:rPr lang="en-GB" i="1" dirty="0">
                <a:latin typeface="Verdana" charset="0"/>
                <a:ea typeface="Verdana" charset="0"/>
                <a:cs typeface="Verdana" charset="0"/>
              </a:rPr>
              <a:t>N </a:t>
            </a:r>
            <a:r>
              <a:rPr lang="en-GB" i="1" dirty="0" err="1">
                <a:latin typeface="Verdana" charset="0"/>
                <a:ea typeface="Verdana" charset="0"/>
                <a:cs typeface="Verdana" charset="0"/>
              </a:rPr>
              <a:t>Engl</a:t>
            </a:r>
            <a:r>
              <a:rPr lang="en-GB" i="1" dirty="0">
                <a:latin typeface="Verdana" charset="0"/>
                <a:ea typeface="Verdana" charset="0"/>
                <a:cs typeface="Verdana" charset="0"/>
              </a:rPr>
              <a:t> J Med</a:t>
            </a:r>
            <a:r>
              <a:rPr lang="en-GB" dirty="0">
                <a:latin typeface="Verdana" charset="0"/>
                <a:ea typeface="Verdana" charset="0"/>
                <a:cs typeface="Verdana" charset="0"/>
              </a:rPr>
              <a:t> </a:t>
            </a:r>
            <a:r>
              <a:rPr lang="en-GB" dirty="0" smtClean="0">
                <a:latin typeface="Verdana" charset="0"/>
                <a:ea typeface="Verdana" charset="0"/>
                <a:cs typeface="Verdana" charset="0"/>
              </a:rPr>
              <a:t>2017;</a:t>
            </a:r>
            <a:r>
              <a:rPr lang="mr-IN" dirty="0" smtClean="0">
                <a:latin typeface="Verdana" charset="0"/>
                <a:ea typeface="Verdana" charset="0"/>
                <a:cs typeface="Verdana" charset="0"/>
              </a:rPr>
              <a:t>377(8</a:t>
            </a:r>
            <a:r>
              <a:rPr lang="mr-IN" dirty="0">
                <a:latin typeface="Verdana" charset="0"/>
                <a:ea typeface="Verdana" charset="0"/>
                <a:cs typeface="Verdana" charset="0"/>
              </a:rPr>
              <a:t>):</a:t>
            </a:r>
            <a:r>
              <a:rPr lang="mr-IN" dirty="0" smtClean="0">
                <a:latin typeface="Verdana" charset="0"/>
                <a:ea typeface="Verdana" charset="0"/>
                <a:cs typeface="Verdana" charset="0"/>
              </a:rPr>
              <a:t>723</a:t>
            </a:r>
            <a:r>
              <a:rPr lang="en-GB" dirty="0">
                <a:latin typeface="Verdana" charset="0"/>
                <a:ea typeface="Verdana" charset="0"/>
                <a:cs typeface="Verdana" charset="0"/>
              </a:rPr>
              <a:t>–</a:t>
            </a:r>
            <a:r>
              <a:rPr lang="mr-IN" dirty="0" smtClean="0">
                <a:latin typeface="Verdana" charset="0"/>
                <a:ea typeface="Verdana" charset="0"/>
                <a:cs typeface="Verdana" charset="0"/>
              </a:rPr>
              <a:t>732</a:t>
            </a:r>
            <a:r>
              <a:rPr lang="en-GB" dirty="0" smtClean="0">
                <a:latin typeface="Verdana" charset="0"/>
                <a:ea typeface="Verdana" charset="0"/>
                <a:cs typeface="Verdana" charset="0"/>
              </a:rPr>
              <a:t>.</a:t>
            </a:r>
            <a:endParaRPr lang="en-GB" dirty="0">
              <a:latin typeface="Verdana" charset="0"/>
              <a:ea typeface="Verdana" charset="0"/>
              <a:cs typeface="Verdana" charset="0"/>
            </a:endParaRPr>
          </a:p>
        </p:txBody>
      </p:sp>
      <p:sp>
        <p:nvSpPr>
          <p:cNvPr id="13" name="Rectangle 49"/>
          <p:cNvSpPr>
            <a:spLocks noChangeArrowheads="1"/>
          </p:cNvSpPr>
          <p:nvPr/>
        </p:nvSpPr>
        <p:spPr bwMode="auto">
          <a:xfrm>
            <a:off x="330200" y="378403"/>
            <a:ext cx="3600450" cy="184666"/>
          </a:xfrm>
          <a:prstGeom prst="rect">
            <a:avLst/>
          </a:prstGeom>
          <a:noFill/>
          <a:ln>
            <a:noFill/>
          </a:ln>
          <a:extLst/>
        </p:spPr>
        <p:txBody>
          <a:bodyPr lIns="0" tIns="0" rIns="0" bIns="0">
            <a:spAutoFit/>
          </a:bodyPr>
          <a:lstStyle/>
          <a:p>
            <a:pPr defTabSz="914400">
              <a:spcBef>
                <a:spcPct val="20000"/>
              </a:spcBef>
              <a:buClr>
                <a:srgbClr val="009FDA"/>
              </a:buClr>
              <a:defRPr/>
            </a:pPr>
            <a:r>
              <a:rPr lang="en-GB" sz="1200" b="1" dirty="0" smtClean="0">
                <a:solidFill>
                  <a:srgbClr val="001965"/>
                </a:solidFill>
                <a:cs typeface="Arial" pitchFamily="34" charset="0"/>
              </a:rPr>
              <a:t>ORIGIN1</a:t>
            </a:r>
            <a:r>
              <a:rPr lang="en-GB" sz="1200" b="1" baseline="30000" dirty="0" smtClean="0">
                <a:solidFill>
                  <a:srgbClr val="001965"/>
                </a:solidFill>
                <a:cs typeface="Arial" pitchFamily="34" charset="0"/>
              </a:rPr>
              <a:t>1</a:t>
            </a:r>
            <a:endParaRPr lang="en-GB" sz="1200" b="1" dirty="0">
              <a:solidFill>
                <a:srgbClr val="001965"/>
              </a:solidFill>
              <a:cs typeface="Arial" pitchFamily="34" charset="0"/>
            </a:endParaRPr>
          </a:p>
        </p:txBody>
      </p:sp>
      <p:cxnSp>
        <p:nvCxnSpPr>
          <p:cNvPr id="3" name="Straight Connector 2"/>
          <p:cNvCxnSpPr/>
          <p:nvPr/>
        </p:nvCxnSpPr>
        <p:spPr>
          <a:xfrm>
            <a:off x="4654556" y="0"/>
            <a:ext cx="0" cy="4241080"/>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232056" y="2410344"/>
            <a:ext cx="8818959" cy="0"/>
          </a:xfrm>
          <a:prstGeom prst="line">
            <a:avLst/>
          </a:prstGeom>
          <a:ln w="12700">
            <a:prstDash val="sysDot"/>
          </a:ln>
          <a:effectLst/>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5835926" y="2850869"/>
            <a:ext cx="2079415" cy="584775"/>
          </a:xfrm>
          <a:prstGeom prst="rect">
            <a:avLst/>
          </a:prstGeom>
        </p:spPr>
        <p:txBody>
          <a:bodyPr wrap="none">
            <a:spAutoFit/>
          </a:bodyPr>
          <a:lstStyle/>
          <a:p>
            <a:pPr defTabSz="914400"/>
            <a:r>
              <a:rPr lang="en-GB" sz="3200" b="1" dirty="0" smtClean="0">
                <a:solidFill>
                  <a:srgbClr val="001965"/>
                </a:solidFill>
              </a:rPr>
              <a:t>In</a:t>
            </a:r>
            <a:r>
              <a:rPr lang="cs-CZ" sz="3200" b="1" dirty="0" err="1" smtClean="0">
                <a:solidFill>
                  <a:srgbClr val="001965"/>
                </a:solidFill>
              </a:rPr>
              <a:t>zulíny</a:t>
            </a:r>
            <a:endParaRPr lang="en-GB" sz="3200" b="1" dirty="0">
              <a:solidFill>
                <a:srgbClr val="001965"/>
              </a:solidFill>
            </a:endParaRPr>
          </a:p>
        </p:txBody>
      </p:sp>
      <p:grpSp>
        <p:nvGrpSpPr>
          <p:cNvPr id="26" name="Group 25"/>
          <p:cNvGrpSpPr/>
          <p:nvPr/>
        </p:nvGrpSpPr>
        <p:grpSpPr>
          <a:xfrm>
            <a:off x="4740150" y="799219"/>
            <a:ext cx="4170365" cy="1379377"/>
            <a:chOff x="4779960" y="807682"/>
            <a:chExt cx="4170365" cy="1379377"/>
          </a:xfrm>
        </p:grpSpPr>
        <p:sp>
          <p:nvSpPr>
            <p:cNvPr id="27" name="Rectangle 6"/>
            <p:cNvSpPr>
              <a:spLocks noChangeArrowheads="1"/>
            </p:cNvSpPr>
            <p:nvPr/>
          </p:nvSpPr>
          <p:spPr bwMode="auto">
            <a:xfrm>
              <a:off x="7150325" y="807682"/>
              <a:ext cx="1800000" cy="575664"/>
            </a:xfrm>
            <a:prstGeom prst="roundRect">
              <a:avLst/>
            </a:prstGeom>
            <a:solidFill>
              <a:srgbClr val="112D63"/>
            </a:solidFill>
            <a:ln w="9525">
              <a:noFill/>
              <a:miter lim="800000"/>
              <a:headEnd/>
              <a:tailEnd/>
            </a:ln>
            <a:effectLst/>
          </p:spPr>
          <p:txBody>
            <a:bodyPr lIns="72000" tIns="108000" rIns="72000" bIns="72000" anchor="ctr" anchorCtr="1">
              <a:spAutoFit/>
            </a:bodyPr>
            <a:lstStyle/>
            <a:p>
              <a:pPr defTabSz="914400">
                <a:defRPr/>
              </a:pPr>
              <a:r>
                <a:rPr lang="en-GB" sz="1100" dirty="0" smtClean="0">
                  <a:solidFill>
                    <a:srgbClr val="FFFFFF"/>
                  </a:solidFill>
                  <a:cs typeface="Arial" pitchFamily="34" charset="0"/>
                </a:rPr>
                <a:t>Degludec once daily+ </a:t>
              </a:r>
              <a:r>
                <a:rPr lang="en-GB" sz="1100" dirty="0">
                  <a:solidFill>
                    <a:srgbClr val="FFFFFF"/>
                  </a:solidFill>
                  <a:cs typeface="Arial" pitchFamily="34" charset="0"/>
                </a:rPr>
                <a:t>standard of care </a:t>
              </a:r>
            </a:p>
          </p:txBody>
        </p:sp>
        <p:sp>
          <p:nvSpPr>
            <p:cNvPr id="28" name="Rectangle 8"/>
            <p:cNvSpPr>
              <a:spLocks noChangeArrowheads="1"/>
            </p:cNvSpPr>
            <p:nvPr/>
          </p:nvSpPr>
          <p:spPr bwMode="auto">
            <a:xfrm>
              <a:off x="7150325" y="1424109"/>
              <a:ext cx="1800000" cy="762950"/>
            </a:xfrm>
            <a:prstGeom prst="roundRect">
              <a:avLst/>
            </a:prstGeom>
            <a:solidFill>
              <a:srgbClr val="9C7EB3"/>
            </a:solidFill>
            <a:ln w="9525">
              <a:noFill/>
              <a:miter lim="800000"/>
              <a:headEnd/>
              <a:tailEnd/>
            </a:ln>
            <a:effectLst/>
          </p:spPr>
          <p:txBody>
            <a:bodyPr lIns="72000" tIns="108000" rIns="72000" bIns="72000" anchor="ctr" anchorCtr="1">
              <a:spAutoFit/>
            </a:bodyPr>
            <a:lstStyle/>
            <a:p>
              <a:pPr defTabSz="914400">
                <a:spcBef>
                  <a:spcPct val="50000"/>
                </a:spcBef>
              </a:pPr>
              <a:r>
                <a:rPr lang="en-GB" sz="1100" dirty="0" smtClean="0">
                  <a:solidFill>
                    <a:srgbClr val="FFFFFF"/>
                  </a:solidFill>
                  <a:cs typeface="Arial" pitchFamily="34" charset="0"/>
                </a:rPr>
                <a:t>Glargine 100 units/ml once daily + </a:t>
              </a:r>
              <a:r>
                <a:rPr lang="en-GB" sz="1100" dirty="0">
                  <a:solidFill>
                    <a:srgbClr val="FFFFFF"/>
                  </a:solidFill>
                  <a:cs typeface="Arial" pitchFamily="34" charset="0"/>
                </a:rPr>
                <a:t>standard of </a:t>
              </a:r>
              <a:r>
                <a:rPr lang="en-GB" sz="1100" dirty="0" smtClean="0">
                  <a:solidFill>
                    <a:srgbClr val="FFFFFF"/>
                  </a:solidFill>
                  <a:cs typeface="Arial" pitchFamily="34" charset="0"/>
                </a:rPr>
                <a:t>care </a:t>
              </a:r>
              <a:endParaRPr lang="en-GB" sz="1100" dirty="0">
                <a:solidFill>
                  <a:srgbClr val="FFFFFF"/>
                </a:solidFill>
                <a:cs typeface="Arial" pitchFamily="34" charset="0"/>
              </a:endParaRPr>
            </a:p>
          </p:txBody>
        </p:sp>
        <p:cxnSp>
          <p:nvCxnSpPr>
            <p:cNvPr id="29" name="AutoShape 10"/>
            <p:cNvCxnSpPr>
              <a:cxnSpLocks noChangeShapeType="1"/>
              <a:stCxn id="31" idx="3"/>
            </p:cNvCxnSpPr>
            <p:nvPr/>
          </p:nvCxnSpPr>
          <p:spPr bwMode="auto">
            <a:xfrm flipV="1">
              <a:off x="6588089" y="1245005"/>
              <a:ext cx="562236" cy="274583"/>
            </a:xfrm>
            <a:prstGeom prst="bentConnector3">
              <a:avLst>
                <a:gd name="adj1" fmla="val 50000"/>
              </a:avLst>
            </a:prstGeom>
            <a:noFill/>
            <a:ln w="28575">
              <a:solidFill>
                <a:schemeClr val="accent2"/>
              </a:solidFill>
              <a:miter lim="800000"/>
              <a:headEnd/>
              <a:tailEnd/>
            </a:ln>
          </p:spPr>
        </p:cxnSp>
        <p:cxnSp>
          <p:nvCxnSpPr>
            <p:cNvPr id="30" name="AutoShape 11"/>
            <p:cNvCxnSpPr>
              <a:cxnSpLocks noChangeShapeType="1"/>
            </p:cNvCxnSpPr>
            <p:nvPr/>
          </p:nvCxnSpPr>
          <p:spPr bwMode="auto">
            <a:xfrm>
              <a:off x="6588089" y="1580534"/>
              <a:ext cx="562236" cy="216000"/>
            </a:xfrm>
            <a:prstGeom prst="bentConnector3">
              <a:avLst>
                <a:gd name="adj1" fmla="val 50000"/>
              </a:avLst>
            </a:prstGeom>
            <a:noFill/>
            <a:ln w="28575">
              <a:solidFill>
                <a:schemeClr val="accent2"/>
              </a:solidFill>
              <a:miter lim="800000"/>
              <a:headEnd/>
              <a:tailEnd/>
            </a:ln>
          </p:spPr>
        </p:cxnSp>
        <p:sp>
          <p:nvSpPr>
            <p:cNvPr id="31" name="Rectangle 5"/>
            <p:cNvSpPr>
              <a:spLocks noChangeArrowheads="1"/>
            </p:cNvSpPr>
            <p:nvPr/>
          </p:nvSpPr>
          <p:spPr bwMode="auto">
            <a:xfrm>
              <a:off x="4779960" y="1198441"/>
              <a:ext cx="1808129" cy="642293"/>
            </a:xfrm>
            <a:prstGeom prst="roundRect">
              <a:avLst/>
            </a:prstGeom>
            <a:solidFill>
              <a:schemeClr val="accent4"/>
            </a:solidFill>
            <a:ln w="9525">
              <a:noFill/>
              <a:miter lim="800000"/>
              <a:headEnd/>
              <a:tailEnd/>
            </a:ln>
            <a:effectLst/>
          </p:spPr>
          <p:txBody>
            <a:bodyPr wrap="square" lIns="36000" tIns="36000" rIns="36000" bIns="36000" anchor="ctr" anchorCtr="1">
              <a:spAutoFit/>
            </a:bodyPr>
            <a:lstStyle/>
            <a:p>
              <a:pPr defTabSz="914400">
                <a:defRPr/>
              </a:pPr>
              <a:r>
                <a:rPr lang="en-GB" sz="1100" dirty="0">
                  <a:solidFill>
                    <a:srgbClr val="001965"/>
                  </a:solidFill>
                  <a:ea typeface="Verdana" panose="020B0604030504040204" pitchFamily="34" charset="0"/>
                  <a:cs typeface="Verdana" panose="020B0604030504040204" pitchFamily="34" charset="0"/>
                </a:rPr>
                <a:t>T2DM; HbA</a:t>
              </a:r>
              <a:r>
                <a:rPr lang="en-GB" sz="1100" baseline="-25000" dirty="0">
                  <a:solidFill>
                    <a:srgbClr val="001965"/>
                  </a:solidFill>
                  <a:ea typeface="Verdana" panose="020B0604030504040204" pitchFamily="34" charset="0"/>
                  <a:cs typeface="Verdana" panose="020B0604030504040204" pitchFamily="34" charset="0"/>
                </a:rPr>
                <a:t>1c</a:t>
              </a:r>
              <a:r>
                <a:rPr lang="en-GB" sz="1100" dirty="0">
                  <a:solidFill>
                    <a:srgbClr val="001965"/>
                  </a:solidFill>
                  <a:ea typeface="Verdana" panose="020B0604030504040204" pitchFamily="34" charset="0"/>
                  <a:cs typeface="Verdana" panose="020B0604030504040204" pitchFamily="34" charset="0"/>
                </a:rPr>
                <a:t> </a:t>
              </a:r>
              <a:r>
                <a:rPr lang="en-GB" sz="1100" dirty="0" smtClean="0">
                  <a:solidFill>
                    <a:srgbClr val="001965"/>
                  </a:solidFill>
                  <a:ea typeface="Verdana" panose="020B0604030504040204" pitchFamily="34" charset="0"/>
                  <a:cs typeface="Verdana" panose="020B0604030504040204" pitchFamily="34" charset="0"/>
                </a:rPr>
                <a:t>≥7.0%; </a:t>
              </a:r>
              <a:r>
                <a:rPr lang="en-GB" sz="1100" dirty="0">
                  <a:solidFill>
                    <a:srgbClr val="001965"/>
                  </a:solidFill>
                  <a:ea typeface="Verdana" panose="020B0604030504040204" pitchFamily="34" charset="0"/>
                  <a:cs typeface="Verdana" panose="020B0604030504040204" pitchFamily="34" charset="0"/>
                </a:rPr>
                <a:t>≥30 years + </a:t>
              </a:r>
              <a:r>
                <a:rPr lang="en-GB" sz="1100" dirty="0" smtClean="0">
                  <a:solidFill>
                    <a:srgbClr val="001965"/>
                  </a:solidFill>
                  <a:ea typeface="Verdana" panose="020B0604030504040204" pitchFamily="34" charset="0"/>
                  <a:cs typeface="Verdana" panose="020B0604030504040204" pitchFamily="34" charset="0"/>
                </a:rPr>
                <a:t>CVD; ≥60 + CVD (n=7,637)</a:t>
              </a:r>
              <a:endParaRPr lang="en-GB" sz="1100" dirty="0">
                <a:solidFill>
                  <a:srgbClr val="001965"/>
                </a:solidFill>
                <a:ea typeface="Verdana" panose="020B0604030504040204" pitchFamily="34" charset="0"/>
                <a:cs typeface="Verdana" panose="020B0604030504040204" pitchFamily="34" charset="0"/>
              </a:endParaRPr>
            </a:p>
          </p:txBody>
        </p:sp>
      </p:grpSp>
      <p:sp>
        <p:nvSpPr>
          <p:cNvPr id="33" name="Rectangle 32"/>
          <p:cNvSpPr/>
          <p:nvPr/>
        </p:nvSpPr>
        <p:spPr>
          <a:xfrm>
            <a:off x="4685221" y="378422"/>
            <a:ext cx="1110865" cy="1806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200" b="1" dirty="0" smtClean="0">
                <a:solidFill>
                  <a:srgbClr val="001965"/>
                </a:solidFill>
                <a:cs typeface="Arial" pitchFamily="34" charset="0"/>
              </a:rPr>
              <a:t>DEVOTE</a:t>
            </a:r>
            <a:r>
              <a:rPr lang="en-GB" sz="1200" b="1" baseline="30000" dirty="0" smtClean="0">
                <a:solidFill>
                  <a:srgbClr val="001965"/>
                </a:solidFill>
              </a:rPr>
              <a:t>2</a:t>
            </a:r>
            <a:endParaRPr lang="en-GB" sz="1200" b="1" baseline="30000" dirty="0">
              <a:solidFill>
                <a:srgbClr val="001965"/>
              </a:solidFill>
            </a:endParaRPr>
          </a:p>
        </p:txBody>
      </p:sp>
      <p:grpSp>
        <p:nvGrpSpPr>
          <p:cNvPr id="34" name="Group 33"/>
          <p:cNvGrpSpPr/>
          <p:nvPr/>
        </p:nvGrpSpPr>
        <p:grpSpPr>
          <a:xfrm>
            <a:off x="330200" y="810684"/>
            <a:ext cx="4170365" cy="1192092"/>
            <a:chOff x="4779960" y="807682"/>
            <a:chExt cx="4170365" cy="1192092"/>
          </a:xfrm>
        </p:grpSpPr>
        <p:sp>
          <p:nvSpPr>
            <p:cNvPr id="35" name="Rectangle 6"/>
            <p:cNvSpPr>
              <a:spLocks noChangeArrowheads="1"/>
            </p:cNvSpPr>
            <p:nvPr/>
          </p:nvSpPr>
          <p:spPr bwMode="auto">
            <a:xfrm>
              <a:off x="7150325" y="807682"/>
              <a:ext cx="1800000" cy="575664"/>
            </a:xfrm>
            <a:prstGeom prst="roundRect">
              <a:avLst/>
            </a:prstGeom>
            <a:solidFill>
              <a:srgbClr val="112D63"/>
            </a:solidFill>
            <a:ln w="9525">
              <a:noFill/>
              <a:miter lim="800000"/>
              <a:headEnd/>
              <a:tailEnd/>
            </a:ln>
            <a:effectLst/>
          </p:spPr>
          <p:txBody>
            <a:bodyPr lIns="72000" tIns="108000" rIns="72000" bIns="72000" anchor="ctr" anchorCtr="1">
              <a:spAutoFit/>
            </a:bodyPr>
            <a:lstStyle/>
            <a:p>
              <a:pPr defTabSz="914400">
                <a:defRPr/>
              </a:pPr>
              <a:r>
                <a:rPr lang="en-GB" sz="1100" dirty="0">
                  <a:solidFill>
                    <a:srgbClr val="FFFFFF"/>
                  </a:solidFill>
                  <a:cs typeface="Arial" pitchFamily="34" charset="0"/>
                </a:rPr>
                <a:t>Insulin glargine</a:t>
              </a:r>
            </a:p>
            <a:p>
              <a:pPr defTabSz="914400">
                <a:defRPr/>
              </a:pPr>
              <a:r>
                <a:rPr lang="en-GB" sz="1100" dirty="0" smtClean="0">
                  <a:solidFill>
                    <a:srgbClr val="FFFFFF"/>
                  </a:solidFill>
                  <a:cs typeface="Arial" pitchFamily="34" charset="0"/>
                </a:rPr>
                <a:t>+ </a:t>
              </a:r>
              <a:r>
                <a:rPr lang="en-GB" sz="1100" dirty="0">
                  <a:solidFill>
                    <a:srgbClr val="FFFFFF"/>
                  </a:solidFill>
                  <a:cs typeface="Arial" pitchFamily="34" charset="0"/>
                </a:rPr>
                <a:t>standard of care </a:t>
              </a:r>
            </a:p>
          </p:txBody>
        </p:sp>
        <p:sp>
          <p:nvSpPr>
            <p:cNvPr id="36" name="Rectangle 8"/>
            <p:cNvSpPr>
              <a:spLocks noChangeArrowheads="1"/>
            </p:cNvSpPr>
            <p:nvPr/>
          </p:nvSpPr>
          <p:spPr bwMode="auto">
            <a:xfrm>
              <a:off x="7150325" y="1611395"/>
              <a:ext cx="1800000" cy="388379"/>
            </a:xfrm>
            <a:prstGeom prst="roundRect">
              <a:avLst/>
            </a:prstGeom>
            <a:solidFill>
              <a:srgbClr val="82786F"/>
            </a:solidFill>
            <a:ln w="9525">
              <a:noFill/>
              <a:miter lim="800000"/>
              <a:headEnd/>
              <a:tailEnd/>
            </a:ln>
            <a:effectLst/>
          </p:spPr>
          <p:txBody>
            <a:bodyPr lIns="72000" tIns="108000" rIns="72000" bIns="72000" anchor="ctr" anchorCtr="1">
              <a:spAutoFit/>
            </a:bodyPr>
            <a:lstStyle/>
            <a:p>
              <a:pPr defTabSz="914400">
                <a:spcBef>
                  <a:spcPct val="50000"/>
                </a:spcBef>
              </a:pPr>
              <a:r>
                <a:rPr lang="en-GB" sz="1100" dirty="0" smtClean="0">
                  <a:solidFill>
                    <a:srgbClr val="FFFFFF"/>
                  </a:solidFill>
                  <a:cs typeface="Arial" pitchFamily="34" charset="0"/>
                </a:rPr>
                <a:t>Standard of care </a:t>
              </a:r>
              <a:endParaRPr lang="en-GB" sz="1100" dirty="0">
                <a:solidFill>
                  <a:srgbClr val="FFFFFF"/>
                </a:solidFill>
                <a:cs typeface="Arial" pitchFamily="34" charset="0"/>
              </a:endParaRPr>
            </a:p>
          </p:txBody>
        </p:sp>
        <p:cxnSp>
          <p:nvCxnSpPr>
            <p:cNvPr id="37" name="AutoShape 10"/>
            <p:cNvCxnSpPr>
              <a:cxnSpLocks noChangeShapeType="1"/>
              <a:stCxn id="39" idx="3"/>
            </p:cNvCxnSpPr>
            <p:nvPr/>
          </p:nvCxnSpPr>
          <p:spPr bwMode="auto">
            <a:xfrm flipV="1">
              <a:off x="6588089" y="1244993"/>
              <a:ext cx="562236" cy="274581"/>
            </a:xfrm>
            <a:prstGeom prst="bentConnector3">
              <a:avLst>
                <a:gd name="adj1" fmla="val 50000"/>
              </a:avLst>
            </a:prstGeom>
            <a:noFill/>
            <a:ln w="28575">
              <a:solidFill>
                <a:schemeClr val="accent2"/>
              </a:solidFill>
              <a:miter lim="800000"/>
              <a:headEnd/>
              <a:tailEnd/>
            </a:ln>
          </p:spPr>
        </p:cxnSp>
        <p:cxnSp>
          <p:nvCxnSpPr>
            <p:cNvPr id="38" name="AutoShape 11"/>
            <p:cNvCxnSpPr>
              <a:cxnSpLocks noChangeShapeType="1"/>
            </p:cNvCxnSpPr>
            <p:nvPr/>
          </p:nvCxnSpPr>
          <p:spPr bwMode="auto">
            <a:xfrm>
              <a:off x="6588089" y="1580534"/>
              <a:ext cx="562236" cy="216000"/>
            </a:xfrm>
            <a:prstGeom prst="bentConnector3">
              <a:avLst>
                <a:gd name="adj1" fmla="val 50000"/>
              </a:avLst>
            </a:prstGeom>
            <a:noFill/>
            <a:ln w="28575">
              <a:solidFill>
                <a:schemeClr val="accent2"/>
              </a:solidFill>
              <a:miter lim="800000"/>
              <a:headEnd/>
              <a:tailEnd/>
            </a:ln>
          </p:spPr>
        </p:cxnSp>
        <p:sp>
          <p:nvSpPr>
            <p:cNvPr id="39" name="Rectangle 5"/>
            <p:cNvSpPr>
              <a:spLocks noChangeArrowheads="1"/>
            </p:cNvSpPr>
            <p:nvPr/>
          </p:nvSpPr>
          <p:spPr bwMode="auto">
            <a:xfrm>
              <a:off x="4779960" y="1198427"/>
              <a:ext cx="1808129" cy="642293"/>
            </a:xfrm>
            <a:prstGeom prst="roundRect">
              <a:avLst/>
            </a:prstGeom>
            <a:solidFill>
              <a:schemeClr val="accent4"/>
            </a:solidFill>
            <a:ln w="9525">
              <a:noFill/>
              <a:miter lim="800000"/>
              <a:headEnd/>
              <a:tailEnd/>
            </a:ln>
            <a:effectLst/>
          </p:spPr>
          <p:txBody>
            <a:bodyPr wrap="square" lIns="36000" tIns="36000" rIns="36000" bIns="36000" anchor="ctr" anchorCtr="1">
              <a:spAutoFit/>
            </a:bodyPr>
            <a:lstStyle/>
            <a:p>
              <a:pPr defTabSz="914400">
                <a:defRPr/>
              </a:pPr>
              <a:r>
                <a:rPr lang="en-GB" sz="1100" dirty="0">
                  <a:solidFill>
                    <a:srgbClr val="001965"/>
                  </a:solidFill>
                  <a:ea typeface="Verdana" panose="020B0604030504040204" pitchFamily="34" charset="0"/>
                  <a:cs typeface="Verdana" panose="020B0604030504040204" pitchFamily="34" charset="0"/>
                </a:rPr>
                <a:t>T2DM; HbA</a:t>
              </a:r>
              <a:r>
                <a:rPr lang="en-GB" sz="1100" baseline="-25000" dirty="0">
                  <a:solidFill>
                    <a:srgbClr val="001965"/>
                  </a:solidFill>
                  <a:ea typeface="Verdana" panose="020B0604030504040204" pitchFamily="34" charset="0"/>
                  <a:cs typeface="Verdana" panose="020B0604030504040204" pitchFamily="34" charset="0"/>
                </a:rPr>
                <a:t>1c</a:t>
              </a:r>
              <a:r>
                <a:rPr lang="en-GB" sz="1100" dirty="0">
                  <a:solidFill>
                    <a:srgbClr val="001965"/>
                  </a:solidFill>
                  <a:ea typeface="Verdana" panose="020B0604030504040204" pitchFamily="34" charset="0"/>
                  <a:cs typeface="Verdana" panose="020B0604030504040204" pitchFamily="34" charset="0"/>
                </a:rPr>
                <a:t> </a:t>
              </a:r>
              <a:r>
                <a:rPr lang="en-GB" sz="1100" dirty="0" smtClean="0">
                  <a:solidFill>
                    <a:srgbClr val="001965"/>
                  </a:solidFill>
                  <a:ea typeface="Verdana" panose="020B0604030504040204" pitchFamily="34" charset="0"/>
                  <a:cs typeface="Verdana" panose="020B0604030504040204" pitchFamily="34" charset="0"/>
                </a:rPr>
                <a:t>≥7.0%; ≥50 </a:t>
              </a:r>
              <a:r>
                <a:rPr lang="en-GB" sz="1100" dirty="0">
                  <a:solidFill>
                    <a:srgbClr val="001965"/>
                  </a:solidFill>
                  <a:ea typeface="Verdana" panose="020B0604030504040204" pitchFamily="34" charset="0"/>
                  <a:cs typeface="Verdana" panose="020B0604030504040204" pitchFamily="34" charset="0"/>
                </a:rPr>
                <a:t>years </a:t>
              </a:r>
              <a:r>
                <a:rPr lang="en-GB" sz="1100" dirty="0" smtClean="0">
                  <a:solidFill>
                    <a:srgbClr val="001965"/>
                  </a:solidFill>
                  <a:ea typeface="Verdana" panose="020B0604030504040204" pitchFamily="34" charset="0"/>
                  <a:cs typeface="Verdana" panose="020B0604030504040204" pitchFamily="34" charset="0"/>
                </a:rPr>
                <a:t>≤1 OAD + CVD (n=12,537) </a:t>
              </a:r>
              <a:endParaRPr lang="en-GB" sz="1100" dirty="0">
                <a:solidFill>
                  <a:srgbClr val="001965"/>
                </a:solidFill>
                <a:ea typeface="Verdana" panose="020B0604030504040204" pitchFamily="34" charset="0"/>
                <a:cs typeface="Verdana" panose="020B0604030504040204" pitchFamily="34" charset="0"/>
              </a:endParaRPr>
            </a:p>
          </p:txBody>
        </p:sp>
      </p:grpSp>
      <p:grpSp>
        <p:nvGrpSpPr>
          <p:cNvPr id="4" name="Group 3"/>
          <p:cNvGrpSpPr/>
          <p:nvPr/>
        </p:nvGrpSpPr>
        <p:grpSpPr>
          <a:xfrm>
            <a:off x="258099" y="2481154"/>
            <a:ext cx="4606832" cy="2082666"/>
            <a:chOff x="258099" y="2481152"/>
            <a:chExt cx="4606832" cy="2082665"/>
          </a:xfrm>
        </p:grpSpPr>
        <p:sp>
          <p:nvSpPr>
            <p:cNvPr id="169" name="Rectangle 168"/>
            <p:cNvSpPr/>
            <p:nvPr/>
          </p:nvSpPr>
          <p:spPr>
            <a:xfrm>
              <a:off x="1814433" y="2481152"/>
              <a:ext cx="3050498" cy="369332"/>
            </a:xfrm>
            <a:prstGeom prst="rect">
              <a:avLst/>
            </a:prstGeom>
          </p:spPr>
          <p:txBody>
            <a:bodyPr wrap="square">
              <a:spAutoFit/>
            </a:bodyPr>
            <a:lstStyle/>
            <a:p>
              <a:pPr algn="ctr" defTabSz="914400"/>
              <a:r>
                <a:rPr lang="en-GB" altLang="en-US" sz="900" b="1" dirty="0" smtClean="0">
                  <a:solidFill>
                    <a:srgbClr val="001965"/>
                  </a:solidFill>
                </a:rPr>
                <a:t>CV death</a:t>
              </a:r>
              <a:r>
                <a:rPr lang="en-GB" altLang="en-US" sz="900" b="1" dirty="0">
                  <a:solidFill>
                    <a:srgbClr val="001965"/>
                  </a:solidFill>
                </a:rPr>
                <a:t>, non-fatal MI </a:t>
              </a:r>
              <a:r>
                <a:rPr lang="en-GB" altLang="en-US" sz="900" b="1" dirty="0" smtClean="0">
                  <a:solidFill>
                    <a:srgbClr val="001965"/>
                  </a:solidFill>
                </a:rPr>
                <a:t>or</a:t>
              </a:r>
              <a:br>
                <a:rPr lang="en-GB" altLang="en-US" sz="900" b="1" dirty="0" smtClean="0">
                  <a:solidFill>
                    <a:srgbClr val="001965"/>
                  </a:solidFill>
                </a:rPr>
              </a:br>
              <a:r>
                <a:rPr lang="en-GB" altLang="en-US" sz="900" b="1" dirty="0" smtClean="0">
                  <a:solidFill>
                    <a:srgbClr val="001965"/>
                  </a:solidFill>
                </a:rPr>
                <a:t> </a:t>
              </a:r>
              <a:r>
                <a:rPr lang="en-GB" altLang="en-US" sz="900" b="1" dirty="0">
                  <a:solidFill>
                    <a:srgbClr val="001965"/>
                  </a:solidFill>
                </a:rPr>
                <a:t>non-fatal </a:t>
              </a:r>
              <a:r>
                <a:rPr lang="en-GB" altLang="en-US" sz="900" b="1" dirty="0" smtClean="0">
                  <a:solidFill>
                    <a:srgbClr val="001965"/>
                  </a:solidFill>
                </a:rPr>
                <a:t>stroke</a:t>
              </a:r>
              <a:endParaRPr lang="en-GB" sz="900" b="1" dirty="0">
                <a:solidFill>
                  <a:srgbClr val="001965"/>
                </a:solidFill>
              </a:endParaRPr>
            </a:p>
          </p:txBody>
        </p:sp>
        <p:grpSp>
          <p:nvGrpSpPr>
            <p:cNvPr id="42" name="Group 41"/>
            <p:cNvGrpSpPr/>
            <p:nvPr/>
          </p:nvGrpSpPr>
          <p:grpSpPr>
            <a:xfrm>
              <a:off x="258099" y="2630654"/>
              <a:ext cx="3962195" cy="1933163"/>
              <a:chOff x="-38654" y="1130413"/>
              <a:chExt cx="8003393" cy="2661933"/>
            </a:xfrm>
          </p:grpSpPr>
          <p:sp>
            <p:nvSpPr>
              <p:cNvPr id="43" name="TextBox 42"/>
              <p:cNvSpPr txBox="1"/>
              <p:nvPr/>
            </p:nvSpPr>
            <p:spPr>
              <a:xfrm>
                <a:off x="-38654" y="1163356"/>
                <a:ext cx="994705" cy="2263640"/>
              </a:xfrm>
              <a:prstGeom prst="rect">
                <a:avLst/>
              </a:prstGeom>
              <a:noFill/>
            </p:spPr>
            <p:txBody>
              <a:bodyPr vert="vert270" wrap="square" rtlCol="0">
                <a:spAutoFit/>
              </a:bodyPr>
              <a:lstStyle/>
              <a:p>
                <a:pPr algn="ctr" defTabSz="914400"/>
                <a:r>
                  <a:rPr lang="en-GB" sz="1000" b="1" dirty="0">
                    <a:solidFill>
                      <a:srgbClr val="001965"/>
                    </a:solidFill>
                  </a:rPr>
                  <a:t>Proportion with events</a:t>
                </a:r>
              </a:p>
            </p:txBody>
          </p:sp>
          <p:sp>
            <p:nvSpPr>
              <p:cNvPr id="44" name="TextBox 43"/>
              <p:cNvSpPr txBox="1"/>
              <p:nvPr/>
            </p:nvSpPr>
            <p:spPr>
              <a:xfrm>
                <a:off x="3105046" y="3453304"/>
                <a:ext cx="3128888" cy="339042"/>
              </a:xfrm>
              <a:prstGeom prst="rect">
                <a:avLst/>
              </a:prstGeom>
              <a:noFill/>
            </p:spPr>
            <p:txBody>
              <a:bodyPr wrap="square" rtlCol="0">
                <a:spAutoFit/>
              </a:bodyPr>
              <a:lstStyle/>
              <a:p>
                <a:pPr algn="ctr" defTabSz="914400"/>
                <a:r>
                  <a:rPr lang="en-GB" sz="1000" b="1" dirty="0">
                    <a:solidFill>
                      <a:srgbClr val="001965"/>
                    </a:solidFill>
                  </a:rPr>
                  <a:t>Years of follow-up</a:t>
                </a:r>
              </a:p>
            </p:txBody>
          </p:sp>
          <p:cxnSp>
            <p:nvCxnSpPr>
              <p:cNvPr id="45" name="Straight Connector 44"/>
              <p:cNvCxnSpPr/>
              <p:nvPr/>
            </p:nvCxnSpPr>
            <p:spPr>
              <a:xfrm>
                <a:off x="1391479" y="1253065"/>
                <a:ext cx="0" cy="197435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391479" y="3220073"/>
                <a:ext cx="6071432" cy="7346"/>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287196" y="1267133"/>
                <a:ext cx="104285"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284848" y="1651653"/>
                <a:ext cx="104285"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284848" y="2045545"/>
                <a:ext cx="104285"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284848" y="2439446"/>
                <a:ext cx="104285"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284848" y="2833337"/>
                <a:ext cx="104285"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284848" y="3220199"/>
                <a:ext cx="104285"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257865" y="3213351"/>
                <a:ext cx="0" cy="828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390357" y="3220062"/>
                <a:ext cx="0" cy="828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3127721" y="3211009"/>
                <a:ext cx="0" cy="828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992881" y="3210254"/>
                <a:ext cx="0" cy="828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858043" y="3210375"/>
                <a:ext cx="0" cy="828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730241" y="3213351"/>
                <a:ext cx="0" cy="828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595403" y="3210254"/>
                <a:ext cx="0" cy="82895"/>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530886" y="1130413"/>
                <a:ext cx="841177" cy="339042"/>
              </a:xfrm>
              <a:prstGeom prst="rect">
                <a:avLst/>
              </a:prstGeom>
              <a:noFill/>
            </p:spPr>
            <p:txBody>
              <a:bodyPr wrap="square" rtlCol="0">
                <a:spAutoFit/>
              </a:bodyPr>
              <a:lstStyle/>
              <a:p>
                <a:pPr algn="r" defTabSz="914400"/>
                <a:r>
                  <a:rPr lang="en-GB" sz="1000" dirty="0">
                    <a:solidFill>
                      <a:srgbClr val="001965"/>
                    </a:solidFill>
                  </a:rPr>
                  <a:t>0.5</a:t>
                </a:r>
              </a:p>
            </p:txBody>
          </p:sp>
          <p:sp>
            <p:nvSpPr>
              <p:cNvPr id="67" name="TextBox 66"/>
              <p:cNvSpPr txBox="1"/>
              <p:nvPr/>
            </p:nvSpPr>
            <p:spPr>
              <a:xfrm>
                <a:off x="557697" y="1513162"/>
                <a:ext cx="812858" cy="339042"/>
              </a:xfrm>
              <a:prstGeom prst="rect">
                <a:avLst/>
              </a:prstGeom>
              <a:noFill/>
            </p:spPr>
            <p:txBody>
              <a:bodyPr wrap="square" rtlCol="0">
                <a:spAutoFit/>
              </a:bodyPr>
              <a:lstStyle/>
              <a:p>
                <a:pPr algn="r" defTabSz="914400"/>
                <a:r>
                  <a:rPr lang="en-GB" sz="1000" dirty="0">
                    <a:solidFill>
                      <a:srgbClr val="001965"/>
                    </a:solidFill>
                  </a:rPr>
                  <a:t>0.4</a:t>
                </a:r>
              </a:p>
            </p:txBody>
          </p:sp>
          <p:sp>
            <p:nvSpPr>
              <p:cNvPr id="68" name="TextBox 67"/>
              <p:cNvSpPr txBox="1"/>
              <p:nvPr/>
            </p:nvSpPr>
            <p:spPr>
              <a:xfrm>
                <a:off x="530884" y="1904952"/>
                <a:ext cx="839671" cy="339042"/>
              </a:xfrm>
              <a:prstGeom prst="rect">
                <a:avLst/>
              </a:prstGeom>
              <a:noFill/>
            </p:spPr>
            <p:txBody>
              <a:bodyPr wrap="square" rtlCol="0">
                <a:spAutoFit/>
              </a:bodyPr>
              <a:lstStyle/>
              <a:p>
                <a:pPr algn="r" defTabSz="914400"/>
                <a:r>
                  <a:rPr lang="en-GB" sz="1000" dirty="0">
                    <a:solidFill>
                      <a:srgbClr val="001965"/>
                    </a:solidFill>
                  </a:rPr>
                  <a:t>0.3</a:t>
                </a:r>
              </a:p>
            </p:txBody>
          </p:sp>
          <p:sp>
            <p:nvSpPr>
              <p:cNvPr id="69" name="TextBox 68"/>
              <p:cNvSpPr txBox="1"/>
              <p:nvPr/>
            </p:nvSpPr>
            <p:spPr>
              <a:xfrm>
                <a:off x="530884" y="2303573"/>
                <a:ext cx="839673" cy="339042"/>
              </a:xfrm>
              <a:prstGeom prst="rect">
                <a:avLst/>
              </a:prstGeom>
              <a:noFill/>
            </p:spPr>
            <p:txBody>
              <a:bodyPr wrap="square" rtlCol="0">
                <a:spAutoFit/>
              </a:bodyPr>
              <a:lstStyle/>
              <a:p>
                <a:pPr algn="r" defTabSz="914400"/>
                <a:r>
                  <a:rPr lang="en-GB" sz="1000" dirty="0">
                    <a:solidFill>
                      <a:srgbClr val="001965"/>
                    </a:solidFill>
                  </a:rPr>
                  <a:t>0.2</a:t>
                </a:r>
              </a:p>
            </p:txBody>
          </p:sp>
          <p:sp>
            <p:nvSpPr>
              <p:cNvPr id="70" name="TextBox 69"/>
              <p:cNvSpPr txBox="1"/>
              <p:nvPr/>
            </p:nvSpPr>
            <p:spPr>
              <a:xfrm>
                <a:off x="530884" y="2699268"/>
                <a:ext cx="839673" cy="339042"/>
              </a:xfrm>
              <a:prstGeom prst="rect">
                <a:avLst/>
              </a:prstGeom>
              <a:noFill/>
            </p:spPr>
            <p:txBody>
              <a:bodyPr wrap="square" rtlCol="0">
                <a:spAutoFit/>
              </a:bodyPr>
              <a:lstStyle/>
              <a:p>
                <a:pPr algn="r" defTabSz="914400"/>
                <a:r>
                  <a:rPr lang="en-GB" sz="1000" dirty="0">
                    <a:solidFill>
                      <a:srgbClr val="001965"/>
                    </a:solidFill>
                  </a:rPr>
                  <a:t>0.1</a:t>
                </a:r>
              </a:p>
            </p:txBody>
          </p:sp>
          <p:sp>
            <p:nvSpPr>
              <p:cNvPr id="71" name="TextBox 70"/>
              <p:cNvSpPr txBox="1"/>
              <p:nvPr/>
            </p:nvSpPr>
            <p:spPr>
              <a:xfrm>
                <a:off x="439451" y="3082569"/>
                <a:ext cx="928845" cy="339042"/>
              </a:xfrm>
              <a:prstGeom prst="rect">
                <a:avLst/>
              </a:prstGeom>
              <a:noFill/>
            </p:spPr>
            <p:txBody>
              <a:bodyPr wrap="square" rtlCol="0">
                <a:spAutoFit/>
              </a:bodyPr>
              <a:lstStyle/>
              <a:p>
                <a:pPr algn="r" defTabSz="914400"/>
                <a:r>
                  <a:rPr lang="en-GB" sz="1000" dirty="0">
                    <a:solidFill>
                      <a:srgbClr val="001965"/>
                    </a:solidFill>
                  </a:rPr>
                  <a:t>0</a:t>
                </a:r>
              </a:p>
            </p:txBody>
          </p:sp>
          <p:sp>
            <p:nvSpPr>
              <p:cNvPr id="72" name="TextBox 71"/>
              <p:cNvSpPr txBox="1"/>
              <p:nvPr/>
            </p:nvSpPr>
            <p:spPr>
              <a:xfrm>
                <a:off x="1277821" y="3254108"/>
                <a:ext cx="247111" cy="339042"/>
              </a:xfrm>
              <a:prstGeom prst="rect">
                <a:avLst/>
              </a:prstGeom>
              <a:noFill/>
            </p:spPr>
            <p:txBody>
              <a:bodyPr wrap="square" rtlCol="0">
                <a:spAutoFit/>
              </a:bodyPr>
              <a:lstStyle/>
              <a:p>
                <a:pPr algn="ctr" defTabSz="914400"/>
                <a:r>
                  <a:rPr lang="en-GB" sz="1000" dirty="0">
                    <a:solidFill>
                      <a:srgbClr val="001965"/>
                    </a:solidFill>
                  </a:rPr>
                  <a:t>0</a:t>
                </a:r>
              </a:p>
            </p:txBody>
          </p:sp>
          <p:sp>
            <p:nvSpPr>
              <p:cNvPr id="73" name="TextBox 72"/>
              <p:cNvSpPr txBox="1"/>
              <p:nvPr/>
            </p:nvSpPr>
            <p:spPr>
              <a:xfrm>
                <a:off x="2134312" y="3252457"/>
                <a:ext cx="247111" cy="339042"/>
              </a:xfrm>
              <a:prstGeom prst="rect">
                <a:avLst/>
              </a:prstGeom>
              <a:noFill/>
            </p:spPr>
            <p:txBody>
              <a:bodyPr wrap="square" rtlCol="0">
                <a:spAutoFit/>
              </a:bodyPr>
              <a:lstStyle/>
              <a:p>
                <a:pPr algn="ctr" defTabSz="914400"/>
                <a:r>
                  <a:rPr lang="en-GB" sz="1000" dirty="0">
                    <a:solidFill>
                      <a:srgbClr val="001965"/>
                    </a:solidFill>
                  </a:rPr>
                  <a:t>1</a:t>
                </a:r>
              </a:p>
            </p:txBody>
          </p:sp>
          <p:sp>
            <p:nvSpPr>
              <p:cNvPr id="74" name="TextBox 73"/>
              <p:cNvSpPr txBox="1"/>
              <p:nvPr/>
            </p:nvSpPr>
            <p:spPr>
              <a:xfrm>
                <a:off x="3004801" y="3250596"/>
                <a:ext cx="247111" cy="339042"/>
              </a:xfrm>
              <a:prstGeom prst="rect">
                <a:avLst/>
              </a:prstGeom>
              <a:noFill/>
            </p:spPr>
            <p:txBody>
              <a:bodyPr wrap="square" rtlCol="0">
                <a:spAutoFit/>
              </a:bodyPr>
              <a:lstStyle/>
              <a:p>
                <a:pPr algn="ctr" defTabSz="914400"/>
                <a:r>
                  <a:rPr lang="en-GB" sz="1000" dirty="0">
                    <a:solidFill>
                      <a:srgbClr val="001965"/>
                    </a:solidFill>
                  </a:rPr>
                  <a:t>2</a:t>
                </a:r>
              </a:p>
            </p:txBody>
          </p:sp>
          <p:sp>
            <p:nvSpPr>
              <p:cNvPr id="75" name="TextBox 74"/>
              <p:cNvSpPr txBox="1"/>
              <p:nvPr/>
            </p:nvSpPr>
            <p:spPr>
              <a:xfrm>
                <a:off x="3869324" y="3255427"/>
                <a:ext cx="247111" cy="339042"/>
              </a:xfrm>
              <a:prstGeom prst="rect">
                <a:avLst/>
              </a:prstGeom>
              <a:noFill/>
            </p:spPr>
            <p:txBody>
              <a:bodyPr wrap="square" rtlCol="0">
                <a:spAutoFit/>
              </a:bodyPr>
              <a:lstStyle/>
              <a:p>
                <a:pPr algn="ctr" defTabSz="914400"/>
                <a:r>
                  <a:rPr lang="en-GB" sz="1000" dirty="0">
                    <a:solidFill>
                      <a:srgbClr val="001965"/>
                    </a:solidFill>
                  </a:rPr>
                  <a:t>3</a:t>
                </a:r>
              </a:p>
            </p:txBody>
          </p:sp>
          <p:sp>
            <p:nvSpPr>
              <p:cNvPr id="76" name="TextBox 75"/>
              <p:cNvSpPr txBox="1"/>
              <p:nvPr/>
            </p:nvSpPr>
            <p:spPr>
              <a:xfrm>
                <a:off x="4722638" y="3250578"/>
                <a:ext cx="247111" cy="339042"/>
              </a:xfrm>
              <a:prstGeom prst="rect">
                <a:avLst/>
              </a:prstGeom>
              <a:noFill/>
            </p:spPr>
            <p:txBody>
              <a:bodyPr wrap="square" rtlCol="0">
                <a:spAutoFit/>
              </a:bodyPr>
              <a:lstStyle/>
              <a:p>
                <a:pPr algn="ctr" defTabSz="914400"/>
                <a:r>
                  <a:rPr lang="en-GB" sz="1000" dirty="0">
                    <a:solidFill>
                      <a:srgbClr val="001965"/>
                    </a:solidFill>
                  </a:rPr>
                  <a:t>4</a:t>
                </a:r>
              </a:p>
            </p:txBody>
          </p:sp>
          <p:sp>
            <p:nvSpPr>
              <p:cNvPr id="77" name="TextBox 76"/>
              <p:cNvSpPr txBox="1"/>
              <p:nvPr/>
            </p:nvSpPr>
            <p:spPr>
              <a:xfrm>
                <a:off x="5615816" y="3255993"/>
                <a:ext cx="221656" cy="339042"/>
              </a:xfrm>
              <a:prstGeom prst="rect">
                <a:avLst/>
              </a:prstGeom>
              <a:noFill/>
            </p:spPr>
            <p:txBody>
              <a:bodyPr wrap="square" rtlCol="0">
                <a:spAutoFit/>
              </a:bodyPr>
              <a:lstStyle/>
              <a:p>
                <a:pPr algn="ctr" defTabSz="914400"/>
                <a:r>
                  <a:rPr lang="en-GB" sz="1000" dirty="0">
                    <a:solidFill>
                      <a:srgbClr val="001965"/>
                    </a:solidFill>
                  </a:rPr>
                  <a:t>5</a:t>
                </a:r>
              </a:p>
            </p:txBody>
          </p:sp>
          <p:sp>
            <p:nvSpPr>
              <p:cNvPr id="78" name="TextBox 77"/>
              <p:cNvSpPr txBox="1"/>
              <p:nvPr/>
            </p:nvSpPr>
            <p:spPr>
              <a:xfrm>
                <a:off x="6471848" y="3254066"/>
                <a:ext cx="247111" cy="339042"/>
              </a:xfrm>
              <a:prstGeom prst="rect">
                <a:avLst/>
              </a:prstGeom>
              <a:noFill/>
            </p:spPr>
            <p:txBody>
              <a:bodyPr wrap="square" rtlCol="0">
                <a:spAutoFit/>
              </a:bodyPr>
              <a:lstStyle/>
              <a:p>
                <a:pPr algn="ctr" defTabSz="914400"/>
                <a:r>
                  <a:rPr lang="en-GB" sz="1000" dirty="0">
                    <a:solidFill>
                      <a:srgbClr val="001965"/>
                    </a:solidFill>
                  </a:rPr>
                  <a:t>6</a:t>
                </a:r>
              </a:p>
            </p:txBody>
          </p:sp>
          <p:sp>
            <p:nvSpPr>
              <p:cNvPr id="79" name="TextBox 78"/>
              <p:cNvSpPr txBox="1"/>
              <p:nvPr/>
            </p:nvSpPr>
            <p:spPr>
              <a:xfrm>
                <a:off x="7339356" y="3250569"/>
                <a:ext cx="247111" cy="339042"/>
              </a:xfrm>
              <a:prstGeom prst="rect">
                <a:avLst/>
              </a:prstGeom>
              <a:noFill/>
            </p:spPr>
            <p:txBody>
              <a:bodyPr wrap="square" rtlCol="0">
                <a:spAutoFit/>
              </a:bodyPr>
              <a:lstStyle/>
              <a:p>
                <a:pPr algn="ctr" defTabSz="914400"/>
                <a:r>
                  <a:rPr lang="en-GB" sz="1000" dirty="0">
                    <a:solidFill>
                      <a:srgbClr val="001965"/>
                    </a:solidFill>
                  </a:rPr>
                  <a:t>7</a:t>
                </a:r>
              </a:p>
            </p:txBody>
          </p:sp>
          <p:sp>
            <p:nvSpPr>
              <p:cNvPr id="80" name="TextBox 79"/>
              <p:cNvSpPr txBox="1"/>
              <p:nvPr/>
            </p:nvSpPr>
            <p:spPr>
              <a:xfrm>
                <a:off x="1618159" y="1296652"/>
                <a:ext cx="3490364" cy="699274"/>
              </a:xfrm>
              <a:prstGeom prst="rect">
                <a:avLst/>
              </a:prstGeom>
              <a:noFill/>
            </p:spPr>
            <p:txBody>
              <a:bodyPr wrap="square" rtlCol="0">
                <a:spAutoFit/>
              </a:bodyPr>
              <a:lstStyle/>
              <a:p>
                <a:pPr defTabSz="914400"/>
                <a:r>
                  <a:rPr lang="en-GB" sz="900" b="1" dirty="0">
                    <a:solidFill>
                      <a:srgbClr val="001965"/>
                    </a:solidFill>
                  </a:rPr>
                  <a:t>Adjusted HR 1.02 </a:t>
                </a:r>
                <a:r>
                  <a:rPr lang="en-GB" sz="900" dirty="0">
                    <a:solidFill>
                      <a:srgbClr val="001965"/>
                    </a:solidFill>
                  </a:rPr>
                  <a:t/>
                </a:r>
                <a:br>
                  <a:rPr lang="en-GB" sz="900" dirty="0">
                    <a:solidFill>
                      <a:srgbClr val="001965"/>
                    </a:solidFill>
                  </a:rPr>
                </a:br>
                <a:r>
                  <a:rPr lang="en-GB" sz="900" dirty="0">
                    <a:solidFill>
                      <a:srgbClr val="001965"/>
                    </a:solidFill>
                  </a:rPr>
                  <a:t>(95% CI 0.94 ; 1.11)</a:t>
                </a:r>
              </a:p>
              <a:p>
                <a:pPr defTabSz="914400"/>
                <a:r>
                  <a:rPr lang="en-GB" sz="900" i="1" dirty="0">
                    <a:solidFill>
                      <a:srgbClr val="001965"/>
                    </a:solidFill>
                  </a:rPr>
                  <a:t>p</a:t>
                </a:r>
                <a:r>
                  <a:rPr lang="en-GB" sz="900" dirty="0">
                    <a:solidFill>
                      <a:srgbClr val="001965"/>
                    </a:solidFill>
                  </a:rPr>
                  <a:t>=0.63 by log-rank test</a:t>
                </a:r>
              </a:p>
            </p:txBody>
          </p:sp>
          <p:sp>
            <p:nvSpPr>
              <p:cNvPr id="81" name="TextBox 80"/>
              <p:cNvSpPr txBox="1"/>
              <p:nvPr/>
            </p:nvSpPr>
            <p:spPr>
              <a:xfrm>
                <a:off x="5500399" y="1444702"/>
                <a:ext cx="2464340" cy="317852"/>
              </a:xfrm>
              <a:prstGeom prst="rect">
                <a:avLst/>
              </a:prstGeom>
              <a:noFill/>
            </p:spPr>
            <p:txBody>
              <a:bodyPr wrap="square" rtlCol="0">
                <a:spAutoFit/>
              </a:bodyPr>
              <a:lstStyle/>
              <a:p>
                <a:pPr algn="r" defTabSz="914400"/>
                <a:r>
                  <a:rPr lang="en-GB" sz="900" dirty="0">
                    <a:solidFill>
                      <a:srgbClr val="001965"/>
                    </a:solidFill>
                  </a:rPr>
                  <a:t>Insulin glargine</a:t>
                </a:r>
              </a:p>
            </p:txBody>
          </p:sp>
          <p:sp>
            <p:nvSpPr>
              <p:cNvPr id="82" name="TextBox 81"/>
              <p:cNvSpPr txBox="1"/>
              <p:nvPr/>
            </p:nvSpPr>
            <p:spPr>
              <a:xfrm>
                <a:off x="5500399" y="1721795"/>
                <a:ext cx="2290062" cy="317852"/>
              </a:xfrm>
              <a:prstGeom prst="rect">
                <a:avLst/>
              </a:prstGeom>
              <a:noFill/>
            </p:spPr>
            <p:txBody>
              <a:bodyPr wrap="square" rtlCol="0">
                <a:spAutoFit/>
              </a:bodyPr>
              <a:lstStyle/>
              <a:p>
                <a:pPr algn="r" defTabSz="914400"/>
                <a:r>
                  <a:rPr lang="en-GB" sz="900" dirty="0">
                    <a:solidFill>
                      <a:srgbClr val="001965"/>
                    </a:solidFill>
                  </a:rPr>
                  <a:t>Standard care</a:t>
                </a:r>
              </a:p>
            </p:txBody>
          </p:sp>
          <p:grpSp>
            <p:nvGrpSpPr>
              <p:cNvPr id="83" name="Group 82"/>
              <p:cNvGrpSpPr/>
              <p:nvPr/>
            </p:nvGrpSpPr>
            <p:grpSpPr>
              <a:xfrm>
                <a:off x="1400175" y="2404977"/>
                <a:ext cx="6062736" cy="806631"/>
                <a:chOff x="1400175" y="2986087"/>
                <a:chExt cx="6437948" cy="806631"/>
              </a:xfrm>
            </p:grpSpPr>
            <p:sp>
              <p:nvSpPr>
                <p:cNvPr id="84" name="Freeform 83"/>
                <p:cNvSpPr/>
                <p:nvPr/>
              </p:nvSpPr>
              <p:spPr>
                <a:xfrm>
                  <a:off x="5937885" y="2986087"/>
                  <a:ext cx="1900238" cy="274320"/>
                </a:xfrm>
                <a:custGeom>
                  <a:avLst/>
                  <a:gdLst>
                    <a:gd name="connsiteX0" fmla="*/ 0 w 1897380"/>
                    <a:gd name="connsiteY0" fmla="*/ 280324 h 280324"/>
                    <a:gd name="connsiteX1" fmla="*/ 82868 w 1897380"/>
                    <a:gd name="connsiteY1" fmla="*/ 277467 h 280324"/>
                    <a:gd name="connsiteX2" fmla="*/ 94298 w 1897380"/>
                    <a:gd name="connsiteY2" fmla="*/ 274609 h 280324"/>
                    <a:gd name="connsiteX3" fmla="*/ 117158 w 1897380"/>
                    <a:gd name="connsiteY3" fmla="*/ 271752 h 280324"/>
                    <a:gd name="connsiteX4" fmla="*/ 168593 w 1897380"/>
                    <a:gd name="connsiteY4" fmla="*/ 268894 h 280324"/>
                    <a:gd name="connsiteX5" fmla="*/ 214313 w 1897380"/>
                    <a:gd name="connsiteY5" fmla="*/ 263179 h 280324"/>
                    <a:gd name="connsiteX6" fmla="*/ 280035 w 1897380"/>
                    <a:gd name="connsiteY6" fmla="*/ 260322 h 280324"/>
                    <a:gd name="connsiteX7" fmla="*/ 331470 w 1897380"/>
                    <a:gd name="connsiteY7" fmla="*/ 254607 h 280324"/>
                    <a:gd name="connsiteX8" fmla="*/ 348615 w 1897380"/>
                    <a:gd name="connsiteY8" fmla="*/ 251749 h 280324"/>
                    <a:gd name="connsiteX9" fmla="*/ 411480 w 1897380"/>
                    <a:gd name="connsiteY9" fmla="*/ 248892 h 280324"/>
                    <a:gd name="connsiteX10" fmla="*/ 434340 w 1897380"/>
                    <a:gd name="connsiteY10" fmla="*/ 246034 h 280324"/>
                    <a:gd name="connsiteX11" fmla="*/ 454343 w 1897380"/>
                    <a:gd name="connsiteY11" fmla="*/ 243177 h 280324"/>
                    <a:gd name="connsiteX12" fmla="*/ 491490 w 1897380"/>
                    <a:gd name="connsiteY12" fmla="*/ 240319 h 280324"/>
                    <a:gd name="connsiteX13" fmla="*/ 534353 w 1897380"/>
                    <a:gd name="connsiteY13" fmla="*/ 234604 h 280324"/>
                    <a:gd name="connsiteX14" fmla="*/ 585788 w 1897380"/>
                    <a:gd name="connsiteY14" fmla="*/ 231747 h 280324"/>
                    <a:gd name="connsiteX15" fmla="*/ 648653 w 1897380"/>
                    <a:gd name="connsiteY15" fmla="*/ 226032 h 280324"/>
                    <a:gd name="connsiteX16" fmla="*/ 700088 w 1897380"/>
                    <a:gd name="connsiteY16" fmla="*/ 220317 h 280324"/>
                    <a:gd name="connsiteX17" fmla="*/ 762953 w 1897380"/>
                    <a:gd name="connsiteY17" fmla="*/ 214602 h 280324"/>
                    <a:gd name="connsiteX18" fmla="*/ 774383 w 1897380"/>
                    <a:gd name="connsiteY18" fmla="*/ 211744 h 280324"/>
                    <a:gd name="connsiteX19" fmla="*/ 788670 w 1897380"/>
                    <a:gd name="connsiteY19" fmla="*/ 208887 h 280324"/>
                    <a:gd name="connsiteX20" fmla="*/ 817245 w 1897380"/>
                    <a:gd name="connsiteY20" fmla="*/ 206029 h 280324"/>
                    <a:gd name="connsiteX21" fmla="*/ 851535 w 1897380"/>
                    <a:gd name="connsiteY21" fmla="*/ 200314 h 280324"/>
                    <a:gd name="connsiteX22" fmla="*/ 880110 w 1897380"/>
                    <a:gd name="connsiteY22" fmla="*/ 197457 h 280324"/>
                    <a:gd name="connsiteX23" fmla="*/ 914400 w 1897380"/>
                    <a:gd name="connsiteY23" fmla="*/ 191742 h 280324"/>
                    <a:gd name="connsiteX24" fmla="*/ 982980 w 1897380"/>
                    <a:gd name="connsiteY24" fmla="*/ 186027 h 280324"/>
                    <a:gd name="connsiteX25" fmla="*/ 1011555 w 1897380"/>
                    <a:gd name="connsiteY25" fmla="*/ 180312 h 280324"/>
                    <a:gd name="connsiteX26" fmla="*/ 1060133 w 1897380"/>
                    <a:gd name="connsiteY26" fmla="*/ 177454 h 280324"/>
                    <a:gd name="connsiteX27" fmla="*/ 1094423 w 1897380"/>
                    <a:gd name="connsiteY27" fmla="*/ 174597 h 280324"/>
                    <a:gd name="connsiteX28" fmla="*/ 1114425 w 1897380"/>
                    <a:gd name="connsiteY28" fmla="*/ 168882 h 280324"/>
                    <a:gd name="connsiteX29" fmla="*/ 1131570 w 1897380"/>
                    <a:gd name="connsiteY29" fmla="*/ 163167 h 280324"/>
                    <a:gd name="connsiteX30" fmla="*/ 1180148 w 1897380"/>
                    <a:gd name="connsiteY30" fmla="*/ 154594 h 280324"/>
                    <a:gd name="connsiteX31" fmla="*/ 1211580 w 1897380"/>
                    <a:gd name="connsiteY31" fmla="*/ 148879 h 280324"/>
                    <a:gd name="connsiteX32" fmla="*/ 1231583 w 1897380"/>
                    <a:gd name="connsiteY32" fmla="*/ 146022 h 280324"/>
                    <a:gd name="connsiteX33" fmla="*/ 1268730 w 1897380"/>
                    <a:gd name="connsiteY33" fmla="*/ 143164 h 280324"/>
                    <a:gd name="connsiteX34" fmla="*/ 1300163 w 1897380"/>
                    <a:gd name="connsiteY34" fmla="*/ 137449 h 280324"/>
                    <a:gd name="connsiteX35" fmla="*/ 1343025 w 1897380"/>
                    <a:gd name="connsiteY35" fmla="*/ 131734 h 280324"/>
                    <a:gd name="connsiteX36" fmla="*/ 1354455 w 1897380"/>
                    <a:gd name="connsiteY36" fmla="*/ 128877 h 280324"/>
                    <a:gd name="connsiteX37" fmla="*/ 1371600 w 1897380"/>
                    <a:gd name="connsiteY37" fmla="*/ 123162 h 280324"/>
                    <a:gd name="connsiteX38" fmla="*/ 1388745 w 1897380"/>
                    <a:gd name="connsiteY38" fmla="*/ 114589 h 280324"/>
                    <a:gd name="connsiteX39" fmla="*/ 1405890 w 1897380"/>
                    <a:gd name="connsiteY39" fmla="*/ 106017 h 280324"/>
                    <a:gd name="connsiteX40" fmla="*/ 1414463 w 1897380"/>
                    <a:gd name="connsiteY40" fmla="*/ 100302 h 280324"/>
                    <a:gd name="connsiteX41" fmla="*/ 1451610 w 1897380"/>
                    <a:gd name="connsiteY41" fmla="*/ 94587 h 280324"/>
                    <a:gd name="connsiteX42" fmla="*/ 1485900 w 1897380"/>
                    <a:gd name="connsiteY42" fmla="*/ 88872 h 280324"/>
                    <a:gd name="connsiteX43" fmla="*/ 1497330 w 1897380"/>
                    <a:gd name="connsiteY43" fmla="*/ 86014 h 280324"/>
                    <a:gd name="connsiteX44" fmla="*/ 1514475 w 1897380"/>
                    <a:gd name="connsiteY44" fmla="*/ 80299 h 280324"/>
                    <a:gd name="connsiteX45" fmla="*/ 1531620 w 1897380"/>
                    <a:gd name="connsiteY45" fmla="*/ 77442 h 280324"/>
                    <a:gd name="connsiteX46" fmla="*/ 1554480 w 1897380"/>
                    <a:gd name="connsiteY46" fmla="*/ 74584 h 280324"/>
                    <a:gd name="connsiteX47" fmla="*/ 1583055 w 1897380"/>
                    <a:gd name="connsiteY47" fmla="*/ 68869 h 280324"/>
                    <a:gd name="connsiteX48" fmla="*/ 1660208 w 1897380"/>
                    <a:gd name="connsiteY48" fmla="*/ 66012 h 280324"/>
                    <a:gd name="connsiteX49" fmla="*/ 1680210 w 1897380"/>
                    <a:gd name="connsiteY49" fmla="*/ 60297 h 280324"/>
                    <a:gd name="connsiteX50" fmla="*/ 1705928 w 1897380"/>
                    <a:gd name="connsiteY50" fmla="*/ 54582 h 280324"/>
                    <a:gd name="connsiteX51" fmla="*/ 1714500 w 1897380"/>
                    <a:gd name="connsiteY51" fmla="*/ 48867 h 280324"/>
                    <a:gd name="connsiteX52" fmla="*/ 1731645 w 1897380"/>
                    <a:gd name="connsiteY52" fmla="*/ 43152 h 280324"/>
                    <a:gd name="connsiteX53" fmla="*/ 1751648 w 1897380"/>
                    <a:gd name="connsiteY53" fmla="*/ 37437 h 280324"/>
                    <a:gd name="connsiteX54" fmla="*/ 1768793 w 1897380"/>
                    <a:gd name="connsiteY54" fmla="*/ 34579 h 280324"/>
                    <a:gd name="connsiteX55" fmla="*/ 1797368 w 1897380"/>
                    <a:gd name="connsiteY55" fmla="*/ 17434 h 280324"/>
                    <a:gd name="connsiteX56" fmla="*/ 1805940 w 1897380"/>
                    <a:gd name="connsiteY56" fmla="*/ 11719 h 280324"/>
                    <a:gd name="connsiteX57" fmla="*/ 1843088 w 1897380"/>
                    <a:gd name="connsiteY57" fmla="*/ 3147 h 280324"/>
                    <a:gd name="connsiteX58" fmla="*/ 1860233 w 1897380"/>
                    <a:gd name="connsiteY58" fmla="*/ 289 h 280324"/>
                    <a:gd name="connsiteX59" fmla="*/ 1897380 w 1897380"/>
                    <a:gd name="connsiteY59" fmla="*/ 289 h 280324"/>
                    <a:gd name="connsiteX0" fmla="*/ 0 w 1900238"/>
                    <a:gd name="connsiteY0" fmla="*/ 280096 h 280096"/>
                    <a:gd name="connsiteX1" fmla="*/ 82868 w 1900238"/>
                    <a:gd name="connsiteY1" fmla="*/ 277239 h 280096"/>
                    <a:gd name="connsiteX2" fmla="*/ 94298 w 1900238"/>
                    <a:gd name="connsiteY2" fmla="*/ 274381 h 280096"/>
                    <a:gd name="connsiteX3" fmla="*/ 117158 w 1900238"/>
                    <a:gd name="connsiteY3" fmla="*/ 271524 h 280096"/>
                    <a:gd name="connsiteX4" fmla="*/ 168593 w 1900238"/>
                    <a:gd name="connsiteY4" fmla="*/ 268666 h 280096"/>
                    <a:gd name="connsiteX5" fmla="*/ 214313 w 1900238"/>
                    <a:gd name="connsiteY5" fmla="*/ 262951 h 280096"/>
                    <a:gd name="connsiteX6" fmla="*/ 280035 w 1900238"/>
                    <a:gd name="connsiteY6" fmla="*/ 260094 h 280096"/>
                    <a:gd name="connsiteX7" fmla="*/ 331470 w 1900238"/>
                    <a:gd name="connsiteY7" fmla="*/ 254379 h 280096"/>
                    <a:gd name="connsiteX8" fmla="*/ 348615 w 1900238"/>
                    <a:gd name="connsiteY8" fmla="*/ 251521 h 280096"/>
                    <a:gd name="connsiteX9" fmla="*/ 411480 w 1900238"/>
                    <a:gd name="connsiteY9" fmla="*/ 248664 h 280096"/>
                    <a:gd name="connsiteX10" fmla="*/ 434340 w 1900238"/>
                    <a:gd name="connsiteY10" fmla="*/ 245806 h 280096"/>
                    <a:gd name="connsiteX11" fmla="*/ 454343 w 1900238"/>
                    <a:gd name="connsiteY11" fmla="*/ 242949 h 280096"/>
                    <a:gd name="connsiteX12" fmla="*/ 491490 w 1900238"/>
                    <a:gd name="connsiteY12" fmla="*/ 240091 h 280096"/>
                    <a:gd name="connsiteX13" fmla="*/ 534353 w 1900238"/>
                    <a:gd name="connsiteY13" fmla="*/ 234376 h 280096"/>
                    <a:gd name="connsiteX14" fmla="*/ 585788 w 1900238"/>
                    <a:gd name="connsiteY14" fmla="*/ 231519 h 280096"/>
                    <a:gd name="connsiteX15" fmla="*/ 648653 w 1900238"/>
                    <a:gd name="connsiteY15" fmla="*/ 225804 h 280096"/>
                    <a:gd name="connsiteX16" fmla="*/ 700088 w 1900238"/>
                    <a:gd name="connsiteY16" fmla="*/ 220089 h 280096"/>
                    <a:gd name="connsiteX17" fmla="*/ 762953 w 1900238"/>
                    <a:gd name="connsiteY17" fmla="*/ 214374 h 280096"/>
                    <a:gd name="connsiteX18" fmla="*/ 774383 w 1900238"/>
                    <a:gd name="connsiteY18" fmla="*/ 211516 h 280096"/>
                    <a:gd name="connsiteX19" fmla="*/ 788670 w 1900238"/>
                    <a:gd name="connsiteY19" fmla="*/ 208659 h 280096"/>
                    <a:gd name="connsiteX20" fmla="*/ 817245 w 1900238"/>
                    <a:gd name="connsiteY20" fmla="*/ 205801 h 280096"/>
                    <a:gd name="connsiteX21" fmla="*/ 851535 w 1900238"/>
                    <a:gd name="connsiteY21" fmla="*/ 200086 h 280096"/>
                    <a:gd name="connsiteX22" fmla="*/ 880110 w 1900238"/>
                    <a:gd name="connsiteY22" fmla="*/ 197229 h 280096"/>
                    <a:gd name="connsiteX23" fmla="*/ 914400 w 1900238"/>
                    <a:gd name="connsiteY23" fmla="*/ 191514 h 280096"/>
                    <a:gd name="connsiteX24" fmla="*/ 982980 w 1900238"/>
                    <a:gd name="connsiteY24" fmla="*/ 185799 h 280096"/>
                    <a:gd name="connsiteX25" fmla="*/ 1011555 w 1900238"/>
                    <a:gd name="connsiteY25" fmla="*/ 180084 h 280096"/>
                    <a:gd name="connsiteX26" fmla="*/ 1060133 w 1900238"/>
                    <a:gd name="connsiteY26" fmla="*/ 177226 h 280096"/>
                    <a:gd name="connsiteX27" fmla="*/ 1094423 w 1900238"/>
                    <a:gd name="connsiteY27" fmla="*/ 174369 h 280096"/>
                    <a:gd name="connsiteX28" fmla="*/ 1114425 w 1900238"/>
                    <a:gd name="connsiteY28" fmla="*/ 168654 h 280096"/>
                    <a:gd name="connsiteX29" fmla="*/ 1131570 w 1900238"/>
                    <a:gd name="connsiteY29" fmla="*/ 162939 h 280096"/>
                    <a:gd name="connsiteX30" fmla="*/ 1180148 w 1900238"/>
                    <a:gd name="connsiteY30" fmla="*/ 154366 h 280096"/>
                    <a:gd name="connsiteX31" fmla="*/ 1211580 w 1900238"/>
                    <a:gd name="connsiteY31" fmla="*/ 148651 h 280096"/>
                    <a:gd name="connsiteX32" fmla="*/ 1231583 w 1900238"/>
                    <a:gd name="connsiteY32" fmla="*/ 145794 h 280096"/>
                    <a:gd name="connsiteX33" fmla="*/ 1268730 w 1900238"/>
                    <a:gd name="connsiteY33" fmla="*/ 142936 h 280096"/>
                    <a:gd name="connsiteX34" fmla="*/ 1300163 w 1900238"/>
                    <a:gd name="connsiteY34" fmla="*/ 137221 h 280096"/>
                    <a:gd name="connsiteX35" fmla="*/ 1343025 w 1900238"/>
                    <a:gd name="connsiteY35" fmla="*/ 131506 h 280096"/>
                    <a:gd name="connsiteX36" fmla="*/ 1354455 w 1900238"/>
                    <a:gd name="connsiteY36" fmla="*/ 128649 h 280096"/>
                    <a:gd name="connsiteX37" fmla="*/ 1371600 w 1900238"/>
                    <a:gd name="connsiteY37" fmla="*/ 122934 h 280096"/>
                    <a:gd name="connsiteX38" fmla="*/ 1388745 w 1900238"/>
                    <a:gd name="connsiteY38" fmla="*/ 114361 h 280096"/>
                    <a:gd name="connsiteX39" fmla="*/ 1405890 w 1900238"/>
                    <a:gd name="connsiteY39" fmla="*/ 105789 h 280096"/>
                    <a:gd name="connsiteX40" fmla="*/ 1414463 w 1900238"/>
                    <a:gd name="connsiteY40" fmla="*/ 100074 h 280096"/>
                    <a:gd name="connsiteX41" fmla="*/ 1451610 w 1900238"/>
                    <a:gd name="connsiteY41" fmla="*/ 94359 h 280096"/>
                    <a:gd name="connsiteX42" fmla="*/ 1485900 w 1900238"/>
                    <a:gd name="connsiteY42" fmla="*/ 88644 h 280096"/>
                    <a:gd name="connsiteX43" fmla="*/ 1497330 w 1900238"/>
                    <a:gd name="connsiteY43" fmla="*/ 85786 h 280096"/>
                    <a:gd name="connsiteX44" fmla="*/ 1514475 w 1900238"/>
                    <a:gd name="connsiteY44" fmla="*/ 80071 h 280096"/>
                    <a:gd name="connsiteX45" fmla="*/ 1531620 w 1900238"/>
                    <a:gd name="connsiteY45" fmla="*/ 77214 h 280096"/>
                    <a:gd name="connsiteX46" fmla="*/ 1554480 w 1900238"/>
                    <a:gd name="connsiteY46" fmla="*/ 74356 h 280096"/>
                    <a:gd name="connsiteX47" fmla="*/ 1583055 w 1900238"/>
                    <a:gd name="connsiteY47" fmla="*/ 68641 h 280096"/>
                    <a:gd name="connsiteX48" fmla="*/ 1660208 w 1900238"/>
                    <a:gd name="connsiteY48" fmla="*/ 65784 h 280096"/>
                    <a:gd name="connsiteX49" fmla="*/ 1680210 w 1900238"/>
                    <a:gd name="connsiteY49" fmla="*/ 60069 h 280096"/>
                    <a:gd name="connsiteX50" fmla="*/ 1705928 w 1900238"/>
                    <a:gd name="connsiteY50" fmla="*/ 54354 h 280096"/>
                    <a:gd name="connsiteX51" fmla="*/ 1714500 w 1900238"/>
                    <a:gd name="connsiteY51" fmla="*/ 48639 h 280096"/>
                    <a:gd name="connsiteX52" fmla="*/ 1731645 w 1900238"/>
                    <a:gd name="connsiteY52" fmla="*/ 42924 h 280096"/>
                    <a:gd name="connsiteX53" fmla="*/ 1751648 w 1900238"/>
                    <a:gd name="connsiteY53" fmla="*/ 37209 h 280096"/>
                    <a:gd name="connsiteX54" fmla="*/ 1768793 w 1900238"/>
                    <a:gd name="connsiteY54" fmla="*/ 34351 h 280096"/>
                    <a:gd name="connsiteX55" fmla="*/ 1797368 w 1900238"/>
                    <a:gd name="connsiteY55" fmla="*/ 17206 h 280096"/>
                    <a:gd name="connsiteX56" fmla="*/ 1805940 w 1900238"/>
                    <a:gd name="connsiteY56" fmla="*/ 11491 h 280096"/>
                    <a:gd name="connsiteX57" fmla="*/ 1843088 w 1900238"/>
                    <a:gd name="connsiteY57" fmla="*/ 2919 h 280096"/>
                    <a:gd name="connsiteX58" fmla="*/ 1860233 w 1900238"/>
                    <a:gd name="connsiteY58" fmla="*/ 61 h 280096"/>
                    <a:gd name="connsiteX59" fmla="*/ 1900238 w 1900238"/>
                    <a:gd name="connsiteY59" fmla="*/ 5776 h 280096"/>
                    <a:gd name="connsiteX0" fmla="*/ 0 w 1900238"/>
                    <a:gd name="connsiteY0" fmla="*/ 277206 h 277206"/>
                    <a:gd name="connsiteX1" fmla="*/ 82868 w 1900238"/>
                    <a:gd name="connsiteY1" fmla="*/ 274349 h 277206"/>
                    <a:gd name="connsiteX2" fmla="*/ 94298 w 1900238"/>
                    <a:gd name="connsiteY2" fmla="*/ 271491 h 277206"/>
                    <a:gd name="connsiteX3" fmla="*/ 117158 w 1900238"/>
                    <a:gd name="connsiteY3" fmla="*/ 268634 h 277206"/>
                    <a:gd name="connsiteX4" fmla="*/ 168593 w 1900238"/>
                    <a:gd name="connsiteY4" fmla="*/ 265776 h 277206"/>
                    <a:gd name="connsiteX5" fmla="*/ 214313 w 1900238"/>
                    <a:gd name="connsiteY5" fmla="*/ 260061 h 277206"/>
                    <a:gd name="connsiteX6" fmla="*/ 280035 w 1900238"/>
                    <a:gd name="connsiteY6" fmla="*/ 257204 h 277206"/>
                    <a:gd name="connsiteX7" fmla="*/ 331470 w 1900238"/>
                    <a:gd name="connsiteY7" fmla="*/ 251489 h 277206"/>
                    <a:gd name="connsiteX8" fmla="*/ 348615 w 1900238"/>
                    <a:gd name="connsiteY8" fmla="*/ 248631 h 277206"/>
                    <a:gd name="connsiteX9" fmla="*/ 411480 w 1900238"/>
                    <a:gd name="connsiteY9" fmla="*/ 245774 h 277206"/>
                    <a:gd name="connsiteX10" fmla="*/ 434340 w 1900238"/>
                    <a:gd name="connsiteY10" fmla="*/ 242916 h 277206"/>
                    <a:gd name="connsiteX11" fmla="*/ 454343 w 1900238"/>
                    <a:gd name="connsiteY11" fmla="*/ 240059 h 277206"/>
                    <a:gd name="connsiteX12" fmla="*/ 491490 w 1900238"/>
                    <a:gd name="connsiteY12" fmla="*/ 237201 h 277206"/>
                    <a:gd name="connsiteX13" fmla="*/ 534353 w 1900238"/>
                    <a:gd name="connsiteY13" fmla="*/ 231486 h 277206"/>
                    <a:gd name="connsiteX14" fmla="*/ 585788 w 1900238"/>
                    <a:gd name="connsiteY14" fmla="*/ 228629 h 277206"/>
                    <a:gd name="connsiteX15" fmla="*/ 648653 w 1900238"/>
                    <a:gd name="connsiteY15" fmla="*/ 222914 h 277206"/>
                    <a:gd name="connsiteX16" fmla="*/ 700088 w 1900238"/>
                    <a:gd name="connsiteY16" fmla="*/ 217199 h 277206"/>
                    <a:gd name="connsiteX17" fmla="*/ 762953 w 1900238"/>
                    <a:gd name="connsiteY17" fmla="*/ 211484 h 277206"/>
                    <a:gd name="connsiteX18" fmla="*/ 774383 w 1900238"/>
                    <a:gd name="connsiteY18" fmla="*/ 208626 h 277206"/>
                    <a:gd name="connsiteX19" fmla="*/ 788670 w 1900238"/>
                    <a:gd name="connsiteY19" fmla="*/ 205769 h 277206"/>
                    <a:gd name="connsiteX20" fmla="*/ 817245 w 1900238"/>
                    <a:gd name="connsiteY20" fmla="*/ 202911 h 277206"/>
                    <a:gd name="connsiteX21" fmla="*/ 851535 w 1900238"/>
                    <a:gd name="connsiteY21" fmla="*/ 197196 h 277206"/>
                    <a:gd name="connsiteX22" fmla="*/ 880110 w 1900238"/>
                    <a:gd name="connsiteY22" fmla="*/ 194339 h 277206"/>
                    <a:gd name="connsiteX23" fmla="*/ 914400 w 1900238"/>
                    <a:gd name="connsiteY23" fmla="*/ 188624 h 277206"/>
                    <a:gd name="connsiteX24" fmla="*/ 982980 w 1900238"/>
                    <a:gd name="connsiteY24" fmla="*/ 182909 h 277206"/>
                    <a:gd name="connsiteX25" fmla="*/ 1011555 w 1900238"/>
                    <a:gd name="connsiteY25" fmla="*/ 177194 h 277206"/>
                    <a:gd name="connsiteX26" fmla="*/ 1060133 w 1900238"/>
                    <a:gd name="connsiteY26" fmla="*/ 174336 h 277206"/>
                    <a:gd name="connsiteX27" fmla="*/ 1094423 w 1900238"/>
                    <a:gd name="connsiteY27" fmla="*/ 171479 h 277206"/>
                    <a:gd name="connsiteX28" fmla="*/ 1114425 w 1900238"/>
                    <a:gd name="connsiteY28" fmla="*/ 165764 h 277206"/>
                    <a:gd name="connsiteX29" fmla="*/ 1131570 w 1900238"/>
                    <a:gd name="connsiteY29" fmla="*/ 160049 h 277206"/>
                    <a:gd name="connsiteX30" fmla="*/ 1180148 w 1900238"/>
                    <a:gd name="connsiteY30" fmla="*/ 151476 h 277206"/>
                    <a:gd name="connsiteX31" fmla="*/ 1211580 w 1900238"/>
                    <a:gd name="connsiteY31" fmla="*/ 145761 h 277206"/>
                    <a:gd name="connsiteX32" fmla="*/ 1231583 w 1900238"/>
                    <a:gd name="connsiteY32" fmla="*/ 142904 h 277206"/>
                    <a:gd name="connsiteX33" fmla="*/ 1268730 w 1900238"/>
                    <a:gd name="connsiteY33" fmla="*/ 140046 h 277206"/>
                    <a:gd name="connsiteX34" fmla="*/ 1300163 w 1900238"/>
                    <a:gd name="connsiteY34" fmla="*/ 134331 h 277206"/>
                    <a:gd name="connsiteX35" fmla="*/ 1343025 w 1900238"/>
                    <a:gd name="connsiteY35" fmla="*/ 128616 h 277206"/>
                    <a:gd name="connsiteX36" fmla="*/ 1354455 w 1900238"/>
                    <a:gd name="connsiteY36" fmla="*/ 125759 h 277206"/>
                    <a:gd name="connsiteX37" fmla="*/ 1371600 w 1900238"/>
                    <a:gd name="connsiteY37" fmla="*/ 120044 h 277206"/>
                    <a:gd name="connsiteX38" fmla="*/ 1388745 w 1900238"/>
                    <a:gd name="connsiteY38" fmla="*/ 111471 h 277206"/>
                    <a:gd name="connsiteX39" fmla="*/ 1405890 w 1900238"/>
                    <a:gd name="connsiteY39" fmla="*/ 102899 h 277206"/>
                    <a:gd name="connsiteX40" fmla="*/ 1414463 w 1900238"/>
                    <a:gd name="connsiteY40" fmla="*/ 97184 h 277206"/>
                    <a:gd name="connsiteX41" fmla="*/ 1451610 w 1900238"/>
                    <a:gd name="connsiteY41" fmla="*/ 91469 h 277206"/>
                    <a:gd name="connsiteX42" fmla="*/ 1485900 w 1900238"/>
                    <a:gd name="connsiteY42" fmla="*/ 85754 h 277206"/>
                    <a:gd name="connsiteX43" fmla="*/ 1497330 w 1900238"/>
                    <a:gd name="connsiteY43" fmla="*/ 82896 h 277206"/>
                    <a:gd name="connsiteX44" fmla="*/ 1514475 w 1900238"/>
                    <a:gd name="connsiteY44" fmla="*/ 77181 h 277206"/>
                    <a:gd name="connsiteX45" fmla="*/ 1531620 w 1900238"/>
                    <a:gd name="connsiteY45" fmla="*/ 74324 h 277206"/>
                    <a:gd name="connsiteX46" fmla="*/ 1554480 w 1900238"/>
                    <a:gd name="connsiteY46" fmla="*/ 71466 h 277206"/>
                    <a:gd name="connsiteX47" fmla="*/ 1583055 w 1900238"/>
                    <a:gd name="connsiteY47" fmla="*/ 65751 h 277206"/>
                    <a:gd name="connsiteX48" fmla="*/ 1660208 w 1900238"/>
                    <a:gd name="connsiteY48" fmla="*/ 62894 h 277206"/>
                    <a:gd name="connsiteX49" fmla="*/ 1680210 w 1900238"/>
                    <a:gd name="connsiteY49" fmla="*/ 57179 h 277206"/>
                    <a:gd name="connsiteX50" fmla="*/ 1705928 w 1900238"/>
                    <a:gd name="connsiteY50" fmla="*/ 51464 h 277206"/>
                    <a:gd name="connsiteX51" fmla="*/ 1714500 w 1900238"/>
                    <a:gd name="connsiteY51" fmla="*/ 45749 h 277206"/>
                    <a:gd name="connsiteX52" fmla="*/ 1731645 w 1900238"/>
                    <a:gd name="connsiteY52" fmla="*/ 40034 h 277206"/>
                    <a:gd name="connsiteX53" fmla="*/ 1751648 w 1900238"/>
                    <a:gd name="connsiteY53" fmla="*/ 34319 h 277206"/>
                    <a:gd name="connsiteX54" fmla="*/ 1768793 w 1900238"/>
                    <a:gd name="connsiteY54" fmla="*/ 31461 h 277206"/>
                    <a:gd name="connsiteX55" fmla="*/ 1797368 w 1900238"/>
                    <a:gd name="connsiteY55" fmla="*/ 14316 h 277206"/>
                    <a:gd name="connsiteX56" fmla="*/ 1805940 w 1900238"/>
                    <a:gd name="connsiteY56" fmla="*/ 8601 h 277206"/>
                    <a:gd name="connsiteX57" fmla="*/ 1843088 w 1900238"/>
                    <a:gd name="connsiteY57" fmla="*/ 29 h 277206"/>
                    <a:gd name="connsiteX58" fmla="*/ 1863091 w 1900238"/>
                    <a:gd name="connsiteY58" fmla="*/ 5744 h 277206"/>
                    <a:gd name="connsiteX59" fmla="*/ 1900238 w 1900238"/>
                    <a:gd name="connsiteY59" fmla="*/ 2886 h 277206"/>
                    <a:gd name="connsiteX0" fmla="*/ 0 w 1900238"/>
                    <a:gd name="connsiteY0" fmla="*/ 274320 h 274320"/>
                    <a:gd name="connsiteX1" fmla="*/ 82868 w 1900238"/>
                    <a:gd name="connsiteY1" fmla="*/ 271463 h 274320"/>
                    <a:gd name="connsiteX2" fmla="*/ 94298 w 1900238"/>
                    <a:gd name="connsiteY2" fmla="*/ 268605 h 274320"/>
                    <a:gd name="connsiteX3" fmla="*/ 117158 w 1900238"/>
                    <a:gd name="connsiteY3" fmla="*/ 265748 h 274320"/>
                    <a:gd name="connsiteX4" fmla="*/ 168593 w 1900238"/>
                    <a:gd name="connsiteY4" fmla="*/ 262890 h 274320"/>
                    <a:gd name="connsiteX5" fmla="*/ 214313 w 1900238"/>
                    <a:gd name="connsiteY5" fmla="*/ 257175 h 274320"/>
                    <a:gd name="connsiteX6" fmla="*/ 280035 w 1900238"/>
                    <a:gd name="connsiteY6" fmla="*/ 254318 h 274320"/>
                    <a:gd name="connsiteX7" fmla="*/ 331470 w 1900238"/>
                    <a:gd name="connsiteY7" fmla="*/ 248603 h 274320"/>
                    <a:gd name="connsiteX8" fmla="*/ 348615 w 1900238"/>
                    <a:gd name="connsiteY8" fmla="*/ 245745 h 274320"/>
                    <a:gd name="connsiteX9" fmla="*/ 411480 w 1900238"/>
                    <a:gd name="connsiteY9" fmla="*/ 242888 h 274320"/>
                    <a:gd name="connsiteX10" fmla="*/ 434340 w 1900238"/>
                    <a:gd name="connsiteY10" fmla="*/ 240030 h 274320"/>
                    <a:gd name="connsiteX11" fmla="*/ 454343 w 1900238"/>
                    <a:gd name="connsiteY11" fmla="*/ 237173 h 274320"/>
                    <a:gd name="connsiteX12" fmla="*/ 491490 w 1900238"/>
                    <a:gd name="connsiteY12" fmla="*/ 234315 h 274320"/>
                    <a:gd name="connsiteX13" fmla="*/ 534353 w 1900238"/>
                    <a:gd name="connsiteY13" fmla="*/ 228600 h 274320"/>
                    <a:gd name="connsiteX14" fmla="*/ 585788 w 1900238"/>
                    <a:gd name="connsiteY14" fmla="*/ 225743 h 274320"/>
                    <a:gd name="connsiteX15" fmla="*/ 648653 w 1900238"/>
                    <a:gd name="connsiteY15" fmla="*/ 220028 h 274320"/>
                    <a:gd name="connsiteX16" fmla="*/ 700088 w 1900238"/>
                    <a:gd name="connsiteY16" fmla="*/ 214313 h 274320"/>
                    <a:gd name="connsiteX17" fmla="*/ 762953 w 1900238"/>
                    <a:gd name="connsiteY17" fmla="*/ 208598 h 274320"/>
                    <a:gd name="connsiteX18" fmla="*/ 774383 w 1900238"/>
                    <a:gd name="connsiteY18" fmla="*/ 205740 h 274320"/>
                    <a:gd name="connsiteX19" fmla="*/ 788670 w 1900238"/>
                    <a:gd name="connsiteY19" fmla="*/ 202883 h 274320"/>
                    <a:gd name="connsiteX20" fmla="*/ 817245 w 1900238"/>
                    <a:gd name="connsiteY20" fmla="*/ 200025 h 274320"/>
                    <a:gd name="connsiteX21" fmla="*/ 851535 w 1900238"/>
                    <a:gd name="connsiteY21" fmla="*/ 194310 h 274320"/>
                    <a:gd name="connsiteX22" fmla="*/ 880110 w 1900238"/>
                    <a:gd name="connsiteY22" fmla="*/ 191453 h 274320"/>
                    <a:gd name="connsiteX23" fmla="*/ 914400 w 1900238"/>
                    <a:gd name="connsiteY23" fmla="*/ 185738 h 274320"/>
                    <a:gd name="connsiteX24" fmla="*/ 982980 w 1900238"/>
                    <a:gd name="connsiteY24" fmla="*/ 180023 h 274320"/>
                    <a:gd name="connsiteX25" fmla="*/ 1011555 w 1900238"/>
                    <a:gd name="connsiteY25" fmla="*/ 174308 h 274320"/>
                    <a:gd name="connsiteX26" fmla="*/ 1060133 w 1900238"/>
                    <a:gd name="connsiteY26" fmla="*/ 171450 h 274320"/>
                    <a:gd name="connsiteX27" fmla="*/ 1094423 w 1900238"/>
                    <a:gd name="connsiteY27" fmla="*/ 168593 h 274320"/>
                    <a:gd name="connsiteX28" fmla="*/ 1114425 w 1900238"/>
                    <a:gd name="connsiteY28" fmla="*/ 162878 h 274320"/>
                    <a:gd name="connsiteX29" fmla="*/ 1131570 w 1900238"/>
                    <a:gd name="connsiteY29" fmla="*/ 157163 h 274320"/>
                    <a:gd name="connsiteX30" fmla="*/ 1180148 w 1900238"/>
                    <a:gd name="connsiteY30" fmla="*/ 148590 h 274320"/>
                    <a:gd name="connsiteX31" fmla="*/ 1211580 w 1900238"/>
                    <a:gd name="connsiteY31" fmla="*/ 142875 h 274320"/>
                    <a:gd name="connsiteX32" fmla="*/ 1231583 w 1900238"/>
                    <a:gd name="connsiteY32" fmla="*/ 140018 h 274320"/>
                    <a:gd name="connsiteX33" fmla="*/ 1268730 w 1900238"/>
                    <a:gd name="connsiteY33" fmla="*/ 137160 h 274320"/>
                    <a:gd name="connsiteX34" fmla="*/ 1300163 w 1900238"/>
                    <a:gd name="connsiteY34" fmla="*/ 131445 h 274320"/>
                    <a:gd name="connsiteX35" fmla="*/ 1343025 w 1900238"/>
                    <a:gd name="connsiteY35" fmla="*/ 125730 h 274320"/>
                    <a:gd name="connsiteX36" fmla="*/ 1354455 w 1900238"/>
                    <a:gd name="connsiteY36" fmla="*/ 122873 h 274320"/>
                    <a:gd name="connsiteX37" fmla="*/ 1371600 w 1900238"/>
                    <a:gd name="connsiteY37" fmla="*/ 117158 h 274320"/>
                    <a:gd name="connsiteX38" fmla="*/ 1388745 w 1900238"/>
                    <a:gd name="connsiteY38" fmla="*/ 108585 h 274320"/>
                    <a:gd name="connsiteX39" fmla="*/ 1405890 w 1900238"/>
                    <a:gd name="connsiteY39" fmla="*/ 100013 h 274320"/>
                    <a:gd name="connsiteX40" fmla="*/ 1414463 w 1900238"/>
                    <a:gd name="connsiteY40" fmla="*/ 94298 h 274320"/>
                    <a:gd name="connsiteX41" fmla="*/ 1451610 w 1900238"/>
                    <a:gd name="connsiteY41" fmla="*/ 88583 h 274320"/>
                    <a:gd name="connsiteX42" fmla="*/ 1485900 w 1900238"/>
                    <a:gd name="connsiteY42" fmla="*/ 82868 h 274320"/>
                    <a:gd name="connsiteX43" fmla="*/ 1497330 w 1900238"/>
                    <a:gd name="connsiteY43" fmla="*/ 80010 h 274320"/>
                    <a:gd name="connsiteX44" fmla="*/ 1514475 w 1900238"/>
                    <a:gd name="connsiteY44" fmla="*/ 74295 h 274320"/>
                    <a:gd name="connsiteX45" fmla="*/ 1531620 w 1900238"/>
                    <a:gd name="connsiteY45" fmla="*/ 71438 h 274320"/>
                    <a:gd name="connsiteX46" fmla="*/ 1554480 w 1900238"/>
                    <a:gd name="connsiteY46" fmla="*/ 68580 h 274320"/>
                    <a:gd name="connsiteX47" fmla="*/ 1583055 w 1900238"/>
                    <a:gd name="connsiteY47" fmla="*/ 62865 h 274320"/>
                    <a:gd name="connsiteX48" fmla="*/ 1660208 w 1900238"/>
                    <a:gd name="connsiteY48" fmla="*/ 60008 h 274320"/>
                    <a:gd name="connsiteX49" fmla="*/ 1680210 w 1900238"/>
                    <a:gd name="connsiteY49" fmla="*/ 54293 h 274320"/>
                    <a:gd name="connsiteX50" fmla="*/ 1705928 w 1900238"/>
                    <a:gd name="connsiteY50" fmla="*/ 48578 h 274320"/>
                    <a:gd name="connsiteX51" fmla="*/ 1714500 w 1900238"/>
                    <a:gd name="connsiteY51" fmla="*/ 42863 h 274320"/>
                    <a:gd name="connsiteX52" fmla="*/ 1731645 w 1900238"/>
                    <a:gd name="connsiteY52" fmla="*/ 37148 h 274320"/>
                    <a:gd name="connsiteX53" fmla="*/ 1751648 w 1900238"/>
                    <a:gd name="connsiteY53" fmla="*/ 31433 h 274320"/>
                    <a:gd name="connsiteX54" fmla="*/ 1768793 w 1900238"/>
                    <a:gd name="connsiteY54" fmla="*/ 28575 h 274320"/>
                    <a:gd name="connsiteX55" fmla="*/ 1797368 w 1900238"/>
                    <a:gd name="connsiteY55" fmla="*/ 11430 h 274320"/>
                    <a:gd name="connsiteX56" fmla="*/ 1805940 w 1900238"/>
                    <a:gd name="connsiteY56" fmla="*/ 5715 h 274320"/>
                    <a:gd name="connsiteX57" fmla="*/ 1840230 w 1900238"/>
                    <a:gd name="connsiteY57" fmla="*/ 2858 h 274320"/>
                    <a:gd name="connsiteX58" fmla="*/ 1863091 w 1900238"/>
                    <a:gd name="connsiteY58" fmla="*/ 2858 h 274320"/>
                    <a:gd name="connsiteX59" fmla="*/ 1900238 w 1900238"/>
                    <a:gd name="connsiteY59"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900238" h="274320">
                      <a:moveTo>
                        <a:pt x="0" y="274320"/>
                      </a:moveTo>
                      <a:cubicBezTo>
                        <a:pt x="27623" y="273368"/>
                        <a:pt x="55280" y="273135"/>
                        <a:pt x="82868" y="271463"/>
                      </a:cubicBezTo>
                      <a:cubicBezTo>
                        <a:pt x="86788" y="271225"/>
                        <a:pt x="90424" y="269251"/>
                        <a:pt x="94298" y="268605"/>
                      </a:cubicBezTo>
                      <a:cubicBezTo>
                        <a:pt x="101873" y="267343"/>
                        <a:pt x="109501" y="266337"/>
                        <a:pt x="117158" y="265748"/>
                      </a:cubicBezTo>
                      <a:cubicBezTo>
                        <a:pt x="134279" y="264431"/>
                        <a:pt x="151448" y="263843"/>
                        <a:pt x="168593" y="262890"/>
                      </a:cubicBezTo>
                      <a:cubicBezTo>
                        <a:pt x="188198" y="256356"/>
                        <a:pt x="177253" y="259234"/>
                        <a:pt x="214313" y="257175"/>
                      </a:cubicBezTo>
                      <a:cubicBezTo>
                        <a:pt x="236207" y="255959"/>
                        <a:pt x="258128" y="255270"/>
                        <a:pt x="280035" y="254318"/>
                      </a:cubicBezTo>
                      <a:cubicBezTo>
                        <a:pt x="318613" y="247887"/>
                        <a:pt x="271374" y="255280"/>
                        <a:pt x="331470" y="248603"/>
                      </a:cubicBezTo>
                      <a:cubicBezTo>
                        <a:pt x="337228" y="247963"/>
                        <a:pt x="342836" y="246158"/>
                        <a:pt x="348615" y="245745"/>
                      </a:cubicBezTo>
                      <a:cubicBezTo>
                        <a:pt x="369538" y="244250"/>
                        <a:pt x="390525" y="243840"/>
                        <a:pt x="411480" y="242888"/>
                      </a:cubicBezTo>
                      <a:lnTo>
                        <a:pt x="434340" y="240030"/>
                      </a:lnTo>
                      <a:cubicBezTo>
                        <a:pt x="441016" y="239140"/>
                        <a:pt x="447641" y="237843"/>
                        <a:pt x="454343" y="237173"/>
                      </a:cubicBezTo>
                      <a:cubicBezTo>
                        <a:pt x="466700" y="235937"/>
                        <a:pt x="479108" y="235268"/>
                        <a:pt x="491490" y="234315"/>
                      </a:cubicBezTo>
                      <a:cubicBezTo>
                        <a:pt x="508679" y="231451"/>
                        <a:pt x="515477" y="229998"/>
                        <a:pt x="534353" y="228600"/>
                      </a:cubicBezTo>
                      <a:cubicBezTo>
                        <a:pt x="551478" y="227332"/>
                        <a:pt x="568643" y="226695"/>
                        <a:pt x="585788" y="225743"/>
                      </a:cubicBezTo>
                      <a:cubicBezTo>
                        <a:pt x="615002" y="218438"/>
                        <a:pt x="588374" y="224334"/>
                        <a:pt x="648653" y="220028"/>
                      </a:cubicBezTo>
                      <a:cubicBezTo>
                        <a:pt x="665534" y="218822"/>
                        <a:pt x="683240" y="216419"/>
                        <a:pt x="700088" y="214313"/>
                      </a:cubicBezTo>
                      <a:cubicBezTo>
                        <a:pt x="730990" y="206586"/>
                        <a:pt x="695295" y="214749"/>
                        <a:pt x="762953" y="208598"/>
                      </a:cubicBezTo>
                      <a:cubicBezTo>
                        <a:pt x="766864" y="208242"/>
                        <a:pt x="770549" y="206592"/>
                        <a:pt x="774383" y="205740"/>
                      </a:cubicBezTo>
                      <a:cubicBezTo>
                        <a:pt x="779124" y="204686"/>
                        <a:pt x="783856" y="203525"/>
                        <a:pt x="788670" y="202883"/>
                      </a:cubicBezTo>
                      <a:cubicBezTo>
                        <a:pt x="798159" y="201618"/>
                        <a:pt x="807720" y="200978"/>
                        <a:pt x="817245" y="200025"/>
                      </a:cubicBezTo>
                      <a:cubicBezTo>
                        <a:pt x="833743" y="194527"/>
                        <a:pt x="823563" y="197254"/>
                        <a:pt x="851535" y="194310"/>
                      </a:cubicBezTo>
                      <a:lnTo>
                        <a:pt x="880110" y="191453"/>
                      </a:lnTo>
                      <a:cubicBezTo>
                        <a:pt x="897170" y="185766"/>
                        <a:pt x="884817" y="189218"/>
                        <a:pt x="914400" y="185738"/>
                      </a:cubicBezTo>
                      <a:cubicBezTo>
                        <a:pt x="957493" y="180668"/>
                        <a:pt x="919492" y="183990"/>
                        <a:pt x="982980" y="180023"/>
                      </a:cubicBezTo>
                      <a:cubicBezTo>
                        <a:pt x="993070" y="177500"/>
                        <a:pt x="1000806" y="175243"/>
                        <a:pt x="1011555" y="174308"/>
                      </a:cubicBezTo>
                      <a:cubicBezTo>
                        <a:pt x="1027715" y="172903"/>
                        <a:pt x="1043951" y="172566"/>
                        <a:pt x="1060133" y="171450"/>
                      </a:cubicBezTo>
                      <a:cubicBezTo>
                        <a:pt x="1071575" y="170661"/>
                        <a:pt x="1082993" y="169545"/>
                        <a:pt x="1094423" y="168593"/>
                      </a:cubicBezTo>
                      <a:cubicBezTo>
                        <a:pt x="1123193" y="159001"/>
                        <a:pt x="1078595" y="173626"/>
                        <a:pt x="1114425" y="162878"/>
                      </a:cubicBezTo>
                      <a:cubicBezTo>
                        <a:pt x="1120195" y="161147"/>
                        <a:pt x="1125663" y="158344"/>
                        <a:pt x="1131570" y="157163"/>
                      </a:cubicBezTo>
                      <a:cubicBezTo>
                        <a:pt x="1166750" y="150127"/>
                        <a:pt x="1150529" y="152822"/>
                        <a:pt x="1180148" y="148590"/>
                      </a:cubicBezTo>
                      <a:cubicBezTo>
                        <a:pt x="1196427" y="143164"/>
                        <a:pt x="1184657" y="146465"/>
                        <a:pt x="1211580" y="142875"/>
                      </a:cubicBezTo>
                      <a:cubicBezTo>
                        <a:pt x="1218256" y="141985"/>
                        <a:pt x="1224881" y="140688"/>
                        <a:pt x="1231583" y="140018"/>
                      </a:cubicBezTo>
                      <a:cubicBezTo>
                        <a:pt x="1243940" y="138782"/>
                        <a:pt x="1256373" y="138396"/>
                        <a:pt x="1268730" y="137160"/>
                      </a:cubicBezTo>
                      <a:cubicBezTo>
                        <a:pt x="1315804" y="132453"/>
                        <a:pt x="1268681" y="136692"/>
                        <a:pt x="1300163" y="131445"/>
                      </a:cubicBezTo>
                      <a:cubicBezTo>
                        <a:pt x="1330112" y="126453"/>
                        <a:pt x="1315065" y="130814"/>
                        <a:pt x="1343025" y="125730"/>
                      </a:cubicBezTo>
                      <a:cubicBezTo>
                        <a:pt x="1346889" y="125027"/>
                        <a:pt x="1350693" y="124001"/>
                        <a:pt x="1354455" y="122873"/>
                      </a:cubicBezTo>
                      <a:cubicBezTo>
                        <a:pt x="1360225" y="121142"/>
                        <a:pt x="1371600" y="117158"/>
                        <a:pt x="1371600" y="117158"/>
                      </a:cubicBezTo>
                      <a:cubicBezTo>
                        <a:pt x="1396170" y="100779"/>
                        <a:pt x="1365083" y="120416"/>
                        <a:pt x="1388745" y="108585"/>
                      </a:cubicBezTo>
                      <a:cubicBezTo>
                        <a:pt x="1410894" y="97510"/>
                        <a:pt x="1384352" y="107192"/>
                        <a:pt x="1405890" y="100013"/>
                      </a:cubicBezTo>
                      <a:cubicBezTo>
                        <a:pt x="1408748" y="98108"/>
                        <a:pt x="1411205" y="95384"/>
                        <a:pt x="1414463" y="94298"/>
                      </a:cubicBezTo>
                      <a:cubicBezTo>
                        <a:pt x="1417442" y="93305"/>
                        <a:pt x="1450062" y="88804"/>
                        <a:pt x="1451610" y="88583"/>
                      </a:cubicBezTo>
                      <a:cubicBezTo>
                        <a:pt x="1470753" y="82201"/>
                        <a:pt x="1450352" y="88337"/>
                        <a:pt x="1485900" y="82868"/>
                      </a:cubicBezTo>
                      <a:cubicBezTo>
                        <a:pt x="1489782" y="82271"/>
                        <a:pt x="1493568" y="81139"/>
                        <a:pt x="1497330" y="80010"/>
                      </a:cubicBezTo>
                      <a:cubicBezTo>
                        <a:pt x="1503100" y="78279"/>
                        <a:pt x="1508533" y="75285"/>
                        <a:pt x="1514475" y="74295"/>
                      </a:cubicBezTo>
                      <a:cubicBezTo>
                        <a:pt x="1520190" y="73343"/>
                        <a:pt x="1525884" y="72257"/>
                        <a:pt x="1531620" y="71438"/>
                      </a:cubicBezTo>
                      <a:cubicBezTo>
                        <a:pt x="1539222" y="70352"/>
                        <a:pt x="1546905" y="69842"/>
                        <a:pt x="1554480" y="68580"/>
                      </a:cubicBezTo>
                      <a:cubicBezTo>
                        <a:pt x="1570670" y="65882"/>
                        <a:pt x="1563306" y="64062"/>
                        <a:pt x="1583055" y="62865"/>
                      </a:cubicBezTo>
                      <a:cubicBezTo>
                        <a:pt x="1608743" y="61308"/>
                        <a:pt x="1634490" y="60960"/>
                        <a:pt x="1660208" y="60008"/>
                      </a:cubicBezTo>
                      <a:cubicBezTo>
                        <a:pt x="1668384" y="57282"/>
                        <a:pt x="1671232" y="56089"/>
                        <a:pt x="1680210" y="54293"/>
                      </a:cubicBezTo>
                      <a:cubicBezTo>
                        <a:pt x="1705354" y="49264"/>
                        <a:pt x="1689245" y="54138"/>
                        <a:pt x="1705928" y="48578"/>
                      </a:cubicBezTo>
                      <a:cubicBezTo>
                        <a:pt x="1708785" y="46673"/>
                        <a:pt x="1711362" y="44258"/>
                        <a:pt x="1714500" y="42863"/>
                      </a:cubicBezTo>
                      <a:cubicBezTo>
                        <a:pt x="1720005" y="40416"/>
                        <a:pt x="1725930" y="39053"/>
                        <a:pt x="1731645" y="37148"/>
                      </a:cubicBezTo>
                      <a:cubicBezTo>
                        <a:pt x="1739822" y="34422"/>
                        <a:pt x="1742669" y="33229"/>
                        <a:pt x="1751648" y="31433"/>
                      </a:cubicBezTo>
                      <a:cubicBezTo>
                        <a:pt x="1757329" y="30297"/>
                        <a:pt x="1763078" y="29528"/>
                        <a:pt x="1768793" y="28575"/>
                      </a:cubicBezTo>
                      <a:cubicBezTo>
                        <a:pt x="1786365" y="19789"/>
                        <a:pt x="1776680" y="25222"/>
                        <a:pt x="1797368" y="11430"/>
                      </a:cubicBezTo>
                      <a:cubicBezTo>
                        <a:pt x="1800225" y="9525"/>
                        <a:pt x="1798796" y="7144"/>
                        <a:pt x="1805940" y="5715"/>
                      </a:cubicBezTo>
                      <a:cubicBezTo>
                        <a:pt x="1813084" y="4286"/>
                        <a:pt x="1830705" y="3334"/>
                        <a:pt x="1840230" y="2858"/>
                      </a:cubicBezTo>
                      <a:cubicBezTo>
                        <a:pt x="1849755" y="2382"/>
                        <a:pt x="1853090" y="3334"/>
                        <a:pt x="1863091" y="2858"/>
                      </a:cubicBezTo>
                      <a:cubicBezTo>
                        <a:pt x="1873092" y="2382"/>
                        <a:pt x="1887856" y="0"/>
                        <a:pt x="1900238" y="0"/>
                      </a:cubicBezTo>
                    </a:path>
                  </a:pathLst>
                </a:custGeom>
                <a:noFill/>
                <a:ln w="19050">
                  <a:solidFill>
                    <a:srgbClr val="8278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a:solidFill>
                      <a:srgbClr val="FFFFFF"/>
                    </a:solidFill>
                  </a:endParaRPr>
                </a:p>
              </p:txBody>
            </p:sp>
            <p:sp>
              <p:nvSpPr>
                <p:cNvPr id="85" name="Freeform 84"/>
                <p:cNvSpPr/>
                <p:nvPr/>
              </p:nvSpPr>
              <p:spPr>
                <a:xfrm>
                  <a:off x="1401452" y="3261667"/>
                  <a:ext cx="4540577" cy="531051"/>
                </a:xfrm>
                <a:custGeom>
                  <a:avLst/>
                  <a:gdLst>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67958 w 4540577"/>
                    <a:gd name="connsiteY84" fmla="*/ 144552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30424 w 4540577"/>
                    <a:gd name="connsiteY97" fmla="*/ 91133 h 531051"/>
                    <a:gd name="connsiteX98" fmla="*/ 3861847 w 4540577"/>
                    <a:gd name="connsiteY98" fmla="*/ 94275 h 531051"/>
                    <a:gd name="connsiteX99" fmla="*/ 3877558 w 4540577"/>
                    <a:gd name="connsiteY99" fmla="*/ 97418 h 531051"/>
                    <a:gd name="connsiteX100" fmla="*/ 3937261 w 4540577"/>
                    <a:gd name="connsiteY100" fmla="*/ 91133 h 531051"/>
                    <a:gd name="connsiteX101" fmla="*/ 3965542 w 4540577"/>
                    <a:gd name="connsiteY101" fmla="*/ 81706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67958 w 4540577"/>
                    <a:gd name="connsiteY84" fmla="*/ 144552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61847 w 4540577"/>
                    <a:gd name="connsiteY98" fmla="*/ 94275 h 531051"/>
                    <a:gd name="connsiteX99" fmla="*/ 3877558 w 4540577"/>
                    <a:gd name="connsiteY99" fmla="*/ 97418 h 531051"/>
                    <a:gd name="connsiteX100" fmla="*/ 3937261 w 4540577"/>
                    <a:gd name="connsiteY100" fmla="*/ 91133 h 531051"/>
                    <a:gd name="connsiteX101" fmla="*/ 3965542 w 4540577"/>
                    <a:gd name="connsiteY101" fmla="*/ 81706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67958 w 4540577"/>
                    <a:gd name="connsiteY84" fmla="*/ 144552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61847 w 4540577"/>
                    <a:gd name="connsiteY98" fmla="*/ 94275 h 531051"/>
                    <a:gd name="connsiteX99" fmla="*/ 3877558 w 4540577"/>
                    <a:gd name="connsiteY99" fmla="*/ 80273 h 531051"/>
                    <a:gd name="connsiteX100" fmla="*/ 3937261 w 4540577"/>
                    <a:gd name="connsiteY100" fmla="*/ 91133 h 531051"/>
                    <a:gd name="connsiteX101" fmla="*/ 3965542 w 4540577"/>
                    <a:gd name="connsiteY101" fmla="*/ 81706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67958 w 4540577"/>
                    <a:gd name="connsiteY84" fmla="*/ 144552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61847 w 4540577"/>
                    <a:gd name="connsiteY98" fmla="*/ 94275 h 531051"/>
                    <a:gd name="connsiteX99" fmla="*/ 3871843 w 4540577"/>
                    <a:gd name="connsiteY99" fmla="*/ 68843 h 531051"/>
                    <a:gd name="connsiteX100" fmla="*/ 3937261 w 4540577"/>
                    <a:gd name="connsiteY100" fmla="*/ 91133 h 531051"/>
                    <a:gd name="connsiteX101" fmla="*/ 3965542 w 4540577"/>
                    <a:gd name="connsiteY101" fmla="*/ 81706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67958 w 4540577"/>
                    <a:gd name="connsiteY84" fmla="*/ 144552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44702 w 4540577"/>
                    <a:gd name="connsiteY98" fmla="*/ 77130 h 531051"/>
                    <a:gd name="connsiteX99" fmla="*/ 3871843 w 4540577"/>
                    <a:gd name="connsiteY99" fmla="*/ 68843 h 531051"/>
                    <a:gd name="connsiteX100" fmla="*/ 3937261 w 4540577"/>
                    <a:gd name="connsiteY100" fmla="*/ 91133 h 531051"/>
                    <a:gd name="connsiteX101" fmla="*/ 3965542 w 4540577"/>
                    <a:gd name="connsiteY101" fmla="*/ 81706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67958 w 4540577"/>
                    <a:gd name="connsiteY84" fmla="*/ 144552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44702 w 4540577"/>
                    <a:gd name="connsiteY98" fmla="*/ 77130 h 531051"/>
                    <a:gd name="connsiteX99" fmla="*/ 3888988 w 4540577"/>
                    <a:gd name="connsiteY99" fmla="*/ 80273 h 531051"/>
                    <a:gd name="connsiteX100" fmla="*/ 3937261 w 4540577"/>
                    <a:gd name="connsiteY100" fmla="*/ 91133 h 531051"/>
                    <a:gd name="connsiteX101" fmla="*/ 3965542 w 4540577"/>
                    <a:gd name="connsiteY101" fmla="*/ 81706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67958 w 4540577"/>
                    <a:gd name="connsiteY84" fmla="*/ 144552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44702 w 4540577"/>
                    <a:gd name="connsiteY98" fmla="*/ 77130 h 531051"/>
                    <a:gd name="connsiteX99" fmla="*/ 3888988 w 4540577"/>
                    <a:gd name="connsiteY99" fmla="*/ 80273 h 531051"/>
                    <a:gd name="connsiteX100" fmla="*/ 3937261 w 4540577"/>
                    <a:gd name="connsiteY100" fmla="*/ 76845 h 531051"/>
                    <a:gd name="connsiteX101" fmla="*/ 3965542 w 4540577"/>
                    <a:gd name="connsiteY101" fmla="*/ 81706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67958 w 4540577"/>
                    <a:gd name="connsiteY84" fmla="*/ 144552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44702 w 4540577"/>
                    <a:gd name="connsiteY98" fmla="*/ 77130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67958 w 4540577"/>
                    <a:gd name="connsiteY84" fmla="*/ 144552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2247 w 4540577"/>
                    <a:gd name="connsiteY83" fmla="*/ 147694 h 531051"/>
                    <a:gd name="connsiteX84" fmla="*/ 3290818 w 4540577"/>
                    <a:gd name="connsiteY84" fmla="*/ 147409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7962 w 4540577"/>
                    <a:gd name="connsiteY83" fmla="*/ 150552 h 531051"/>
                    <a:gd name="connsiteX84" fmla="*/ 3290818 w 4540577"/>
                    <a:gd name="connsiteY84" fmla="*/ 147409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0824 w 4540577"/>
                    <a:gd name="connsiteY82" fmla="*/ 153978 h 531051"/>
                    <a:gd name="connsiteX83" fmla="*/ 3257962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8828 w 4540577"/>
                    <a:gd name="connsiteY81" fmla="*/ 157121 h 531051"/>
                    <a:gd name="connsiteX82" fmla="*/ 3223681 w 4540577"/>
                    <a:gd name="connsiteY82" fmla="*/ 159693 h 531051"/>
                    <a:gd name="connsiteX83" fmla="*/ 3257962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8551 h 531051"/>
                    <a:gd name="connsiteX82" fmla="*/ 3223681 w 4540577"/>
                    <a:gd name="connsiteY82" fmla="*/ 159693 h 531051"/>
                    <a:gd name="connsiteX83" fmla="*/ 3257962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8551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26383 w 4540577"/>
                    <a:gd name="connsiteY66" fmla="*/ 232535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0713 w 4540577"/>
                    <a:gd name="connsiteY61" fmla="*/ 257673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416404 w 4540577"/>
                    <a:gd name="connsiteY64" fmla="*/ 241962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72066 w 4540577"/>
                    <a:gd name="connsiteY30" fmla="*/ 405360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06837 w 4540577"/>
                    <a:gd name="connsiteY3" fmla="*/ 518481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63397 w 4540577"/>
                    <a:gd name="connsiteY4" fmla="*/ 512197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01105 w 4540577"/>
                    <a:gd name="connsiteY5" fmla="*/ 505912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406218 w 4540577"/>
                    <a:gd name="connsiteY85" fmla="*/ 135125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389073 w 4540577"/>
                    <a:gd name="connsiteY85" fmla="*/ 140840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389073 w 4540577"/>
                    <a:gd name="connsiteY85" fmla="*/ 140840 h 531051"/>
                    <a:gd name="connsiteX86" fmla="*/ 3450210 w 4540577"/>
                    <a:gd name="connsiteY86" fmla="*/ 128840 h 531051"/>
                    <a:gd name="connsiteX87" fmla="*/ 3465921 w 4540577"/>
                    <a:gd name="connsiteY87" fmla="*/ 125698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389073 w 4540577"/>
                    <a:gd name="connsiteY85" fmla="*/ 140840 h 531051"/>
                    <a:gd name="connsiteX86" fmla="*/ 3450210 w 4540577"/>
                    <a:gd name="connsiteY86" fmla="*/ 128840 h 531051"/>
                    <a:gd name="connsiteX87" fmla="*/ 3477351 w 4540577"/>
                    <a:gd name="connsiteY87" fmla="*/ 131413 h 531051"/>
                    <a:gd name="connsiteX88" fmla="*/ 3503628 w 4540577"/>
                    <a:gd name="connsiteY88" fmla="*/ 122556 h 531051"/>
                    <a:gd name="connsiteX89" fmla="*/ 3535051 w 4540577"/>
                    <a:gd name="connsiteY89" fmla="*/ 119413 h 531051"/>
                    <a:gd name="connsiteX90" fmla="*/ 3547620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389073 w 4540577"/>
                    <a:gd name="connsiteY85" fmla="*/ 140840 h 531051"/>
                    <a:gd name="connsiteX86" fmla="*/ 3450210 w 4540577"/>
                    <a:gd name="connsiteY86" fmla="*/ 128840 h 531051"/>
                    <a:gd name="connsiteX87" fmla="*/ 3477351 w 4540577"/>
                    <a:gd name="connsiteY87" fmla="*/ 131413 h 531051"/>
                    <a:gd name="connsiteX88" fmla="*/ 3503628 w 4540577"/>
                    <a:gd name="connsiteY88" fmla="*/ 122556 h 531051"/>
                    <a:gd name="connsiteX89" fmla="*/ 3535051 w 4540577"/>
                    <a:gd name="connsiteY89" fmla="*/ 119413 h 531051"/>
                    <a:gd name="connsiteX90" fmla="*/ 3561907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094375 w 4540577"/>
                    <a:gd name="connsiteY107" fmla="*/ 53426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389073 w 4540577"/>
                    <a:gd name="connsiteY85" fmla="*/ 140840 h 531051"/>
                    <a:gd name="connsiteX86" fmla="*/ 3450210 w 4540577"/>
                    <a:gd name="connsiteY86" fmla="*/ 128840 h 531051"/>
                    <a:gd name="connsiteX87" fmla="*/ 3477351 w 4540577"/>
                    <a:gd name="connsiteY87" fmla="*/ 131413 h 531051"/>
                    <a:gd name="connsiteX88" fmla="*/ 3503628 w 4540577"/>
                    <a:gd name="connsiteY88" fmla="*/ 122556 h 531051"/>
                    <a:gd name="connsiteX89" fmla="*/ 3535051 w 4540577"/>
                    <a:gd name="connsiteY89" fmla="*/ 119413 h 531051"/>
                    <a:gd name="connsiteX90" fmla="*/ 3561907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56568 h 531051"/>
                    <a:gd name="connsiteX107" fmla="*/ 4111520 w 4540577"/>
                    <a:gd name="connsiteY107" fmla="*/ 59141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389073 w 4540577"/>
                    <a:gd name="connsiteY85" fmla="*/ 140840 h 531051"/>
                    <a:gd name="connsiteX86" fmla="*/ 3450210 w 4540577"/>
                    <a:gd name="connsiteY86" fmla="*/ 128840 h 531051"/>
                    <a:gd name="connsiteX87" fmla="*/ 3477351 w 4540577"/>
                    <a:gd name="connsiteY87" fmla="*/ 131413 h 531051"/>
                    <a:gd name="connsiteX88" fmla="*/ 3503628 w 4540577"/>
                    <a:gd name="connsiteY88" fmla="*/ 122556 h 531051"/>
                    <a:gd name="connsiteX89" fmla="*/ 3535051 w 4540577"/>
                    <a:gd name="connsiteY89" fmla="*/ 119413 h 531051"/>
                    <a:gd name="connsiteX90" fmla="*/ 3561907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65141 h 531051"/>
                    <a:gd name="connsiteX107" fmla="*/ 4111520 w 4540577"/>
                    <a:gd name="connsiteY107" fmla="*/ 59141 h 531051"/>
                    <a:gd name="connsiteX108" fmla="*/ 4150936 w 4540577"/>
                    <a:gd name="connsiteY108" fmla="*/ 47141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389073 w 4540577"/>
                    <a:gd name="connsiteY85" fmla="*/ 140840 h 531051"/>
                    <a:gd name="connsiteX86" fmla="*/ 3450210 w 4540577"/>
                    <a:gd name="connsiteY86" fmla="*/ 128840 h 531051"/>
                    <a:gd name="connsiteX87" fmla="*/ 3477351 w 4540577"/>
                    <a:gd name="connsiteY87" fmla="*/ 131413 h 531051"/>
                    <a:gd name="connsiteX88" fmla="*/ 3503628 w 4540577"/>
                    <a:gd name="connsiteY88" fmla="*/ 122556 h 531051"/>
                    <a:gd name="connsiteX89" fmla="*/ 3535051 w 4540577"/>
                    <a:gd name="connsiteY89" fmla="*/ 119413 h 531051"/>
                    <a:gd name="connsiteX90" fmla="*/ 3561907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65141 h 531051"/>
                    <a:gd name="connsiteX107" fmla="*/ 4111520 w 4540577"/>
                    <a:gd name="connsiteY107" fmla="*/ 59141 h 531051"/>
                    <a:gd name="connsiteX108" fmla="*/ 4162366 w 4540577"/>
                    <a:gd name="connsiteY108" fmla="*/ 49998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389073 w 4540577"/>
                    <a:gd name="connsiteY85" fmla="*/ 140840 h 531051"/>
                    <a:gd name="connsiteX86" fmla="*/ 3450210 w 4540577"/>
                    <a:gd name="connsiteY86" fmla="*/ 128840 h 531051"/>
                    <a:gd name="connsiteX87" fmla="*/ 3477351 w 4540577"/>
                    <a:gd name="connsiteY87" fmla="*/ 131413 h 531051"/>
                    <a:gd name="connsiteX88" fmla="*/ 3503628 w 4540577"/>
                    <a:gd name="connsiteY88" fmla="*/ 122556 h 531051"/>
                    <a:gd name="connsiteX89" fmla="*/ 3535051 w 4540577"/>
                    <a:gd name="connsiteY89" fmla="*/ 119413 h 531051"/>
                    <a:gd name="connsiteX90" fmla="*/ 3561907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65141 h 531051"/>
                    <a:gd name="connsiteX107" fmla="*/ 4111520 w 4540577"/>
                    <a:gd name="connsiteY107" fmla="*/ 59141 h 531051"/>
                    <a:gd name="connsiteX108" fmla="*/ 4162366 w 4540577"/>
                    <a:gd name="connsiteY108" fmla="*/ 49998 h 531051"/>
                    <a:gd name="connsiteX109" fmla="*/ 4223208 w 4540577"/>
                    <a:gd name="connsiteY109" fmla="*/ 37714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 name="connsiteX0" fmla="*/ 0 w 4540577"/>
                    <a:gd name="connsiteY0" fmla="*/ 531051 h 531051"/>
                    <a:gd name="connsiteX1" fmla="*/ 84841 w 4540577"/>
                    <a:gd name="connsiteY1" fmla="*/ 524766 h 531051"/>
                    <a:gd name="connsiteX2" fmla="*/ 97410 w 4540577"/>
                    <a:gd name="connsiteY2" fmla="*/ 521624 h 531051"/>
                    <a:gd name="connsiteX3" fmla="*/ 123982 w 4540577"/>
                    <a:gd name="connsiteY3" fmla="*/ 524196 h 531051"/>
                    <a:gd name="connsiteX4" fmla="*/ 171970 w 4540577"/>
                    <a:gd name="connsiteY4" fmla="*/ 517912 h 531051"/>
                    <a:gd name="connsiteX5" fmla="*/ 212535 w 4540577"/>
                    <a:gd name="connsiteY5" fmla="*/ 511627 h 531051"/>
                    <a:gd name="connsiteX6" fmla="*/ 238812 w 4540577"/>
                    <a:gd name="connsiteY6" fmla="*/ 502770 h 531051"/>
                    <a:gd name="connsiteX7" fmla="*/ 251381 w 4540577"/>
                    <a:gd name="connsiteY7" fmla="*/ 499628 h 531051"/>
                    <a:gd name="connsiteX8" fmla="*/ 311084 w 4540577"/>
                    <a:gd name="connsiteY8" fmla="*/ 493343 h 531051"/>
                    <a:gd name="connsiteX9" fmla="*/ 329938 w 4540577"/>
                    <a:gd name="connsiteY9" fmla="*/ 490201 h 531051"/>
                    <a:gd name="connsiteX10" fmla="*/ 392783 w 4540577"/>
                    <a:gd name="connsiteY10" fmla="*/ 487059 h 531051"/>
                    <a:gd name="connsiteX11" fmla="*/ 411637 w 4540577"/>
                    <a:gd name="connsiteY11" fmla="*/ 483917 h 531051"/>
                    <a:gd name="connsiteX12" fmla="*/ 424206 w 4540577"/>
                    <a:gd name="connsiteY12" fmla="*/ 480774 h 531051"/>
                    <a:gd name="connsiteX13" fmla="*/ 480767 w 4540577"/>
                    <a:gd name="connsiteY13" fmla="*/ 477632 h 531051"/>
                    <a:gd name="connsiteX14" fmla="*/ 505905 w 4540577"/>
                    <a:gd name="connsiteY14" fmla="*/ 474490 h 531051"/>
                    <a:gd name="connsiteX15" fmla="*/ 518474 w 4540577"/>
                    <a:gd name="connsiteY15" fmla="*/ 471347 h 531051"/>
                    <a:gd name="connsiteX16" fmla="*/ 540470 w 4540577"/>
                    <a:gd name="connsiteY16" fmla="*/ 468205 h 531051"/>
                    <a:gd name="connsiteX17" fmla="*/ 559323 w 4540577"/>
                    <a:gd name="connsiteY17" fmla="*/ 465063 h 531051"/>
                    <a:gd name="connsiteX18" fmla="*/ 581319 w 4540577"/>
                    <a:gd name="connsiteY18" fmla="*/ 461921 h 531051"/>
                    <a:gd name="connsiteX19" fmla="*/ 619026 w 4540577"/>
                    <a:gd name="connsiteY19" fmla="*/ 455636 h 531051"/>
                    <a:gd name="connsiteX20" fmla="*/ 631595 w 4540577"/>
                    <a:gd name="connsiteY20" fmla="*/ 452494 h 531051"/>
                    <a:gd name="connsiteX21" fmla="*/ 659876 w 4540577"/>
                    <a:gd name="connsiteY21" fmla="*/ 449352 h 531051"/>
                    <a:gd name="connsiteX22" fmla="*/ 672445 w 4540577"/>
                    <a:gd name="connsiteY22" fmla="*/ 446209 h 531051"/>
                    <a:gd name="connsiteX23" fmla="*/ 741575 w 4540577"/>
                    <a:gd name="connsiteY23" fmla="*/ 439925 h 531051"/>
                    <a:gd name="connsiteX24" fmla="*/ 782424 w 4540577"/>
                    <a:gd name="connsiteY24" fmla="*/ 433640 h 531051"/>
                    <a:gd name="connsiteX25" fmla="*/ 820132 w 4540577"/>
                    <a:gd name="connsiteY25" fmla="*/ 430498 h 531051"/>
                    <a:gd name="connsiteX26" fmla="*/ 829558 w 4540577"/>
                    <a:gd name="connsiteY26" fmla="*/ 427356 h 531051"/>
                    <a:gd name="connsiteX27" fmla="*/ 895546 w 4540577"/>
                    <a:gd name="connsiteY27" fmla="*/ 421071 h 531051"/>
                    <a:gd name="connsiteX28" fmla="*/ 923826 w 4540577"/>
                    <a:gd name="connsiteY28" fmla="*/ 414787 h 531051"/>
                    <a:gd name="connsiteX29" fmla="*/ 1040090 w 4540577"/>
                    <a:gd name="connsiteY29" fmla="*/ 411644 h 531051"/>
                    <a:gd name="connsiteX30" fmla="*/ 1143491 w 4540577"/>
                    <a:gd name="connsiteY30" fmla="*/ 402503 h 531051"/>
                    <a:gd name="connsiteX31" fmla="*/ 1197204 w 4540577"/>
                    <a:gd name="connsiteY31" fmla="*/ 399075 h 531051"/>
                    <a:gd name="connsiteX32" fmla="*/ 1231769 w 4540577"/>
                    <a:gd name="connsiteY32" fmla="*/ 392791 h 531051"/>
                    <a:gd name="connsiteX33" fmla="*/ 1241195 w 4540577"/>
                    <a:gd name="connsiteY33" fmla="*/ 389648 h 531051"/>
                    <a:gd name="connsiteX34" fmla="*/ 1351175 w 4540577"/>
                    <a:gd name="connsiteY34" fmla="*/ 383364 h 531051"/>
                    <a:gd name="connsiteX35" fmla="*/ 1376313 w 4540577"/>
                    <a:gd name="connsiteY35" fmla="*/ 377079 h 531051"/>
                    <a:gd name="connsiteX36" fmla="*/ 1388882 w 4540577"/>
                    <a:gd name="connsiteY36" fmla="*/ 373937 h 531051"/>
                    <a:gd name="connsiteX37" fmla="*/ 1417162 w 4540577"/>
                    <a:gd name="connsiteY37" fmla="*/ 370795 h 531051"/>
                    <a:gd name="connsiteX38" fmla="*/ 1426589 w 4540577"/>
                    <a:gd name="connsiteY38" fmla="*/ 367653 h 531051"/>
                    <a:gd name="connsiteX39" fmla="*/ 1476866 w 4540577"/>
                    <a:gd name="connsiteY39" fmla="*/ 361368 h 531051"/>
                    <a:gd name="connsiteX40" fmla="*/ 1517715 w 4540577"/>
                    <a:gd name="connsiteY40" fmla="*/ 358226 h 531051"/>
                    <a:gd name="connsiteX41" fmla="*/ 1552280 w 4540577"/>
                    <a:gd name="connsiteY41" fmla="*/ 351941 h 531051"/>
                    <a:gd name="connsiteX42" fmla="*/ 1574276 w 4540577"/>
                    <a:gd name="connsiteY42" fmla="*/ 348799 h 531051"/>
                    <a:gd name="connsiteX43" fmla="*/ 1611983 w 4540577"/>
                    <a:gd name="connsiteY43" fmla="*/ 345657 h 531051"/>
                    <a:gd name="connsiteX44" fmla="*/ 1649690 w 4540577"/>
                    <a:gd name="connsiteY44" fmla="*/ 339372 h 531051"/>
                    <a:gd name="connsiteX45" fmla="*/ 1671686 w 4540577"/>
                    <a:gd name="connsiteY45" fmla="*/ 336230 h 531051"/>
                    <a:gd name="connsiteX46" fmla="*/ 1687397 w 4540577"/>
                    <a:gd name="connsiteY46" fmla="*/ 333088 h 531051"/>
                    <a:gd name="connsiteX47" fmla="*/ 1743958 w 4540577"/>
                    <a:gd name="connsiteY47" fmla="*/ 326803 h 531051"/>
                    <a:gd name="connsiteX48" fmla="*/ 1778523 w 4540577"/>
                    <a:gd name="connsiteY48" fmla="*/ 320519 h 531051"/>
                    <a:gd name="connsiteX49" fmla="*/ 1800519 w 4540577"/>
                    <a:gd name="connsiteY49" fmla="*/ 317376 h 531051"/>
                    <a:gd name="connsiteX50" fmla="*/ 1835084 w 4540577"/>
                    <a:gd name="connsiteY50" fmla="*/ 311092 h 531051"/>
                    <a:gd name="connsiteX51" fmla="*/ 1882218 w 4540577"/>
                    <a:gd name="connsiteY51" fmla="*/ 304807 h 531051"/>
                    <a:gd name="connsiteX52" fmla="*/ 1894787 w 4540577"/>
                    <a:gd name="connsiteY52" fmla="*/ 301665 h 531051"/>
                    <a:gd name="connsiteX53" fmla="*/ 1945063 w 4540577"/>
                    <a:gd name="connsiteY53" fmla="*/ 295380 h 531051"/>
                    <a:gd name="connsiteX54" fmla="*/ 1967059 w 4540577"/>
                    <a:gd name="connsiteY54" fmla="*/ 292238 h 531051"/>
                    <a:gd name="connsiteX55" fmla="*/ 1979628 w 4540577"/>
                    <a:gd name="connsiteY55" fmla="*/ 289096 h 531051"/>
                    <a:gd name="connsiteX56" fmla="*/ 2121030 w 4540577"/>
                    <a:gd name="connsiteY56" fmla="*/ 285954 h 531051"/>
                    <a:gd name="connsiteX57" fmla="*/ 2155595 w 4540577"/>
                    <a:gd name="connsiteY57" fmla="*/ 276527 h 531051"/>
                    <a:gd name="connsiteX58" fmla="*/ 2196445 w 4540577"/>
                    <a:gd name="connsiteY58" fmla="*/ 273385 h 531051"/>
                    <a:gd name="connsiteX59" fmla="*/ 2231010 w 4540577"/>
                    <a:gd name="connsiteY59" fmla="*/ 267100 h 531051"/>
                    <a:gd name="connsiteX60" fmla="*/ 2249863 w 4540577"/>
                    <a:gd name="connsiteY60" fmla="*/ 263958 h 531051"/>
                    <a:gd name="connsiteX61" fmla="*/ 2299286 w 4540577"/>
                    <a:gd name="connsiteY61" fmla="*/ 263388 h 531051"/>
                    <a:gd name="connsiteX62" fmla="*/ 2388123 w 4540577"/>
                    <a:gd name="connsiteY62" fmla="*/ 251389 h 531051"/>
                    <a:gd name="connsiteX63" fmla="*/ 2406977 w 4540577"/>
                    <a:gd name="connsiteY63" fmla="*/ 245104 h 531051"/>
                    <a:gd name="connsiteX64" fmla="*/ 2367826 w 4540577"/>
                    <a:gd name="connsiteY64" fmla="*/ 250535 h 531051"/>
                    <a:gd name="connsiteX65" fmla="*/ 2447826 w 4540577"/>
                    <a:gd name="connsiteY65" fmla="*/ 238820 h 531051"/>
                    <a:gd name="connsiteX66" fmla="*/ 2552100 w 4540577"/>
                    <a:gd name="connsiteY66" fmla="*/ 238250 h 531051"/>
                    <a:gd name="connsiteX67" fmla="*/ 2721204 w 4540577"/>
                    <a:gd name="connsiteY67" fmla="*/ 226251 h 531051"/>
                    <a:gd name="connsiteX68" fmla="*/ 2749484 w 4540577"/>
                    <a:gd name="connsiteY68" fmla="*/ 223108 h 531051"/>
                    <a:gd name="connsiteX69" fmla="*/ 2758911 w 4540577"/>
                    <a:gd name="connsiteY69" fmla="*/ 219966 h 531051"/>
                    <a:gd name="connsiteX70" fmla="*/ 2818614 w 4540577"/>
                    <a:gd name="connsiteY70" fmla="*/ 207397 h 531051"/>
                    <a:gd name="connsiteX71" fmla="*/ 2875175 w 4540577"/>
                    <a:gd name="connsiteY71" fmla="*/ 201112 h 531051"/>
                    <a:gd name="connsiteX72" fmla="*/ 2916024 w 4540577"/>
                    <a:gd name="connsiteY72" fmla="*/ 194828 h 531051"/>
                    <a:gd name="connsiteX73" fmla="*/ 2931736 w 4540577"/>
                    <a:gd name="connsiteY73" fmla="*/ 191686 h 531051"/>
                    <a:gd name="connsiteX74" fmla="*/ 3013435 w 4540577"/>
                    <a:gd name="connsiteY74" fmla="*/ 188543 h 531051"/>
                    <a:gd name="connsiteX75" fmla="*/ 3041715 w 4540577"/>
                    <a:gd name="connsiteY75" fmla="*/ 185401 h 531051"/>
                    <a:gd name="connsiteX76" fmla="*/ 3060569 w 4540577"/>
                    <a:gd name="connsiteY76" fmla="*/ 179117 h 531051"/>
                    <a:gd name="connsiteX77" fmla="*/ 3110845 w 4540577"/>
                    <a:gd name="connsiteY77" fmla="*/ 175974 h 531051"/>
                    <a:gd name="connsiteX78" fmla="*/ 3132841 w 4540577"/>
                    <a:gd name="connsiteY78" fmla="*/ 172832 h 531051"/>
                    <a:gd name="connsiteX79" fmla="*/ 3151694 w 4540577"/>
                    <a:gd name="connsiteY79" fmla="*/ 166547 h 531051"/>
                    <a:gd name="connsiteX80" fmla="*/ 3170548 w 4540577"/>
                    <a:gd name="connsiteY80" fmla="*/ 163405 h 531051"/>
                    <a:gd name="connsiteX81" fmla="*/ 3195971 w 4540577"/>
                    <a:gd name="connsiteY81" fmla="*/ 165694 h 531051"/>
                    <a:gd name="connsiteX82" fmla="*/ 3223681 w 4540577"/>
                    <a:gd name="connsiteY82" fmla="*/ 159693 h 531051"/>
                    <a:gd name="connsiteX83" fmla="*/ 3277965 w 4540577"/>
                    <a:gd name="connsiteY83" fmla="*/ 150552 h 531051"/>
                    <a:gd name="connsiteX84" fmla="*/ 3327965 w 4540577"/>
                    <a:gd name="connsiteY84" fmla="*/ 141694 h 531051"/>
                    <a:gd name="connsiteX85" fmla="*/ 3389073 w 4540577"/>
                    <a:gd name="connsiteY85" fmla="*/ 140840 h 531051"/>
                    <a:gd name="connsiteX86" fmla="*/ 3450210 w 4540577"/>
                    <a:gd name="connsiteY86" fmla="*/ 128840 h 531051"/>
                    <a:gd name="connsiteX87" fmla="*/ 3477351 w 4540577"/>
                    <a:gd name="connsiteY87" fmla="*/ 131413 h 531051"/>
                    <a:gd name="connsiteX88" fmla="*/ 3503628 w 4540577"/>
                    <a:gd name="connsiteY88" fmla="*/ 122556 h 531051"/>
                    <a:gd name="connsiteX89" fmla="*/ 3535051 w 4540577"/>
                    <a:gd name="connsiteY89" fmla="*/ 119413 h 531051"/>
                    <a:gd name="connsiteX90" fmla="*/ 3561907 w 4540577"/>
                    <a:gd name="connsiteY90" fmla="*/ 116271 h 531051"/>
                    <a:gd name="connsiteX91" fmla="*/ 3623035 w 4540577"/>
                    <a:gd name="connsiteY91" fmla="*/ 109987 h 531051"/>
                    <a:gd name="connsiteX92" fmla="*/ 3651315 w 4540577"/>
                    <a:gd name="connsiteY92" fmla="*/ 106844 h 531051"/>
                    <a:gd name="connsiteX93" fmla="*/ 3685880 w 4540577"/>
                    <a:gd name="connsiteY93" fmla="*/ 103702 h 531051"/>
                    <a:gd name="connsiteX94" fmla="*/ 3736156 w 4540577"/>
                    <a:gd name="connsiteY94" fmla="*/ 97418 h 531051"/>
                    <a:gd name="connsiteX95" fmla="*/ 3748725 w 4540577"/>
                    <a:gd name="connsiteY95" fmla="*/ 94275 h 531051"/>
                    <a:gd name="connsiteX96" fmla="*/ 3770721 w 4540577"/>
                    <a:gd name="connsiteY96" fmla="*/ 91133 h 531051"/>
                    <a:gd name="connsiteX97" fmla="*/ 3827567 w 4540577"/>
                    <a:gd name="connsiteY97" fmla="*/ 85418 h 531051"/>
                    <a:gd name="connsiteX98" fmla="*/ 3858989 w 4540577"/>
                    <a:gd name="connsiteY98" fmla="*/ 82845 h 531051"/>
                    <a:gd name="connsiteX99" fmla="*/ 3888988 w 4540577"/>
                    <a:gd name="connsiteY99" fmla="*/ 80273 h 531051"/>
                    <a:gd name="connsiteX100" fmla="*/ 3937261 w 4540577"/>
                    <a:gd name="connsiteY100" fmla="*/ 76845 h 531051"/>
                    <a:gd name="connsiteX101" fmla="*/ 3976972 w 4540577"/>
                    <a:gd name="connsiteY101" fmla="*/ 73134 h 531051"/>
                    <a:gd name="connsiteX102" fmla="*/ 3993822 w 4540577"/>
                    <a:gd name="connsiteY102" fmla="*/ 72279 h 531051"/>
                    <a:gd name="connsiteX103" fmla="*/ 4003249 w 4540577"/>
                    <a:gd name="connsiteY103" fmla="*/ 69137 h 531051"/>
                    <a:gd name="connsiteX104" fmla="*/ 4044099 w 4540577"/>
                    <a:gd name="connsiteY104" fmla="*/ 62853 h 531051"/>
                    <a:gd name="connsiteX105" fmla="*/ 4059810 w 4540577"/>
                    <a:gd name="connsiteY105" fmla="*/ 59710 h 531051"/>
                    <a:gd name="connsiteX106" fmla="*/ 4084948 w 4540577"/>
                    <a:gd name="connsiteY106" fmla="*/ 65141 h 531051"/>
                    <a:gd name="connsiteX107" fmla="*/ 4111520 w 4540577"/>
                    <a:gd name="connsiteY107" fmla="*/ 59141 h 531051"/>
                    <a:gd name="connsiteX108" fmla="*/ 4162366 w 4540577"/>
                    <a:gd name="connsiteY108" fmla="*/ 49998 h 531051"/>
                    <a:gd name="connsiteX109" fmla="*/ 4237496 w 4540577"/>
                    <a:gd name="connsiteY109" fmla="*/ 40571 h 531051"/>
                    <a:gd name="connsiteX110" fmla="*/ 4282911 w 4540577"/>
                    <a:gd name="connsiteY110" fmla="*/ 31430 h 531051"/>
                    <a:gd name="connsiteX111" fmla="*/ 4330045 w 4540577"/>
                    <a:gd name="connsiteY111" fmla="*/ 25145 h 531051"/>
                    <a:gd name="connsiteX112" fmla="*/ 4358325 w 4540577"/>
                    <a:gd name="connsiteY112" fmla="*/ 22003 h 531051"/>
                    <a:gd name="connsiteX113" fmla="*/ 4411744 w 4540577"/>
                    <a:gd name="connsiteY113" fmla="*/ 15719 h 531051"/>
                    <a:gd name="connsiteX114" fmla="*/ 4468305 w 4540577"/>
                    <a:gd name="connsiteY114" fmla="*/ 9434 h 531051"/>
                    <a:gd name="connsiteX115" fmla="*/ 4499727 w 4540577"/>
                    <a:gd name="connsiteY115" fmla="*/ 3149 h 531051"/>
                    <a:gd name="connsiteX116" fmla="*/ 4540577 w 4540577"/>
                    <a:gd name="connsiteY116" fmla="*/ 7 h 53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540577" h="531051">
                      <a:moveTo>
                        <a:pt x="0" y="531051"/>
                      </a:moveTo>
                      <a:cubicBezTo>
                        <a:pt x="29403" y="529503"/>
                        <a:pt x="56341" y="529516"/>
                        <a:pt x="84841" y="524766"/>
                      </a:cubicBezTo>
                      <a:cubicBezTo>
                        <a:pt x="89101" y="524056"/>
                        <a:pt x="90887" y="521719"/>
                        <a:pt x="97410" y="521624"/>
                      </a:cubicBezTo>
                      <a:cubicBezTo>
                        <a:pt x="103933" y="521529"/>
                        <a:pt x="111555" y="524815"/>
                        <a:pt x="123982" y="524196"/>
                      </a:cubicBezTo>
                      <a:cubicBezTo>
                        <a:pt x="136409" y="523577"/>
                        <a:pt x="157211" y="520007"/>
                        <a:pt x="171970" y="517912"/>
                      </a:cubicBezTo>
                      <a:cubicBezTo>
                        <a:pt x="186729" y="515817"/>
                        <a:pt x="201395" y="514151"/>
                        <a:pt x="212535" y="511627"/>
                      </a:cubicBezTo>
                      <a:cubicBezTo>
                        <a:pt x="223675" y="509103"/>
                        <a:pt x="226243" y="503817"/>
                        <a:pt x="238812" y="502770"/>
                      </a:cubicBezTo>
                      <a:cubicBezTo>
                        <a:pt x="243002" y="501723"/>
                        <a:pt x="247121" y="500338"/>
                        <a:pt x="251381" y="499628"/>
                      </a:cubicBezTo>
                      <a:cubicBezTo>
                        <a:pt x="273971" y="495863"/>
                        <a:pt x="287327" y="496138"/>
                        <a:pt x="311084" y="493343"/>
                      </a:cubicBezTo>
                      <a:cubicBezTo>
                        <a:pt x="317412" y="492599"/>
                        <a:pt x="323585" y="490690"/>
                        <a:pt x="329938" y="490201"/>
                      </a:cubicBezTo>
                      <a:cubicBezTo>
                        <a:pt x="350851" y="488592"/>
                        <a:pt x="371835" y="488106"/>
                        <a:pt x="392783" y="487059"/>
                      </a:cubicBezTo>
                      <a:cubicBezTo>
                        <a:pt x="399068" y="486012"/>
                        <a:pt x="405389" y="485167"/>
                        <a:pt x="411637" y="483917"/>
                      </a:cubicBezTo>
                      <a:cubicBezTo>
                        <a:pt x="415872" y="483070"/>
                        <a:pt x="419905" y="481165"/>
                        <a:pt x="424206" y="480774"/>
                      </a:cubicBezTo>
                      <a:cubicBezTo>
                        <a:pt x="443011" y="479064"/>
                        <a:pt x="461913" y="478679"/>
                        <a:pt x="480767" y="477632"/>
                      </a:cubicBezTo>
                      <a:cubicBezTo>
                        <a:pt x="489146" y="476585"/>
                        <a:pt x="497575" y="475878"/>
                        <a:pt x="505905" y="474490"/>
                      </a:cubicBezTo>
                      <a:cubicBezTo>
                        <a:pt x="510165" y="473780"/>
                        <a:pt x="514225" y="472120"/>
                        <a:pt x="518474" y="471347"/>
                      </a:cubicBezTo>
                      <a:cubicBezTo>
                        <a:pt x="525761" y="470022"/>
                        <a:pt x="533150" y="469331"/>
                        <a:pt x="540470" y="468205"/>
                      </a:cubicBezTo>
                      <a:cubicBezTo>
                        <a:pt x="546767" y="467236"/>
                        <a:pt x="553026" y="466032"/>
                        <a:pt x="559323" y="465063"/>
                      </a:cubicBezTo>
                      <a:cubicBezTo>
                        <a:pt x="566643" y="463937"/>
                        <a:pt x="574003" y="463076"/>
                        <a:pt x="581319" y="461921"/>
                      </a:cubicBezTo>
                      <a:cubicBezTo>
                        <a:pt x="593905" y="459934"/>
                        <a:pt x="606664" y="458726"/>
                        <a:pt x="619026" y="455636"/>
                      </a:cubicBezTo>
                      <a:cubicBezTo>
                        <a:pt x="623216" y="454589"/>
                        <a:pt x="627327" y="453151"/>
                        <a:pt x="631595" y="452494"/>
                      </a:cubicBezTo>
                      <a:cubicBezTo>
                        <a:pt x="640970" y="451052"/>
                        <a:pt x="650449" y="450399"/>
                        <a:pt x="659876" y="449352"/>
                      </a:cubicBezTo>
                      <a:cubicBezTo>
                        <a:pt x="664066" y="448304"/>
                        <a:pt x="668155" y="446704"/>
                        <a:pt x="672445" y="446209"/>
                      </a:cubicBezTo>
                      <a:cubicBezTo>
                        <a:pt x="695431" y="443557"/>
                        <a:pt x="718752" y="443730"/>
                        <a:pt x="741575" y="439925"/>
                      </a:cubicBezTo>
                      <a:cubicBezTo>
                        <a:pt x="752842" y="438047"/>
                        <a:pt x="771433" y="434797"/>
                        <a:pt x="782424" y="433640"/>
                      </a:cubicBezTo>
                      <a:cubicBezTo>
                        <a:pt x="794968" y="432320"/>
                        <a:pt x="807563" y="431545"/>
                        <a:pt x="820132" y="430498"/>
                      </a:cubicBezTo>
                      <a:cubicBezTo>
                        <a:pt x="823274" y="429451"/>
                        <a:pt x="826299" y="427949"/>
                        <a:pt x="829558" y="427356"/>
                      </a:cubicBezTo>
                      <a:cubicBezTo>
                        <a:pt x="847300" y="424130"/>
                        <a:pt x="880153" y="422255"/>
                        <a:pt x="895546" y="421071"/>
                      </a:cubicBezTo>
                      <a:cubicBezTo>
                        <a:pt x="901152" y="419670"/>
                        <a:pt x="918898" y="415022"/>
                        <a:pt x="923826" y="414787"/>
                      </a:cubicBezTo>
                      <a:cubicBezTo>
                        <a:pt x="962551" y="412943"/>
                        <a:pt x="1001335" y="412692"/>
                        <a:pt x="1040090" y="411644"/>
                      </a:cubicBezTo>
                      <a:cubicBezTo>
                        <a:pt x="1104435" y="400921"/>
                        <a:pt x="974964" y="413994"/>
                        <a:pt x="1143491" y="402503"/>
                      </a:cubicBezTo>
                      <a:cubicBezTo>
                        <a:pt x="1152108" y="401915"/>
                        <a:pt x="1182491" y="400694"/>
                        <a:pt x="1197204" y="399075"/>
                      </a:cubicBezTo>
                      <a:cubicBezTo>
                        <a:pt x="1211917" y="397456"/>
                        <a:pt x="1207647" y="396811"/>
                        <a:pt x="1231769" y="392791"/>
                      </a:cubicBezTo>
                      <a:cubicBezTo>
                        <a:pt x="1234911" y="391743"/>
                        <a:pt x="1237982" y="390451"/>
                        <a:pt x="1241195" y="389648"/>
                      </a:cubicBezTo>
                      <a:cubicBezTo>
                        <a:pt x="1276988" y="380699"/>
                        <a:pt x="1314843" y="384575"/>
                        <a:pt x="1351175" y="383364"/>
                      </a:cubicBezTo>
                      <a:cubicBezTo>
                        <a:pt x="1368018" y="377750"/>
                        <a:pt x="1353566" y="382134"/>
                        <a:pt x="1376313" y="377079"/>
                      </a:cubicBezTo>
                      <a:cubicBezTo>
                        <a:pt x="1380529" y="376142"/>
                        <a:pt x="1384614" y="374594"/>
                        <a:pt x="1388882" y="373937"/>
                      </a:cubicBezTo>
                      <a:cubicBezTo>
                        <a:pt x="1398256" y="372495"/>
                        <a:pt x="1407735" y="371842"/>
                        <a:pt x="1417162" y="370795"/>
                      </a:cubicBezTo>
                      <a:cubicBezTo>
                        <a:pt x="1420304" y="369748"/>
                        <a:pt x="1423376" y="368456"/>
                        <a:pt x="1426589" y="367653"/>
                      </a:cubicBezTo>
                      <a:cubicBezTo>
                        <a:pt x="1444697" y="363126"/>
                        <a:pt x="1456364" y="363076"/>
                        <a:pt x="1476866" y="361368"/>
                      </a:cubicBezTo>
                      <a:cubicBezTo>
                        <a:pt x="1490475" y="360234"/>
                        <a:pt x="1504126" y="359585"/>
                        <a:pt x="1517715" y="358226"/>
                      </a:cubicBezTo>
                      <a:cubicBezTo>
                        <a:pt x="1558474" y="354150"/>
                        <a:pt x="1524078" y="357069"/>
                        <a:pt x="1552280" y="351941"/>
                      </a:cubicBezTo>
                      <a:cubicBezTo>
                        <a:pt x="1559567" y="350616"/>
                        <a:pt x="1566910" y="349574"/>
                        <a:pt x="1574276" y="348799"/>
                      </a:cubicBezTo>
                      <a:cubicBezTo>
                        <a:pt x="1586819" y="347479"/>
                        <a:pt x="1599440" y="346977"/>
                        <a:pt x="1611983" y="345657"/>
                      </a:cubicBezTo>
                      <a:cubicBezTo>
                        <a:pt x="1639847" y="342724"/>
                        <a:pt x="1626297" y="343270"/>
                        <a:pt x="1649690" y="339372"/>
                      </a:cubicBezTo>
                      <a:cubicBezTo>
                        <a:pt x="1656996" y="338154"/>
                        <a:pt x="1664380" y="337448"/>
                        <a:pt x="1671686" y="336230"/>
                      </a:cubicBezTo>
                      <a:cubicBezTo>
                        <a:pt x="1676954" y="335352"/>
                        <a:pt x="1682118" y="333900"/>
                        <a:pt x="1687397" y="333088"/>
                      </a:cubicBezTo>
                      <a:cubicBezTo>
                        <a:pt x="1703934" y="330544"/>
                        <a:pt x="1727874" y="328411"/>
                        <a:pt x="1743958" y="326803"/>
                      </a:cubicBezTo>
                      <a:cubicBezTo>
                        <a:pt x="1761862" y="320836"/>
                        <a:pt x="1748911" y="324468"/>
                        <a:pt x="1778523" y="320519"/>
                      </a:cubicBezTo>
                      <a:lnTo>
                        <a:pt x="1800519" y="317376"/>
                      </a:lnTo>
                      <a:cubicBezTo>
                        <a:pt x="1819004" y="311215"/>
                        <a:pt x="1803991" y="315534"/>
                        <a:pt x="1835084" y="311092"/>
                      </a:cubicBezTo>
                      <a:cubicBezTo>
                        <a:pt x="1884462" y="304038"/>
                        <a:pt x="1816094" y="312154"/>
                        <a:pt x="1882218" y="304807"/>
                      </a:cubicBezTo>
                      <a:cubicBezTo>
                        <a:pt x="1886408" y="303760"/>
                        <a:pt x="1890538" y="302437"/>
                        <a:pt x="1894787" y="301665"/>
                      </a:cubicBezTo>
                      <a:cubicBezTo>
                        <a:pt x="1911440" y="298637"/>
                        <a:pt x="1928288" y="297477"/>
                        <a:pt x="1945063" y="295380"/>
                      </a:cubicBezTo>
                      <a:cubicBezTo>
                        <a:pt x="1952412" y="294461"/>
                        <a:pt x="1959772" y="293563"/>
                        <a:pt x="1967059" y="292238"/>
                      </a:cubicBezTo>
                      <a:cubicBezTo>
                        <a:pt x="1971308" y="291466"/>
                        <a:pt x="1975313" y="289272"/>
                        <a:pt x="1979628" y="289096"/>
                      </a:cubicBezTo>
                      <a:cubicBezTo>
                        <a:pt x="2026734" y="287173"/>
                        <a:pt x="2073896" y="287001"/>
                        <a:pt x="2121030" y="285954"/>
                      </a:cubicBezTo>
                      <a:cubicBezTo>
                        <a:pt x="2131314" y="282525"/>
                        <a:pt x="2146374" y="277236"/>
                        <a:pt x="2155595" y="276527"/>
                      </a:cubicBezTo>
                      <a:lnTo>
                        <a:pt x="2196445" y="273385"/>
                      </a:lnTo>
                      <a:cubicBezTo>
                        <a:pt x="2252094" y="264108"/>
                        <a:pt x="2182624" y="275897"/>
                        <a:pt x="2231010" y="267100"/>
                      </a:cubicBezTo>
                      <a:cubicBezTo>
                        <a:pt x="2237278" y="265960"/>
                        <a:pt x="2243579" y="265005"/>
                        <a:pt x="2249863" y="263958"/>
                      </a:cubicBezTo>
                      <a:cubicBezTo>
                        <a:pt x="2267911" y="257941"/>
                        <a:pt x="2268905" y="265413"/>
                        <a:pt x="2299286" y="263388"/>
                      </a:cubicBezTo>
                      <a:cubicBezTo>
                        <a:pt x="2424835" y="255019"/>
                        <a:pt x="2304457" y="258994"/>
                        <a:pt x="2388123" y="251389"/>
                      </a:cubicBezTo>
                      <a:cubicBezTo>
                        <a:pt x="2394408" y="249294"/>
                        <a:pt x="2410360" y="245246"/>
                        <a:pt x="2406977" y="245104"/>
                      </a:cubicBezTo>
                      <a:cubicBezTo>
                        <a:pt x="2403594" y="244962"/>
                        <a:pt x="2364530" y="250865"/>
                        <a:pt x="2367826" y="250535"/>
                      </a:cubicBezTo>
                      <a:cubicBezTo>
                        <a:pt x="2378300" y="249488"/>
                        <a:pt x="2417114" y="240867"/>
                        <a:pt x="2447826" y="238820"/>
                      </a:cubicBezTo>
                      <a:cubicBezTo>
                        <a:pt x="2478538" y="236773"/>
                        <a:pt x="2517776" y="243732"/>
                        <a:pt x="2552100" y="238250"/>
                      </a:cubicBezTo>
                      <a:cubicBezTo>
                        <a:pt x="2623435" y="226857"/>
                        <a:pt x="2688307" y="228775"/>
                        <a:pt x="2721204" y="226251"/>
                      </a:cubicBezTo>
                      <a:cubicBezTo>
                        <a:pt x="2754101" y="223727"/>
                        <a:pt x="2740057" y="224156"/>
                        <a:pt x="2749484" y="223108"/>
                      </a:cubicBezTo>
                      <a:cubicBezTo>
                        <a:pt x="2752626" y="222061"/>
                        <a:pt x="2755715" y="220838"/>
                        <a:pt x="2758911" y="219966"/>
                      </a:cubicBezTo>
                      <a:cubicBezTo>
                        <a:pt x="2778583" y="214601"/>
                        <a:pt x="2798420" y="210282"/>
                        <a:pt x="2818614" y="207397"/>
                      </a:cubicBezTo>
                      <a:cubicBezTo>
                        <a:pt x="2839361" y="204433"/>
                        <a:pt x="2853843" y="203246"/>
                        <a:pt x="2875175" y="201112"/>
                      </a:cubicBezTo>
                      <a:cubicBezTo>
                        <a:pt x="2896409" y="194035"/>
                        <a:pt x="2875520" y="200228"/>
                        <a:pt x="2916024" y="194828"/>
                      </a:cubicBezTo>
                      <a:cubicBezTo>
                        <a:pt x="2921318" y="194122"/>
                        <a:pt x="2926406" y="192030"/>
                        <a:pt x="2931736" y="191686"/>
                      </a:cubicBezTo>
                      <a:cubicBezTo>
                        <a:pt x="2958933" y="189931"/>
                        <a:pt x="2986202" y="189591"/>
                        <a:pt x="3013435" y="188543"/>
                      </a:cubicBezTo>
                      <a:cubicBezTo>
                        <a:pt x="3022862" y="187496"/>
                        <a:pt x="3032414" y="187261"/>
                        <a:pt x="3041715" y="185401"/>
                      </a:cubicBezTo>
                      <a:cubicBezTo>
                        <a:pt x="3048211" y="184102"/>
                        <a:pt x="3053957" y="179530"/>
                        <a:pt x="3060569" y="179117"/>
                      </a:cubicBezTo>
                      <a:lnTo>
                        <a:pt x="3110845" y="175974"/>
                      </a:lnTo>
                      <a:cubicBezTo>
                        <a:pt x="3118177" y="174927"/>
                        <a:pt x="3125624" y="174497"/>
                        <a:pt x="3132841" y="172832"/>
                      </a:cubicBezTo>
                      <a:cubicBezTo>
                        <a:pt x="3139296" y="171342"/>
                        <a:pt x="3145160" y="167636"/>
                        <a:pt x="3151694" y="166547"/>
                      </a:cubicBezTo>
                      <a:cubicBezTo>
                        <a:pt x="3157979" y="165500"/>
                        <a:pt x="3163169" y="163547"/>
                        <a:pt x="3170548" y="163405"/>
                      </a:cubicBezTo>
                      <a:cubicBezTo>
                        <a:pt x="3177927" y="163263"/>
                        <a:pt x="3187116" y="166313"/>
                        <a:pt x="3195971" y="165694"/>
                      </a:cubicBezTo>
                      <a:cubicBezTo>
                        <a:pt x="3204826" y="165075"/>
                        <a:pt x="3216349" y="160741"/>
                        <a:pt x="3223681" y="159693"/>
                      </a:cubicBezTo>
                      <a:cubicBezTo>
                        <a:pt x="3241749" y="153671"/>
                        <a:pt x="3260584" y="153552"/>
                        <a:pt x="3277965" y="150552"/>
                      </a:cubicBezTo>
                      <a:cubicBezTo>
                        <a:pt x="3295346" y="147552"/>
                        <a:pt x="3309447" y="143313"/>
                        <a:pt x="3327965" y="141694"/>
                      </a:cubicBezTo>
                      <a:cubicBezTo>
                        <a:pt x="3346483" y="140075"/>
                        <a:pt x="3325072" y="143749"/>
                        <a:pt x="3389073" y="140840"/>
                      </a:cubicBezTo>
                      <a:cubicBezTo>
                        <a:pt x="3428393" y="136304"/>
                        <a:pt x="3435497" y="130411"/>
                        <a:pt x="3450210" y="128840"/>
                      </a:cubicBezTo>
                      <a:cubicBezTo>
                        <a:pt x="3464923" y="127269"/>
                        <a:pt x="3472047" y="132037"/>
                        <a:pt x="3477351" y="131413"/>
                      </a:cubicBezTo>
                      <a:cubicBezTo>
                        <a:pt x="3489877" y="129939"/>
                        <a:pt x="3494011" y="124556"/>
                        <a:pt x="3503628" y="122556"/>
                      </a:cubicBezTo>
                      <a:cubicBezTo>
                        <a:pt x="3513245" y="120556"/>
                        <a:pt x="3524577" y="120461"/>
                        <a:pt x="3535051" y="119413"/>
                      </a:cubicBezTo>
                      <a:cubicBezTo>
                        <a:pt x="3539241" y="118366"/>
                        <a:pt x="3557626" y="116842"/>
                        <a:pt x="3561907" y="116271"/>
                      </a:cubicBezTo>
                      <a:cubicBezTo>
                        <a:pt x="3576541" y="114320"/>
                        <a:pt x="3608134" y="111558"/>
                        <a:pt x="3623035" y="109987"/>
                      </a:cubicBezTo>
                      <a:lnTo>
                        <a:pt x="3651315" y="106844"/>
                      </a:lnTo>
                      <a:lnTo>
                        <a:pt x="3685880" y="103702"/>
                      </a:lnTo>
                      <a:cubicBezTo>
                        <a:pt x="3724661" y="95946"/>
                        <a:pt x="3670872" y="106123"/>
                        <a:pt x="3736156" y="97418"/>
                      </a:cubicBezTo>
                      <a:cubicBezTo>
                        <a:pt x="3740437" y="96847"/>
                        <a:pt x="3744476" y="95048"/>
                        <a:pt x="3748725" y="94275"/>
                      </a:cubicBezTo>
                      <a:cubicBezTo>
                        <a:pt x="3756012" y="92950"/>
                        <a:pt x="3763389" y="92180"/>
                        <a:pt x="3770721" y="91133"/>
                      </a:cubicBezTo>
                      <a:cubicBezTo>
                        <a:pt x="3795706" y="82805"/>
                        <a:pt x="3812856" y="86799"/>
                        <a:pt x="3827567" y="85418"/>
                      </a:cubicBezTo>
                      <a:cubicBezTo>
                        <a:pt x="3842278" y="84037"/>
                        <a:pt x="3848515" y="81798"/>
                        <a:pt x="3858989" y="82845"/>
                      </a:cubicBezTo>
                      <a:cubicBezTo>
                        <a:pt x="3864226" y="83893"/>
                        <a:pt x="3875943" y="81273"/>
                        <a:pt x="3888988" y="80273"/>
                      </a:cubicBezTo>
                      <a:cubicBezTo>
                        <a:pt x="3902033" y="79273"/>
                        <a:pt x="3913179" y="82865"/>
                        <a:pt x="3937261" y="76845"/>
                      </a:cubicBezTo>
                      <a:cubicBezTo>
                        <a:pt x="3954666" y="65241"/>
                        <a:pt x="3967545" y="73895"/>
                        <a:pt x="3976972" y="73134"/>
                      </a:cubicBezTo>
                      <a:cubicBezTo>
                        <a:pt x="3986399" y="72373"/>
                        <a:pt x="3989443" y="72945"/>
                        <a:pt x="3993822" y="72279"/>
                      </a:cubicBezTo>
                      <a:cubicBezTo>
                        <a:pt x="3998201" y="71613"/>
                        <a:pt x="4000001" y="69787"/>
                        <a:pt x="4003249" y="69137"/>
                      </a:cubicBezTo>
                      <a:cubicBezTo>
                        <a:pt x="4039288" y="61930"/>
                        <a:pt x="3994611" y="70467"/>
                        <a:pt x="4044099" y="62853"/>
                      </a:cubicBezTo>
                      <a:cubicBezTo>
                        <a:pt x="4049378" y="62041"/>
                        <a:pt x="4053002" y="59329"/>
                        <a:pt x="4059810" y="59710"/>
                      </a:cubicBezTo>
                      <a:cubicBezTo>
                        <a:pt x="4066618" y="60091"/>
                        <a:pt x="4076569" y="66188"/>
                        <a:pt x="4084948" y="65141"/>
                      </a:cubicBezTo>
                      <a:cubicBezTo>
                        <a:pt x="4088090" y="64094"/>
                        <a:pt x="4098617" y="61665"/>
                        <a:pt x="4111520" y="59141"/>
                      </a:cubicBezTo>
                      <a:cubicBezTo>
                        <a:pt x="4124423" y="56617"/>
                        <a:pt x="4147801" y="51322"/>
                        <a:pt x="4162366" y="49998"/>
                      </a:cubicBezTo>
                      <a:cubicBezTo>
                        <a:pt x="4208465" y="50618"/>
                        <a:pt x="4217405" y="43666"/>
                        <a:pt x="4237496" y="40571"/>
                      </a:cubicBezTo>
                      <a:cubicBezTo>
                        <a:pt x="4257587" y="37476"/>
                        <a:pt x="4227523" y="37584"/>
                        <a:pt x="4282911" y="31430"/>
                      </a:cubicBezTo>
                      <a:cubicBezTo>
                        <a:pt x="4304842" y="24121"/>
                        <a:pt x="4286988" y="29246"/>
                        <a:pt x="4330045" y="25145"/>
                      </a:cubicBezTo>
                      <a:cubicBezTo>
                        <a:pt x="4339487" y="24246"/>
                        <a:pt x="4348898" y="23050"/>
                        <a:pt x="4358325" y="22003"/>
                      </a:cubicBezTo>
                      <a:cubicBezTo>
                        <a:pt x="4384694" y="15411"/>
                        <a:pt x="4364848" y="19627"/>
                        <a:pt x="4411744" y="15719"/>
                      </a:cubicBezTo>
                      <a:cubicBezTo>
                        <a:pt x="4448334" y="12670"/>
                        <a:pt x="4438281" y="13723"/>
                        <a:pt x="4468305" y="9434"/>
                      </a:cubicBezTo>
                      <a:cubicBezTo>
                        <a:pt x="4483435" y="4391"/>
                        <a:pt x="4477411" y="5775"/>
                        <a:pt x="4499727" y="3149"/>
                      </a:cubicBezTo>
                      <a:cubicBezTo>
                        <a:pt x="4529089" y="-306"/>
                        <a:pt x="4522172" y="7"/>
                        <a:pt x="4540577" y="7"/>
                      </a:cubicBezTo>
                    </a:path>
                  </a:pathLst>
                </a:custGeom>
                <a:noFill/>
                <a:ln w="19050">
                  <a:solidFill>
                    <a:srgbClr val="8278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a:solidFill>
                      <a:srgbClr val="FFFFFF"/>
                    </a:solidFill>
                  </a:endParaRPr>
                </a:p>
              </p:txBody>
            </p:sp>
            <p:sp>
              <p:nvSpPr>
                <p:cNvPr id="86" name="Freeform 85"/>
                <p:cNvSpPr/>
                <p:nvPr/>
              </p:nvSpPr>
              <p:spPr>
                <a:xfrm>
                  <a:off x="1400175" y="3303262"/>
                  <a:ext cx="4143375" cy="488641"/>
                </a:xfrm>
                <a:custGeom>
                  <a:avLst/>
                  <a:gdLst>
                    <a:gd name="connsiteX0" fmla="*/ 0 w 4143375"/>
                    <a:gd name="connsiteY0" fmla="*/ 488641 h 488641"/>
                    <a:gd name="connsiteX1" fmla="*/ 77153 w 4143375"/>
                    <a:gd name="connsiteY1" fmla="*/ 485783 h 488641"/>
                    <a:gd name="connsiteX2" fmla="*/ 85725 w 4143375"/>
                    <a:gd name="connsiteY2" fmla="*/ 482926 h 488641"/>
                    <a:gd name="connsiteX3" fmla="*/ 111443 w 4143375"/>
                    <a:gd name="connsiteY3" fmla="*/ 480068 h 488641"/>
                    <a:gd name="connsiteX4" fmla="*/ 122873 w 4143375"/>
                    <a:gd name="connsiteY4" fmla="*/ 477211 h 488641"/>
                    <a:gd name="connsiteX5" fmla="*/ 140018 w 4143375"/>
                    <a:gd name="connsiteY5" fmla="*/ 468638 h 488641"/>
                    <a:gd name="connsiteX6" fmla="*/ 257175 w 4143375"/>
                    <a:gd name="connsiteY6" fmla="*/ 460066 h 488641"/>
                    <a:gd name="connsiteX7" fmla="*/ 345758 w 4143375"/>
                    <a:gd name="connsiteY7" fmla="*/ 457208 h 488641"/>
                    <a:gd name="connsiteX8" fmla="*/ 365760 w 4143375"/>
                    <a:gd name="connsiteY8" fmla="*/ 451493 h 488641"/>
                    <a:gd name="connsiteX9" fmla="*/ 431483 w 4143375"/>
                    <a:gd name="connsiteY9" fmla="*/ 448636 h 488641"/>
                    <a:gd name="connsiteX10" fmla="*/ 491490 w 4143375"/>
                    <a:gd name="connsiteY10" fmla="*/ 440063 h 488641"/>
                    <a:gd name="connsiteX11" fmla="*/ 511493 w 4143375"/>
                    <a:gd name="connsiteY11" fmla="*/ 437206 h 488641"/>
                    <a:gd name="connsiteX12" fmla="*/ 537210 w 4143375"/>
                    <a:gd name="connsiteY12" fmla="*/ 434348 h 488641"/>
                    <a:gd name="connsiteX13" fmla="*/ 545783 w 4143375"/>
                    <a:gd name="connsiteY13" fmla="*/ 431491 h 488641"/>
                    <a:gd name="connsiteX14" fmla="*/ 594360 w 4143375"/>
                    <a:gd name="connsiteY14" fmla="*/ 425776 h 488641"/>
                    <a:gd name="connsiteX15" fmla="*/ 617220 w 4143375"/>
                    <a:gd name="connsiteY15" fmla="*/ 422918 h 488641"/>
                    <a:gd name="connsiteX16" fmla="*/ 654368 w 4143375"/>
                    <a:gd name="connsiteY16" fmla="*/ 420061 h 488641"/>
                    <a:gd name="connsiteX17" fmla="*/ 700088 w 4143375"/>
                    <a:gd name="connsiteY17" fmla="*/ 414346 h 488641"/>
                    <a:gd name="connsiteX18" fmla="*/ 762953 w 4143375"/>
                    <a:gd name="connsiteY18" fmla="*/ 408631 h 488641"/>
                    <a:gd name="connsiteX19" fmla="*/ 797243 w 4143375"/>
                    <a:gd name="connsiteY19" fmla="*/ 402916 h 488641"/>
                    <a:gd name="connsiteX20" fmla="*/ 808673 w 4143375"/>
                    <a:gd name="connsiteY20" fmla="*/ 400058 h 488641"/>
                    <a:gd name="connsiteX21" fmla="*/ 845820 w 4143375"/>
                    <a:gd name="connsiteY21" fmla="*/ 394343 h 488641"/>
                    <a:gd name="connsiteX22" fmla="*/ 854393 w 4143375"/>
                    <a:gd name="connsiteY22" fmla="*/ 391486 h 488641"/>
                    <a:gd name="connsiteX23" fmla="*/ 937260 w 4143375"/>
                    <a:gd name="connsiteY23" fmla="*/ 385771 h 488641"/>
                    <a:gd name="connsiteX24" fmla="*/ 1020128 w 4143375"/>
                    <a:gd name="connsiteY24" fmla="*/ 380056 h 488641"/>
                    <a:gd name="connsiteX25" fmla="*/ 1037273 w 4143375"/>
                    <a:gd name="connsiteY25" fmla="*/ 374341 h 488641"/>
                    <a:gd name="connsiteX26" fmla="*/ 1082993 w 4143375"/>
                    <a:gd name="connsiteY26" fmla="*/ 368626 h 488641"/>
                    <a:gd name="connsiteX27" fmla="*/ 1094423 w 4143375"/>
                    <a:gd name="connsiteY27" fmla="*/ 365768 h 488641"/>
                    <a:gd name="connsiteX28" fmla="*/ 1137285 w 4143375"/>
                    <a:gd name="connsiteY28" fmla="*/ 360053 h 488641"/>
                    <a:gd name="connsiteX29" fmla="*/ 1148715 w 4143375"/>
                    <a:gd name="connsiteY29" fmla="*/ 357196 h 488641"/>
                    <a:gd name="connsiteX30" fmla="*/ 1200150 w 4143375"/>
                    <a:gd name="connsiteY30" fmla="*/ 351481 h 488641"/>
                    <a:gd name="connsiteX31" fmla="*/ 1220153 w 4143375"/>
                    <a:gd name="connsiteY31" fmla="*/ 348623 h 488641"/>
                    <a:gd name="connsiteX32" fmla="*/ 1234440 w 4143375"/>
                    <a:gd name="connsiteY32" fmla="*/ 345766 h 488641"/>
                    <a:gd name="connsiteX33" fmla="*/ 1297305 w 4143375"/>
                    <a:gd name="connsiteY33" fmla="*/ 342908 h 488641"/>
                    <a:gd name="connsiteX34" fmla="*/ 1311593 w 4143375"/>
                    <a:gd name="connsiteY34" fmla="*/ 340051 h 488641"/>
                    <a:gd name="connsiteX35" fmla="*/ 1345883 w 4143375"/>
                    <a:gd name="connsiteY35" fmla="*/ 337193 h 488641"/>
                    <a:gd name="connsiteX36" fmla="*/ 1374458 w 4143375"/>
                    <a:gd name="connsiteY36" fmla="*/ 334336 h 488641"/>
                    <a:gd name="connsiteX37" fmla="*/ 1465898 w 4143375"/>
                    <a:gd name="connsiteY37" fmla="*/ 325763 h 488641"/>
                    <a:gd name="connsiteX38" fmla="*/ 1491615 w 4143375"/>
                    <a:gd name="connsiteY38" fmla="*/ 322906 h 488641"/>
                    <a:gd name="connsiteX39" fmla="*/ 1505903 w 4143375"/>
                    <a:gd name="connsiteY39" fmla="*/ 320048 h 488641"/>
                    <a:gd name="connsiteX40" fmla="*/ 1537335 w 4143375"/>
                    <a:gd name="connsiteY40" fmla="*/ 317191 h 488641"/>
                    <a:gd name="connsiteX41" fmla="*/ 1563053 w 4143375"/>
                    <a:gd name="connsiteY41" fmla="*/ 311476 h 488641"/>
                    <a:gd name="connsiteX42" fmla="*/ 1583055 w 4143375"/>
                    <a:gd name="connsiteY42" fmla="*/ 308618 h 488641"/>
                    <a:gd name="connsiteX43" fmla="*/ 1657350 w 4143375"/>
                    <a:gd name="connsiteY43" fmla="*/ 305761 h 488641"/>
                    <a:gd name="connsiteX44" fmla="*/ 1691640 w 4143375"/>
                    <a:gd name="connsiteY44" fmla="*/ 300046 h 488641"/>
                    <a:gd name="connsiteX45" fmla="*/ 1717358 w 4143375"/>
                    <a:gd name="connsiteY45" fmla="*/ 294331 h 488641"/>
                    <a:gd name="connsiteX46" fmla="*/ 1745933 w 4143375"/>
                    <a:gd name="connsiteY46" fmla="*/ 285758 h 488641"/>
                    <a:gd name="connsiteX47" fmla="*/ 1760220 w 4143375"/>
                    <a:gd name="connsiteY47" fmla="*/ 282901 h 488641"/>
                    <a:gd name="connsiteX48" fmla="*/ 1851660 w 4143375"/>
                    <a:gd name="connsiteY48" fmla="*/ 277186 h 488641"/>
                    <a:gd name="connsiteX49" fmla="*/ 1874520 w 4143375"/>
                    <a:gd name="connsiteY49" fmla="*/ 274328 h 488641"/>
                    <a:gd name="connsiteX50" fmla="*/ 1888808 w 4143375"/>
                    <a:gd name="connsiteY50" fmla="*/ 271471 h 488641"/>
                    <a:gd name="connsiteX51" fmla="*/ 1911668 w 4143375"/>
                    <a:gd name="connsiteY51" fmla="*/ 268613 h 488641"/>
                    <a:gd name="connsiteX52" fmla="*/ 1920240 w 4143375"/>
                    <a:gd name="connsiteY52" fmla="*/ 265756 h 488641"/>
                    <a:gd name="connsiteX53" fmla="*/ 1960245 w 4143375"/>
                    <a:gd name="connsiteY53" fmla="*/ 260041 h 488641"/>
                    <a:gd name="connsiteX54" fmla="*/ 1980248 w 4143375"/>
                    <a:gd name="connsiteY54" fmla="*/ 254326 h 488641"/>
                    <a:gd name="connsiteX55" fmla="*/ 2088833 w 4143375"/>
                    <a:gd name="connsiteY55" fmla="*/ 248611 h 488641"/>
                    <a:gd name="connsiteX56" fmla="*/ 2105978 w 4143375"/>
                    <a:gd name="connsiteY56" fmla="*/ 242896 h 488641"/>
                    <a:gd name="connsiteX57" fmla="*/ 2125980 w 4143375"/>
                    <a:gd name="connsiteY57" fmla="*/ 237181 h 488641"/>
                    <a:gd name="connsiteX58" fmla="*/ 2177415 w 4143375"/>
                    <a:gd name="connsiteY58" fmla="*/ 231466 h 488641"/>
                    <a:gd name="connsiteX59" fmla="*/ 2205990 w 4143375"/>
                    <a:gd name="connsiteY59" fmla="*/ 225751 h 488641"/>
                    <a:gd name="connsiteX60" fmla="*/ 2223135 w 4143375"/>
                    <a:gd name="connsiteY60" fmla="*/ 222893 h 488641"/>
                    <a:gd name="connsiteX61" fmla="*/ 2237423 w 4143375"/>
                    <a:gd name="connsiteY61" fmla="*/ 220036 h 488641"/>
                    <a:gd name="connsiteX62" fmla="*/ 2286000 w 4143375"/>
                    <a:gd name="connsiteY62" fmla="*/ 217178 h 488641"/>
                    <a:gd name="connsiteX63" fmla="*/ 2323148 w 4143375"/>
                    <a:gd name="connsiteY63" fmla="*/ 214321 h 488641"/>
                    <a:gd name="connsiteX64" fmla="*/ 2337435 w 4143375"/>
                    <a:gd name="connsiteY64" fmla="*/ 211463 h 488641"/>
                    <a:gd name="connsiteX65" fmla="*/ 2360295 w 4143375"/>
                    <a:gd name="connsiteY65" fmla="*/ 205748 h 488641"/>
                    <a:gd name="connsiteX66" fmla="*/ 2417445 w 4143375"/>
                    <a:gd name="connsiteY66" fmla="*/ 202891 h 488641"/>
                    <a:gd name="connsiteX67" fmla="*/ 2426018 w 4143375"/>
                    <a:gd name="connsiteY67" fmla="*/ 200033 h 488641"/>
                    <a:gd name="connsiteX68" fmla="*/ 2460308 w 4143375"/>
                    <a:gd name="connsiteY68" fmla="*/ 194318 h 488641"/>
                    <a:gd name="connsiteX69" fmla="*/ 2486025 w 4143375"/>
                    <a:gd name="connsiteY69" fmla="*/ 188603 h 488641"/>
                    <a:gd name="connsiteX70" fmla="*/ 2508885 w 4143375"/>
                    <a:gd name="connsiteY70" fmla="*/ 185746 h 488641"/>
                    <a:gd name="connsiteX71" fmla="*/ 2551748 w 4143375"/>
                    <a:gd name="connsiteY71" fmla="*/ 180031 h 488641"/>
                    <a:gd name="connsiteX72" fmla="*/ 2631758 w 4143375"/>
                    <a:gd name="connsiteY72" fmla="*/ 177173 h 488641"/>
                    <a:gd name="connsiteX73" fmla="*/ 2640330 w 4143375"/>
                    <a:gd name="connsiteY73" fmla="*/ 174316 h 488641"/>
                    <a:gd name="connsiteX74" fmla="*/ 2651760 w 4143375"/>
                    <a:gd name="connsiteY74" fmla="*/ 171458 h 488641"/>
                    <a:gd name="connsiteX75" fmla="*/ 2671763 w 4143375"/>
                    <a:gd name="connsiteY75" fmla="*/ 162886 h 488641"/>
                    <a:gd name="connsiteX76" fmla="*/ 2766060 w 4143375"/>
                    <a:gd name="connsiteY76" fmla="*/ 157171 h 488641"/>
                    <a:gd name="connsiteX77" fmla="*/ 2788920 w 4143375"/>
                    <a:gd name="connsiteY77" fmla="*/ 154313 h 488641"/>
                    <a:gd name="connsiteX78" fmla="*/ 2828925 w 4143375"/>
                    <a:gd name="connsiteY78" fmla="*/ 151456 h 488641"/>
                    <a:gd name="connsiteX79" fmla="*/ 2840355 w 4143375"/>
                    <a:gd name="connsiteY79" fmla="*/ 148598 h 488641"/>
                    <a:gd name="connsiteX80" fmla="*/ 2863215 w 4143375"/>
                    <a:gd name="connsiteY80" fmla="*/ 145741 h 488641"/>
                    <a:gd name="connsiteX81" fmla="*/ 2920365 w 4143375"/>
                    <a:gd name="connsiteY81" fmla="*/ 140026 h 488641"/>
                    <a:gd name="connsiteX82" fmla="*/ 2948940 w 4143375"/>
                    <a:gd name="connsiteY82" fmla="*/ 134311 h 488641"/>
                    <a:gd name="connsiteX83" fmla="*/ 2957513 w 4143375"/>
                    <a:gd name="connsiteY83" fmla="*/ 131453 h 488641"/>
                    <a:gd name="connsiteX84" fmla="*/ 2986088 w 4143375"/>
                    <a:gd name="connsiteY84" fmla="*/ 125738 h 488641"/>
                    <a:gd name="connsiteX85" fmla="*/ 3020378 w 4143375"/>
                    <a:gd name="connsiteY85" fmla="*/ 120023 h 488641"/>
                    <a:gd name="connsiteX86" fmla="*/ 3060383 w 4143375"/>
                    <a:gd name="connsiteY86" fmla="*/ 114308 h 488641"/>
                    <a:gd name="connsiteX87" fmla="*/ 3106103 w 4143375"/>
                    <a:gd name="connsiteY87" fmla="*/ 108593 h 488641"/>
                    <a:gd name="connsiteX88" fmla="*/ 3143250 w 4143375"/>
                    <a:gd name="connsiteY88" fmla="*/ 102878 h 488641"/>
                    <a:gd name="connsiteX89" fmla="*/ 3163253 w 4143375"/>
                    <a:gd name="connsiteY89" fmla="*/ 100021 h 488641"/>
                    <a:gd name="connsiteX90" fmla="*/ 3240405 w 4143375"/>
                    <a:gd name="connsiteY90" fmla="*/ 94306 h 488641"/>
                    <a:gd name="connsiteX91" fmla="*/ 3248978 w 4143375"/>
                    <a:gd name="connsiteY91" fmla="*/ 91448 h 488641"/>
                    <a:gd name="connsiteX92" fmla="*/ 3297555 w 4143375"/>
                    <a:gd name="connsiteY92" fmla="*/ 85733 h 488641"/>
                    <a:gd name="connsiteX93" fmla="*/ 3308985 w 4143375"/>
                    <a:gd name="connsiteY93" fmla="*/ 82876 h 488641"/>
                    <a:gd name="connsiteX94" fmla="*/ 3363278 w 4143375"/>
                    <a:gd name="connsiteY94" fmla="*/ 77161 h 488641"/>
                    <a:gd name="connsiteX95" fmla="*/ 3377565 w 4143375"/>
                    <a:gd name="connsiteY95" fmla="*/ 74303 h 488641"/>
                    <a:gd name="connsiteX96" fmla="*/ 3443288 w 4143375"/>
                    <a:gd name="connsiteY96" fmla="*/ 68588 h 488641"/>
                    <a:gd name="connsiteX97" fmla="*/ 3540443 w 4143375"/>
                    <a:gd name="connsiteY97" fmla="*/ 62873 h 488641"/>
                    <a:gd name="connsiteX98" fmla="*/ 3554730 w 4143375"/>
                    <a:gd name="connsiteY98" fmla="*/ 60016 h 488641"/>
                    <a:gd name="connsiteX99" fmla="*/ 3614738 w 4143375"/>
                    <a:gd name="connsiteY99" fmla="*/ 57158 h 488641"/>
                    <a:gd name="connsiteX100" fmla="*/ 3640455 w 4143375"/>
                    <a:gd name="connsiteY100" fmla="*/ 54301 h 488641"/>
                    <a:gd name="connsiteX101" fmla="*/ 3651885 w 4143375"/>
                    <a:gd name="connsiteY101" fmla="*/ 51443 h 488641"/>
                    <a:gd name="connsiteX102" fmla="*/ 3680460 w 4143375"/>
                    <a:gd name="connsiteY102" fmla="*/ 48586 h 488641"/>
                    <a:gd name="connsiteX103" fmla="*/ 3700463 w 4143375"/>
                    <a:gd name="connsiteY103" fmla="*/ 45728 h 488641"/>
                    <a:gd name="connsiteX104" fmla="*/ 3711893 w 4143375"/>
                    <a:gd name="connsiteY104" fmla="*/ 42871 h 488641"/>
                    <a:gd name="connsiteX105" fmla="*/ 3766185 w 4143375"/>
                    <a:gd name="connsiteY105" fmla="*/ 37156 h 488641"/>
                    <a:gd name="connsiteX106" fmla="*/ 3774758 w 4143375"/>
                    <a:gd name="connsiteY106" fmla="*/ 34298 h 488641"/>
                    <a:gd name="connsiteX107" fmla="*/ 3823335 w 4143375"/>
                    <a:gd name="connsiteY107" fmla="*/ 28583 h 488641"/>
                    <a:gd name="connsiteX108" fmla="*/ 3897630 w 4143375"/>
                    <a:gd name="connsiteY108" fmla="*/ 22868 h 488641"/>
                    <a:gd name="connsiteX109" fmla="*/ 3929063 w 4143375"/>
                    <a:gd name="connsiteY109" fmla="*/ 20011 h 488641"/>
                    <a:gd name="connsiteX110" fmla="*/ 3974783 w 4143375"/>
                    <a:gd name="connsiteY110" fmla="*/ 14296 h 488641"/>
                    <a:gd name="connsiteX111" fmla="*/ 4066223 w 4143375"/>
                    <a:gd name="connsiteY111" fmla="*/ 11438 h 488641"/>
                    <a:gd name="connsiteX112" fmla="*/ 4109085 w 4143375"/>
                    <a:gd name="connsiteY112" fmla="*/ 2866 h 488641"/>
                    <a:gd name="connsiteX113" fmla="*/ 4143375 w 4143375"/>
                    <a:gd name="connsiteY113" fmla="*/ 8 h 488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143375" h="488641">
                      <a:moveTo>
                        <a:pt x="0" y="488641"/>
                      </a:moveTo>
                      <a:cubicBezTo>
                        <a:pt x="25718" y="487688"/>
                        <a:pt x="51475" y="487495"/>
                        <a:pt x="77153" y="485783"/>
                      </a:cubicBezTo>
                      <a:cubicBezTo>
                        <a:pt x="80158" y="485583"/>
                        <a:pt x="82754" y="483421"/>
                        <a:pt x="85725" y="482926"/>
                      </a:cubicBezTo>
                      <a:cubicBezTo>
                        <a:pt x="94233" y="481508"/>
                        <a:pt x="102870" y="481021"/>
                        <a:pt x="111443" y="480068"/>
                      </a:cubicBezTo>
                      <a:cubicBezTo>
                        <a:pt x="115253" y="479116"/>
                        <a:pt x="119263" y="478758"/>
                        <a:pt x="122873" y="477211"/>
                      </a:cubicBezTo>
                      <a:cubicBezTo>
                        <a:pt x="136023" y="471576"/>
                        <a:pt x="126370" y="471047"/>
                        <a:pt x="140018" y="468638"/>
                      </a:cubicBezTo>
                      <a:cubicBezTo>
                        <a:pt x="189144" y="459968"/>
                        <a:pt x="197809" y="462113"/>
                        <a:pt x="257175" y="460066"/>
                      </a:cubicBezTo>
                      <a:lnTo>
                        <a:pt x="345758" y="457208"/>
                      </a:lnTo>
                      <a:cubicBezTo>
                        <a:pt x="350584" y="455599"/>
                        <a:pt x="361151" y="451834"/>
                        <a:pt x="365760" y="451493"/>
                      </a:cubicBezTo>
                      <a:cubicBezTo>
                        <a:pt x="387628" y="449873"/>
                        <a:pt x="409575" y="449588"/>
                        <a:pt x="431483" y="448636"/>
                      </a:cubicBezTo>
                      <a:lnTo>
                        <a:pt x="491490" y="440063"/>
                      </a:lnTo>
                      <a:cubicBezTo>
                        <a:pt x="498158" y="439110"/>
                        <a:pt x="504799" y="437950"/>
                        <a:pt x="511493" y="437206"/>
                      </a:cubicBezTo>
                      <a:lnTo>
                        <a:pt x="537210" y="434348"/>
                      </a:lnTo>
                      <a:cubicBezTo>
                        <a:pt x="540068" y="433396"/>
                        <a:pt x="542843" y="432144"/>
                        <a:pt x="545783" y="431491"/>
                      </a:cubicBezTo>
                      <a:cubicBezTo>
                        <a:pt x="562757" y="427719"/>
                        <a:pt x="576312" y="427676"/>
                        <a:pt x="594360" y="425776"/>
                      </a:cubicBezTo>
                      <a:cubicBezTo>
                        <a:pt x="601997" y="424972"/>
                        <a:pt x="609575" y="423646"/>
                        <a:pt x="617220" y="422918"/>
                      </a:cubicBezTo>
                      <a:cubicBezTo>
                        <a:pt x="629583" y="421741"/>
                        <a:pt x="641995" y="421137"/>
                        <a:pt x="654368" y="420061"/>
                      </a:cubicBezTo>
                      <a:cubicBezTo>
                        <a:pt x="710579" y="415173"/>
                        <a:pt x="660263" y="419656"/>
                        <a:pt x="700088" y="414346"/>
                      </a:cubicBezTo>
                      <a:cubicBezTo>
                        <a:pt x="723173" y="411268"/>
                        <a:pt x="738769" y="410491"/>
                        <a:pt x="762953" y="408631"/>
                      </a:cubicBezTo>
                      <a:cubicBezTo>
                        <a:pt x="774383" y="406726"/>
                        <a:pt x="786001" y="405727"/>
                        <a:pt x="797243" y="402916"/>
                      </a:cubicBezTo>
                      <a:cubicBezTo>
                        <a:pt x="801053" y="401963"/>
                        <a:pt x="804809" y="400761"/>
                        <a:pt x="808673" y="400058"/>
                      </a:cubicBezTo>
                      <a:cubicBezTo>
                        <a:pt x="821243" y="397773"/>
                        <a:pt x="833359" y="397112"/>
                        <a:pt x="845820" y="394343"/>
                      </a:cubicBezTo>
                      <a:cubicBezTo>
                        <a:pt x="848760" y="393690"/>
                        <a:pt x="851416" y="391944"/>
                        <a:pt x="854393" y="391486"/>
                      </a:cubicBezTo>
                      <a:cubicBezTo>
                        <a:pt x="876216" y="388129"/>
                        <a:pt x="920330" y="386662"/>
                        <a:pt x="937260" y="385771"/>
                      </a:cubicBezTo>
                      <a:cubicBezTo>
                        <a:pt x="976410" y="375982"/>
                        <a:pt x="916851" y="390050"/>
                        <a:pt x="1020128" y="380056"/>
                      </a:cubicBezTo>
                      <a:cubicBezTo>
                        <a:pt x="1026124" y="379476"/>
                        <a:pt x="1031309" y="375193"/>
                        <a:pt x="1037273" y="374341"/>
                      </a:cubicBezTo>
                      <a:cubicBezTo>
                        <a:pt x="1065814" y="370263"/>
                        <a:pt x="1050581" y="372227"/>
                        <a:pt x="1082993" y="368626"/>
                      </a:cubicBezTo>
                      <a:cubicBezTo>
                        <a:pt x="1086803" y="367673"/>
                        <a:pt x="1090572" y="366538"/>
                        <a:pt x="1094423" y="365768"/>
                      </a:cubicBezTo>
                      <a:cubicBezTo>
                        <a:pt x="1110445" y="362564"/>
                        <a:pt x="1120146" y="361958"/>
                        <a:pt x="1137285" y="360053"/>
                      </a:cubicBezTo>
                      <a:cubicBezTo>
                        <a:pt x="1141095" y="359101"/>
                        <a:pt x="1144851" y="357899"/>
                        <a:pt x="1148715" y="357196"/>
                      </a:cubicBezTo>
                      <a:cubicBezTo>
                        <a:pt x="1169363" y="353442"/>
                        <a:pt x="1177270" y="354023"/>
                        <a:pt x="1200150" y="351481"/>
                      </a:cubicBezTo>
                      <a:cubicBezTo>
                        <a:pt x="1206844" y="350737"/>
                        <a:pt x="1213509" y="349730"/>
                        <a:pt x="1220153" y="348623"/>
                      </a:cubicBezTo>
                      <a:cubicBezTo>
                        <a:pt x="1224944" y="347825"/>
                        <a:pt x="1229597" y="346125"/>
                        <a:pt x="1234440" y="345766"/>
                      </a:cubicBezTo>
                      <a:cubicBezTo>
                        <a:pt x="1255359" y="344216"/>
                        <a:pt x="1276350" y="343861"/>
                        <a:pt x="1297305" y="342908"/>
                      </a:cubicBezTo>
                      <a:cubicBezTo>
                        <a:pt x="1302068" y="341956"/>
                        <a:pt x="1306769" y="340618"/>
                        <a:pt x="1311593" y="340051"/>
                      </a:cubicBezTo>
                      <a:cubicBezTo>
                        <a:pt x="1322984" y="338711"/>
                        <a:pt x="1334460" y="338231"/>
                        <a:pt x="1345883" y="337193"/>
                      </a:cubicBezTo>
                      <a:lnTo>
                        <a:pt x="1374458" y="334336"/>
                      </a:lnTo>
                      <a:cubicBezTo>
                        <a:pt x="1420459" y="325134"/>
                        <a:pt x="1349775" y="338664"/>
                        <a:pt x="1465898" y="325763"/>
                      </a:cubicBezTo>
                      <a:cubicBezTo>
                        <a:pt x="1474470" y="324811"/>
                        <a:pt x="1483077" y="324126"/>
                        <a:pt x="1491615" y="322906"/>
                      </a:cubicBezTo>
                      <a:cubicBezTo>
                        <a:pt x="1496423" y="322219"/>
                        <a:pt x="1501083" y="320650"/>
                        <a:pt x="1505903" y="320048"/>
                      </a:cubicBezTo>
                      <a:cubicBezTo>
                        <a:pt x="1516342" y="318743"/>
                        <a:pt x="1526858" y="318143"/>
                        <a:pt x="1537335" y="317191"/>
                      </a:cubicBezTo>
                      <a:cubicBezTo>
                        <a:pt x="1547620" y="314619"/>
                        <a:pt x="1552157" y="313292"/>
                        <a:pt x="1563053" y="311476"/>
                      </a:cubicBezTo>
                      <a:cubicBezTo>
                        <a:pt x="1569696" y="310369"/>
                        <a:pt x="1576332" y="309025"/>
                        <a:pt x="1583055" y="308618"/>
                      </a:cubicBezTo>
                      <a:cubicBezTo>
                        <a:pt x="1607793" y="307119"/>
                        <a:pt x="1632585" y="306713"/>
                        <a:pt x="1657350" y="305761"/>
                      </a:cubicBezTo>
                      <a:cubicBezTo>
                        <a:pt x="1668780" y="303856"/>
                        <a:pt x="1680647" y="303711"/>
                        <a:pt x="1691640" y="300046"/>
                      </a:cubicBezTo>
                      <a:cubicBezTo>
                        <a:pt x="1705709" y="295356"/>
                        <a:pt x="1697242" y="297683"/>
                        <a:pt x="1717358" y="294331"/>
                      </a:cubicBezTo>
                      <a:cubicBezTo>
                        <a:pt x="1731595" y="289585"/>
                        <a:pt x="1732984" y="288636"/>
                        <a:pt x="1745933" y="285758"/>
                      </a:cubicBezTo>
                      <a:cubicBezTo>
                        <a:pt x="1750674" y="284704"/>
                        <a:pt x="1755390" y="283409"/>
                        <a:pt x="1760220" y="282901"/>
                      </a:cubicBezTo>
                      <a:cubicBezTo>
                        <a:pt x="1778486" y="280978"/>
                        <a:pt x="1836798" y="278012"/>
                        <a:pt x="1851660" y="277186"/>
                      </a:cubicBezTo>
                      <a:cubicBezTo>
                        <a:pt x="1859280" y="276233"/>
                        <a:pt x="1866930" y="275496"/>
                        <a:pt x="1874520" y="274328"/>
                      </a:cubicBezTo>
                      <a:cubicBezTo>
                        <a:pt x="1879320" y="273589"/>
                        <a:pt x="1884008" y="272210"/>
                        <a:pt x="1888808" y="271471"/>
                      </a:cubicBezTo>
                      <a:cubicBezTo>
                        <a:pt x="1896398" y="270303"/>
                        <a:pt x="1904048" y="269566"/>
                        <a:pt x="1911668" y="268613"/>
                      </a:cubicBezTo>
                      <a:cubicBezTo>
                        <a:pt x="1914525" y="267661"/>
                        <a:pt x="1917318" y="266486"/>
                        <a:pt x="1920240" y="265756"/>
                      </a:cubicBezTo>
                      <a:cubicBezTo>
                        <a:pt x="1934803" y="262115"/>
                        <a:pt x="1944232" y="261820"/>
                        <a:pt x="1960245" y="260041"/>
                      </a:cubicBezTo>
                      <a:cubicBezTo>
                        <a:pt x="1967594" y="257591"/>
                        <a:pt x="1972348" y="255762"/>
                        <a:pt x="1980248" y="254326"/>
                      </a:cubicBezTo>
                      <a:cubicBezTo>
                        <a:pt x="2016676" y="247703"/>
                        <a:pt x="2049753" y="249871"/>
                        <a:pt x="2088833" y="248611"/>
                      </a:cubicBezTo>
                      <a:lnTo>
                        <a:pt x="2105978" y="242896"/>
                      </a:lnTo>
                      <a:cubicBezTo>
                        <a:pt x="2113330" y="240445"/>
                        <a:pt x="2118076" y="238618"/>
                        <a:pt x="2125980" y="237181"/>
                      </a:cubicBezTo>
                      <a:cubicBezTo>
                        <a:pt x="2143371" y="234019"/>
                        <a:pt x="2159622" y="233083"/>
                        <a:pt x="2177415" y="231466"/>
                      </a:cubicBezTo>
                      <a:cubicBezTo>
                        <a:pt x="2193008" y="226268"/>
                        <a:pt x="2181596" y="229504"/>
                        <a:pt x="2205990" y="225751"/>
                      </a:cubicBezTo>
                      <a:cubicBezTo>
                        <a:pt x="2211716" y="224870"/>
                        <a:pt x="2217435" y="223929"/>
                        <a:pt x="2223135" y="222893"/>
                      </a:cubicBezTo>
                      <a:cubicBezTo>
                        <a:pt x="2227914" y="222024"/>
                        <a:pt x="2232586" y="220476"/>
                        <a:pt x="2237423" y="220036"/>
                      </a:cubicBezTo>
                      <a:cubicBezTo>
                        <a:pt x="2253577" y="218567"/>
                        <a:pt x="2269816" y="218257"/>
                        <a:pt x="2286000" y="217178"/>
                      </a:cubicBezTo>
                      <a:cubicBezTo>
                        <a:pt x="2298392" y="216352"/>
                        <a:pt x="2310765" y="215273"/>
                        <a:pt x="2323148" y="214321"/>
                      </a:cubicBezTo>
                      <a:cubicBezTo>
                        <a:pt x="2327910" y="213368"/>
                        <a:pt x="2332703" y="212555"/>
                        <a:pt x="2337435" y="211463"/>
                      </a:cubicBezTo>
                      <a:cubicBezTo>
                        <a:pt x="2345088" y="209697"/>
                        <a:pt x="2352450" y="206140"/>
                        <a:pt x="2360295" y="205748"/>
                      </a:cubicBezTo>
                      <a:lnTo>
                        <a:pt x="2417445" y="202891"/>
                      </a:lnTo>
                      <a:cubicBezTo>
                        <a:pt x="2420303" y="201938"/>
                        <a:pt x="2423096" y="200764"/>
                        <a:pt x="2426018" y="200033"/>
                      </a:cubicBezTo>
                      <a:cubicBezTo>
                        <a:pt x="2441797" y="196088"/>
                        <a:pt x="2442587" y="197540"/>
                        <a:pt x="2460308" y="194318"/>
                      </a:cubicBezTo>
                      <a:cubicBezTo>
                        <a:pt x="2491553" y="188637"/>
                        <a:pt x="2449209" y="194267"/>
                        <a:pt x="2486025" y="188603"/>
                      </a:cubicBezTo>
                      <a:cubicBezTo>
                        <a:pt x="2493615" y="187435"/>
                        <a:pt x="2501265" y="186698"/>
                        <a:pt x="2508885" y="185746"/>
                      </a:cubicBezTo>
                      <a:cubicBezTo>
                        <a:pt x="2527892" y="180993"/>
                        <a:pt x="2523447" y="181482"/>
                        <a:pt x="2551748" y="180031"/>
                      </a:cubicBezTo>
                      <a:cubicBezTo>
                        <a:pt x="2578400" y="178664"/>
                        <a:pt x="2605088" y="178126"/>
                        <a:pt x="2631758" y="177173"/>
                      </a:cubicBezTo>
                      <a:cubicBezTo>
                        <a:pt x="2634615" y="176221"/>
                        <a:pt x="2637434" y="175143"/>
                        <a:pt x="2640330" y="174316"/>
                      </a:cubicBezTo>
                      <a:cubicBezTo>
                        <a:pt x="2644106" y="173237"/>
                        <a:pt x="2648150" y="173005"/>
                        <a:pt x="2651760" y="171458"/>
                      </a:cubicBezTo>
                      <a:cubicBezTo>
                        <a:pt x="2667172" y="164853"/>
                        <a:pt x="2652917" y="165103"/>
                        <a:pt x="2671763" y="162886"/>
                      </a:cubicBezTo>
                      <a:cubicBezTo>
                        <a:pt x="2694132" y="160254"/>
                        <a:pt x="2748412" y="158053"/>
                        <a:pt x="2766060" y="157171"/>
                      </a:cubicBezTo>
                      <a:cubicBezTo>
                        <a:pt x="2773680" y="156218"/>
                        <a:pt x="2781272" y="155008"/>
                        <a:pt x="2788920" y="154313"/>
                      </a:cubicBezTo>
                      <a:cubicBezTo>
                        <a:pt x="2802234" y="153103"/>
                        <a:pt x="2815638" y="152932"/>
                        <a:pt x="2828925" y="151456"/>
                      </a:cubicBezTo>
                      <a:cubicBezTo>
                        <a:pt x="2832828" y="151022"/>
                        <a:pt x="2836481" y="149244"/>
                        <a:pt x="2840355" y="148598"/>
                      </a:cubicBezTo>
                      <a:cubicBezTo>
                        <a:pt x="2847930" y="147336"/>
                        <a:pt x="2855588" y="146638"/>
                        <a:pt x="2863215" y="145741"/>
                      </a:cubicBezTo>
                      <a:cubicBezTo>
                        <a:pt x="2890576" y="142522"/>
                        <a:pt x="2891092" y="142687"/>
                        <a:pt x="2920365" y="140026"/>
                      </a:cubicBezTo>
                      <a:cubicBezTo>
                        <a:pt x="2939733" y="133569"/>
                        <a:pt x="2916105" y="140878"/>
                        <a:pt x="2948940" y="134311"/>
                      </a:cubicBezTo>
                      <a:cubicBezTo>
                        <a:pt x="2951894" y="133720"/>
                        <a:pt x="2954578" y="132130"/>
                        <a:pt x="2957513" y="131453"/>
                      </a:cubicBezTo>
                      <a:cubicBezTo>
                        <a:pt x="2966978" y="129269"/>
                        <a:pt x="2976507" y="127335"/>
                        <a:pt x="2986088" y="125738"/>
                      </a:cubicBezTo>
                      <a:cubicBezTo>
                        <a:pt x="2997518" y="123833"/>
                        <a:pt x="3009136" y="122833"/>
                        <a:pt x="3020378" y="120023"/>
                      </a:cubicBezTo>
                      <a:cubicBezTo>
                        <a:pt x="3041095" y="114845"/>
                        <a:pt x="3027900" y="117557"/>
                        <a:pt x="3060383" y="114308"/>
                      </a:cubicBezTo>
                      <a:cubicBezTo>
                        <a:pt x="3084922" y="108174"/>
                        <a:pt x="3062113" y="113224"/>
                        <a:pt x="3106103" y="108593"/>
                      </a:cubicBezTo>
                      <a:cubicBezTo>
                        <a:pt x="3119251" y="107209"/>
                        <a:pt x="3130292" y="104871"/>
                        <a:pt x="3143250" y="102878"/>
                      </a:cubicBezTo>
                      <a:cubicBezTo>
                        <a:pt x="3149907" y="101854"/>
                        <a:pt x="3156544" y="100613"/>
                        <a:pt x="3163253" y="100021"/>
                      </a:cubicBezTo>
                      <a:cubicBezTo>
                        <a:pt x="3188941" y="97755"/>
                        <a:pt x="3240405" y="94306"/>
                        <a:pt x="3240405" y="94306"/>
                      </a:cubicBezTo>
                      <a:cubicBezTo>
                        <a:pt x="3243263" y="93353"/>
                        <a:pt x="3246014" y="91987"/>
                        <a:pt x="3248978" y="91448"/>
                      </a:cubicBezTo>
                      <a:cubicBezTo>
                        <a:pt x="3255132" y="90329"/>
                        <a:pt x="3292582" y="86286"/>
                        <a:pt x="3297555" y="85733"/>
                      </a:cubicBezTo>
                      <a:cubicBezTo>
                        <a:pt x="3301365" y="84781"/>
                        <a:pt x="3305103" y="83473"/>
                        <a:pt x="3308985" y="82876"/>
                      </a:cubicBezTo>
                      <a:cubicBezTo>
                        <a:pt x="3316276" y="81754"/>
                        <a:pt x="3357129" y="77776"/>
                        <a:pt x="3363278" y="77161"/>
                      </a:cubicBezTo>
                      <a:cubicBezTo>
                        <a:pt x="3368040" y="76208"/>
                        <a:pt x="3372751" y="74945"/>
                        <a:pt x="3377565" y="74303"/>
                      </a:cubicBezTo>
                      <a:cubicBezTo>
                        <a:pt x="3394292" y="72073"/>
                        <a:pt x="3428000" y="69764"/>
                        <a:pt x="3443288" y="68588"/>
                      </a:cubicBezTo>
                      <a:cubicBezTo>
                        <a:pt x="3491129" y="60616"/>
                        <a:pt x="3434505" y="69293"/>
                        <a:pt x="3540443" y="62873"/>
                      </a:cubicBezTo>
                      <a:cubicBezTo>
                        <a:pt x="3545291" y="62579"/>
                        <a:pt x="3549888" y="60388"/>
                        <a:pt x="3554730" y="60016"/>
                      </a:cubicBezTo>
                      <a:cubicBezTo>
                        <a:pt x="3574696" y="58480"/>
                        <a:pt x="3594735" y="58111"/>
                        <a:pt x="3614738" y="57158"/>
                      </a:cubicBezTo>
                      <a:cubicBezTo>
                        <a:pt x="3623310" y="56206"/>
                        <a:pt x="3631930" y="55613"/>
                        <a:pt x="3640455" y="54301"/>
                      </a:cubicBezTo>
                      <a:cubicBezTo>
                        <a:pt x="3644337" y="53704"/>
                        <a:pt x="3647997" y="51998"/>
                        <a:pt x="3651885" y="51443"/>
                      </a:cubicBezTo>
                      <a:cubicBezTo>
                        <a:pt x="3661361" y="50089"/>
                        <a:pt x="3670953" y="49704"/>
                        <a:pt x="3680460" y="48586"/>
                      </a:cubicBezTo>
                      <a:cubicBezTo>
                        <a:pt x="3687149" y="47799"/>
                        <a:pt x="3693836" y="46933"/>
                        <a:pt x="3700463" y="45728"/>
                      </a:cubicBezTo>
                      <a:cubicBezTo>
                        <a:pt x="3704327" y="45025"/>
                        <a:pt x="3708011" y="43468"/>
                        <a:pt x="3711893" y="42871"/>
                      </a:cubicBezTo>
                      <a:cubicBezTo>
                        <a:pt x="3719186" y="41749"/>
                        <a:pt x="3760035" y="37771"/>
                        <a:pt x="3766185" y="37156"/>
                      </a:cubicBezTo>
                      <a:cubicBezTo>
                        <a:pt x="3769043" y="36203"/>
                        <a:pt x="3771794" y="34837"/>
                        <a:pt x="3774758" y="34298"/>
                      </a:cubicBezTo>
                      <a:cubicBezTo>
                        <a:pt x="3781993" y="32983"/>
                        <a:pt x="3817148" y="29356"/>
                        <a:pt x="3823335" y="28583"/>
                      </a:cubicBezTo>
                      <a:cubicBezTo>
                        <a:pt x="3878328" y="21709"/>
                        <a:pt x="3790738" y="29994"/>
                        <a:pt x="3897630" y="22868"/>
                      </a:cubicBezTo>
                      <a:cubicBezTo>
                        <a:pt x="3908128" y="22168"/>
                        <a:pt x="3918606" y="21173"/>
                        <a:pt x="3929063" y="20011"/>
                      </a:cubicBezTo>
                      <a:cubicBezTo>
                        <a:pt x="3944328" y="18315"/>
                        <a:pt x="3959432" y="14776"/>
                        <a:pt x="3974783" y="14296"/>
                      </a:cubicBezTo>
                      <a:lnTo>
                        <a:pt x="4066223" y="11438"/>
                      </a:lnTo>
                      <a:cubicBezTo>
                        <a:pt x="4080368" y="7902"/>
                        <a:pt x="4094614" y="4795"/>
                        <a:pt x="4109085" y="2866"/>
                      </a:cubicBezTo>
                      <a:cubicBezTo>
                        <a:pt x="4132887" y="-308"/>
                        <a:pt x="4127753" y="8"/>
                        <a:pt x="4143375" y="8"/>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a:solidFill>
                      <a:srgbClr val="FFFFFF"/>
                    </a:solidFill>
                  </a:endParaRPr>
                </a:p>
              </p:txBody>
            </p:sp>
            <p:sp>
              <p:nvSpPr>
                <p:cNvPr id="87" name="Freeform 86"/>
                <p:cNvSpPr/>
                <p:nvPr/>
              </p:nvSpPr>
              <p:spPr>
                <a:xfrm>
                  <a:off x="5517833" y="3000013"/>
                  <a:ext cx="2314575" cy="306115"/>
                </a:xfrm>
                <a:custGeom>
                  <a:avLst/>
                  <a:gdLst>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20227 w 2314575"/>
                    <a:gd name="connsiteY50" fmla="*/ 100375 h 306115"/>
                    <a:gd name="connsiteX51" fmla="*/ 1828800 w 2314575"/>
                    <a:gd name="connsiteY51" fmla="*/ 97517 h 306115"/>
                    <a:gd name="connsiteX52" fmla="*/ 1857375 w 2314575"/>
                    <a:gd name="connsiteY52" fmla="*/ 91802 h 306115"/>
                    <a:gd name="connsiteX53" fmla="*/ 1868805 w 2314575"/>
                    <a:gd name="connsiteY53" fmla="*/ 88945 h 306115"/>
                    <a:gd name="connsiteX54" fmla="*/ 1897380 w 2314575"/>
                    <a:gd name="connsiteY54" fmla="*/ 77515 h 306115"/>
                    <a:gd name="connsiteX55" fmla="*/ 1905952 w 2314575"/>
                    <a:gd name="connsiteY55" fmla="*/ 74657 h 306115"/>
                    <a:gd name="connsiteX56" fmla="*/ 1925955 w 2314575"/>
                    <a:gd name="connsiteY56" fmla="*/ 71800 h 306115"/>
                    <a:gd name="connsiteX57" fmla="*/ 1951672 w 2314575"/>
                    <a:gd name="connsiteY57" fmla="*/ 60370 h 306115"/>
                    <a:gd name="connsiteX58" fmla="*/ 1957387 w 2314575"/>
                    <a:gd name="connsiteY58" fmla="*/ 51797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20227 w 2314575"/>
                    <a:gd name="connsiteY50" fmla="*/ 100375 h 306115"/>
                    <a:gd name="connsiteX51" fmla="*/ 1816308 w 2314575"/>
                    <a:gd name="connsiteY51" fmla="*/ 90022 h 306115"/>
                    <a:gd name="connsiteX52" fmla="*/ 1857375 w 2314575"/>
                    <a:gd name="connsiteY52" fmla="*/ 91802 h 306115"/>
                    <a:gd name="connsiteX53" fmla="*/ 1868805 w 2314575"/>
                    <a:gd name="connsiteY53" fmla="*/ 88945 h 306115"/>
                    <a:gd name="connsiteX54" fmla="*/ 1897380 w 2314575"/>
                    <a:gd name="connsiteY54" fmla="*/ 77515 h 306115"/>
                    <a:gd name="connsiteX55" fmla="*/ 1905952 w 2314575"/>
                    <a:gd name="connsiteY55" fmla="*/ 74657 h 306115"/>
                    <a:gd name="connsiteX56" fmla="*/ 1925955 w 2314575"/>
                    <a:gd name="connsiteY56" fmla="*/ 71800 h 306115"/>
                    <a:gd name="connsiteX57" fmla="*/ 1951672 w 2314575"/>
                    <a:gd name="connsiteY57" fmla="*/ 60370 h 306115"/>
                    <a:gd name="connsiteX58" fmla="*/ 1957387 w 2314575"/>
                    <a:gd name="connsiteY58" fmla="*/ 51797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20227 w 2314575"/>
                    <a:gd name="connsiteY50" fmla="*/ 100375 h 306115"/>
                    <a:gd name="connsiteX51" fmla="*/ 1821304 w 2314575"/>
                    <a:gd name="connsiteY51" fmla="*/ 85025 h 306115"/>
                    <a:gd name="connsiteX52" fmla="*/ 1857375 w 2314575"/>
                    <a:gd name="connsiteY52" fmla="*/ 91802 h 306115"/>
                    <a:gd name="connsiteX53" fmla="*/ 1868805 w 2314575"/>
                    <a:gd name="connsiteY53" fmla="*/ 88945 h 306115"/>
                    <a:gd name="connsiteX54" fmla="*/ 1897380 w 2314575"/>
                    <a:gd name="connsiteY54" fmla="*/ 77515 h 306115"/>
                    <a:gd name="connsiteX55" fmla="*/ 1905952 w 2314575"/>
                    <a:gd name="connsiteY55" fmla="*/ 74657 h 306115"/>
                    <a:gd name="connsiteX56" fmla="*/ 1925955 w 2314575"/>
                    <a:gd name="connsiteY56" fmla="*/ 71800 h 306115"/>
                    <a:gd name="connsiteX57" fmla="*/ 1951672 w 2314575"/>
                    <a:gd name="connsiteY57" fmla="*/ 60370 h 306115"/>
                    <a:gd name="connsiteX58" fmla="*/ 1957387 w 2314575"/>
                    <a:gd name="connsiteY58" fmla="*/ 51797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05236 w 2314575"/>
                    <a:gd name="connsiteY50" fmla="*/ 95378 h 306115"/>
                    <a:gd name="connsiteX51" fmla="*/ 1821304 w 2314575"/>
                    <a:gd name="connsiteY51" fmla="*/ 85025 h 306115"/>
                    <a:gd name="connsiteX52" fmla="*/ 1857375 w 2314575"/>
                    <a:gd name="connsiteY52" fmla="*/ 91802 h 306115"/>
                    <a:gd name="connsiteX53" fmla="*/ 1868805 w 2314575"/>
                    <a:gd name="connsiteY53" fmla="*/ 88945 h 306115"/>
                    <a:gd name="connsiteX54" fmla="*/ 1897380 w 2314575"/>
                    <a:gd name="connsiteY54" fmla="*/ 77515 h 306115"/>
                    <a:gd name="connsiteX55" fmla="*/ 1905952 w 2314575"/>
                    <a:gd name="connsiteY55" fmla="*/ 74657 h 306115"/>
                    <a:gd name="connsiteX56" fmla="*/ 1925955 w 2314575"/>
                    <a:gd name="connsiteY56" fmla="*/ 71800 h 306115"/>
                    <a:gd name="connsiteX57" fmla="*/ 1951672 w 2314575"/>
                    <a:gd name="connsiteY57" fmla="*/ 60370 h 306115"/>
                    <a:gd name="connsiteX58" fmla="*/ 1957387 w 2314575"/>
                    <a:gd name="connsiteY58" fmla="*/ 51797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05236 w 2314575"/>
                    <a:gd name="connsiteY50" fmla="*/ 95378 h 306115"/>
                    <a:gd name="connsiteX51" fmla="*/ 1821304 w 2314575"/>
                    <a:gd name="connsiteY51" fmla="*/ 85025 h 306115"/>
                    <a:gd name="connsiteX52" fmla="*/ 1849880 w 2314575"/>
                    <a:gd name="connsiteY52" fmla="*/ 81809 h 306115"/>
                    <a:gd name="connsiteX53" fmla="*/ 1868805 w 2314575"/>
                    <a:gd name="connsiteY53" fmla="*/ 88945 h 306115"/>
                    <a:gd name="connsiteX54" fmla="*/ 1897380 w 2314575"/>
                    <a:gd name="connsiteY54" fmla="*/ 77515 h 306115"/>
                    <a:gd name="connsiteX55" fmla="*/ 1905952 w 2314575"/>
                    <a:gd name="connsiteY55" fmla="*/ 74657 h 306115"/>
                    <a:gd name="connsiteX56" fmla="*/ 1925955 w 2314575"/>
                    <a:gd name="connsiteY56" fmla="*/ 71800 h 306115"/>
                    <a:gd name="connsiteX57" fmla="*/ 1951672 w 2314575"/>
                    <a:gd name="connsiteY57" fmla="*/ 60370 h 306115"/>
                    <a:gd name="connsiteX58" fmla="*/ 1957387 w 2314575"/>
                    <a:gd name="connsiteY58" fmla="*/ 51797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05236 w 2314575"/>
                    <a:gd name="connsiteY50" fmla="*/ 95378 h 306115"/>
                    <a:gd name="connsiteX51" fmla="*/ 1821304 w 2314575"/>
                    <a:gd name="connsiteY51" fmla="*/ 85025 h 306115"/>
                    <a:gd name="connsiteX52" fmla="*/ 1849880 w 2314575"/>
                    <a:gd name="connsiteY52" fmla="*/ 81809 h 306115"/>
                    <a:gd name="connsiteX53" fmla="*/ 1866307 w 2314575"/>
                    <a:gd name="connsiteY53" fmla="*/ 76453 h 306115"/>
                    <a:gd name="connsiteX54" fmla="*/ 1897380 w 2314575"/>
                    <a:gd name="connsiteY54" fmla="*/ 77515 h 306115"/>
                    <a:gd name="connsiteX55" fmla="*/ 1905952 w 2314575"/>
                    <a:gd name="connsiteY55" fmla="*/ 74657 h 306115"/>
                    <a:gd name="connsiteX56" fmla="*/ 1925955 w 2314575"/>
                    <a:gd name="connsiteY56" fmla="*/ 71800 h 306115"/>
                    <a:gd name="connsiteX57" fmla="*/ 1951672 w 2314575"/>
                    <a:gd name="connsiteY57" fmla="*/ 60370 h 306115"/>
                    <a:gd name="connsiteX58" fmla="*/ 1957387 w 2314575"/>
                    <a:gd name="connsiteY58" fmla="*/ 51797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05236 w 2314575"/>
                    <a:gd name="connsiteY50" fmla="*/ 95378 h 306115"/>
                    <a:gd name="connsiteX51" fmla="*/ 1821304 w 2314575"/>
                    <a:gd name="connsiteY51" fmla="*/ 85025 h 306115"/>
                    <a:gd name="connsiteX52" fmla="*/ 1849880 w 2314575"/>
                    <a:gd name="connsiteY52" fmla="*/ 81809 h 306115"/>
                    <a:gd name="connsiteX53" fmla="*/ 1866307 w 2314575"/>
                    <a:gd name="connsiteY53" fmla="*/ 76453 h 306115"/>
                    <a:gd name="connsiteX54" fmla="*/ 1897380 w 2314575"/>
                    <a:gd name="connsiteY54" fmla="*/ 77515 h 306115"/>
                    <a:gd name="connsiteX55" fmla="*/ 1905952 w 2314575"/>
                    <a:gd name="connsiteY55" fmla="*/ 74657 h 306115"/>
                    <a:gd name="connsiteX56" fmla="*/ 1925955 w 2314575"/>
                    <a:gd name="connsiteY56" fmla="*/ 64304 h 306115"/>
                    <a:gd name="connsiteX57" fmla="*/ 1951672 w 2314575"/>
                    <a:gd name="connsiteY57" fmla="*/ 60370 h 306115"/>
                    <a:gd name="connsiteX58" fmla="*/ 1957387 w 2314575"/>
                    <a:gd name="connsiteY58" fmla="*/ 51797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05236 w 2314575"/>
                    <a:gd name="connsiteY50" fmla="*/ 95378 h 306115"/>
                    <a:gd name="connsiteX51" fmla="*/ 1821304 w 2314575"/>
                    <a:gd name="connsiteY51" fmla="*/ 85025 h 306115"/>
                    <a:gd name="connsiteX52" fmla="*/ 1849880 w 2314575"/>
                    <a:gd name="connsiteY52" fmla="*/ 81809 h 306115"/>
                    <a:gd name="connsiteX53" fmla="*/ 1866307 w 2314575"/>
                    <a:gd name="connsiteY53" fmla="*/ 76453 h 306115"/>
                    <a:gd name="connsiteX54" fmla="*/ 1897380 w 2314575"/>
                    <a:gd name="connsiteY54" fmla="*/ 77515 h 306115"/>
                    <a:gd name="connsiteX55" fmla="*/ 1905952 w 2314575"/>
                    <a:gd name="connsiteY55" fmla="*/ 74657 h 306115"/>
                    <a:gd name="connsiteX56" fmla="*/ 1925955 w 2314575"/>
                    <a:gd name="connsiteY56" fmla="*/ 64304 h 306115"/>
                    <a:gd name="connsiteX57" fmla="*/ 1951672 w 2314575"/>
                    <a:gd name="connsiteY57" fmla="*/ 60370 h 306115"/>
                    <a:gd name="connsiteX58" fmla="*/ 1949892 w 2314575"/>
                    <a:gd name="connsiteY58" fmla="*/ 41804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05236 w 2314575"/>
                    <a:gd name="connsiteY50" fmla="*/ 95378 h 306115"/>
                    <a:gd name="connsiteX51" fmla="*/ 1821304 w 2314575"/>
                    <a:gd name="connsiteY51" fmla="*/ 85025 h 306115"/>
                    <a:gd name="connsiteX52" fmla="*/ 1849880 w 2314575"/>
                    <a:gd name="connsiteY52" fmla="*/ 81809 h 306115"/>
                    <a:gd name="connsiteX53" fmla="*/ 1866307 w 2314575"/>
                    <a:gd name="connsiteY53" fmla="*/ 76453 h 306115"/>
                    <a:gd name="connsiteX54" fmla="*/ 1897380 w 2314575"/>
                    <a:gd name="connsiteY54" fmla="*/ 77515 h 306115"/>
                    <a:gd name="connsiteX55" fmla="*/ 1905952 w 2314575"/>
                    <a:gd name="connsiteY55" fmla="*/ 74657 h 306115"/>
                    <a:gd name="connsiteX56" fmla="*/ 1925955 w 2314575"/>
                    <a:gd name="connsiteY56" fmla="*/ 64304 h 306115"/>
                    <a:gd name="connsiteX57" fmla="*/ 1951672 w 2314575"/>
                    <a:gd name="connsiteY57" fmla="*/ 60370 h 306115"/>
                    <a:gd name="connsiteX58" fmla="*/ 1957387 w 2314575"/>
                    <a:gd name="connsiteY58" fmla="*/ 44302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 name="connsiteX0" fmla="*/ 0 w 2314575"/>
                    <a:gd name="connsiteY0" fmla="*/ 306115 h 306115"/>
                    <a:gd name="connsiteX1" fmla="*/ 28575 w 2314575"/>
                    <a:gd name="connsiteY1" fmla="*/ 303257 h 306115"/>
                    <a:gd name="connsiteX2" fmla="*/ 48577 w 2314575"/>
                    <a:gd name="connsiteY2" fmla="*/ 297542 h 306115"/>
                    <a:gd name="connsiteX3" fmla="*/ 60007 w 2314575"/>
                    <a:gd name="connsiteY3" fmla="*/ 294685 h 306115"/>
                    <a:gd name="connsiteX4" fmla="*/ 117157 w 2314575"/>
                    <a:gd name="connsiteY4" fmla="*/ 291827 h 306115"/>
                    <a:gd name="connsiteX5" fmla="*/ 154305 w 2314575"/>
                    <a:gd name="connsiteY5" fmla="*/ 286112 h 306115"/>
                    <a:gd name="connsiteX6" fmla="*/ 191452 w 2314575"/>
                    <a:gd name="connsiteY6" fmla="*/ 280397 h 306115"/>
                    <a:gd name="connsiteX7" fmla="*/ 225742 w 2314575"/>
                    <a:gd name="connsiteY7" fmla="*/ 274682 h 306115"/>
                    <a:gd name="connsiteX8" fmla="*/ 237172 w 2314575"/>
                    <a:gd name="connsiteY8" fmla="*/ 271825 h 306115"/>
                    <a:gd name="connsiteX9" fmla="*/ 271462 w 2314575"/>
                    <a:gd name="connsiteY9" fmla="*/ 266110 h 306115"/>
                    <a:gd name="connsiteX10" fmla="*/ 288607 w 2314575"/>
                    <a:gd name="connsiteY10" fmla="*/ 263252 h 306115"/>
                    <a:gd name="connsiteX11" fmla="*/ 308610 w 2314575"/>
                    <a:gd name="connsiteY11" fmla="*/ 257537 h 306115"/>
                    <a:gd name="connsiteX12" fmla="*/ 365760 w 2314575"/>
                    <a:gd name="connsiteY12" fmla="*/ 254680 h 306115"/>
                    <a:gd name="connsiteX13" fmla="*/ 480060 w 2314575"/>
                    <a:gd name="connsiteY13" fmla="*/ 246107 h 306115"/>
                    <a:gd name="connsiteX14" fmla="*/ 508635 w 2314575"/>
                    <a:gd name="connsiteY14" fmla="*/ 240392 h 306115"/>
                    <a:gd name="connsiteX15" fmla="*/ 554355 w 2314575"/>
                    <a:gd name="connsiteY15" fmla="*/ 234677 h 306115"/>
                    <a:gd name="connsiteX16" fmla="*/ 588645 w 2314575"/>
                    <a:gd name="connsiteY16" fmla="*/ 228962 h 306115"/>
                    <a:gd name="connsiteX17" fmla="*/ 642937 w 2314575"/>
                    <a:gd name="connsiteY17" fmla="*/ 226105 h 306115"/>
                    <a:gd name="connsiteX18" fmla="*/ 680085 w 2314575"/>
                    <a:gd name="connsiteY18" fmla="*/ 223247 h 306115"/>
                    <a:gd name="connsiteX19" fmla="*/ 700087 w 2314575"/>
                    <a:gd name="connsiteY19" fmla="*/ 220390 h 306115"/>
                    <a:gd name="connsiteX20" fmla="*/ 740092 w 2314575"/>
                    <a:gd name="connsiteY20" fmla="*/ 217532 h 306115"/>
                    <a:gd name="connsiteX21" fmla="*/ 757237 w 2314575"/>
                    <a:gd name="connsiteY21" fmla="*/ 214675 h 306115"/>
                    <a:gd name="connsiteX22" fmla="*/ 780097 w 2314575"/>
                    <a:gd name="connsiteY22" fmla="*/ 211817 h 306115"/>
                    <a:gd name="connsiteX23" fmla="*/ 791527 w 2314575"/>
                    <a:gd name="connsiteY23" fmla="*/ 208960 h 306115"/>
                    <a:gd name="connsiteX24" fmla="*/ 860107 w 2314575"/>
                    <a:gd name="connsiteY24" fmla="*/ 203245 h 306115"/>
                    <a:gd name="connsiteX25" fmla="*/ 900112 w 2314575"/>
                    <a:gd name="connsiteY25" fmla="*/ 197530 h 306115"/>
                    <a:gd name="connsiteX26" fmla="*/ 968692 w 2314575"/>
                    <a:gd name="connsiteY26" fmla="*/ 191815 h 306115"/>
                    <a:gd name="connsiteX27" fmla="*/ 980122 w 2314575"/>
                    <a:gd name="connsiteY27" fmla="*/ 188957 h 306115"/>
                    <a:gd name="connsiteX28" fmla="*/ 1042987 w 2314575"/>
                    <a:gd name="connsiteY28" fmla="*/ 183242 h 306115"/>
                    <a:gd name="connsiteX29" fmla="*/ 1085850 w 2314575"/>
                    <a:gd name="connsiteY29" fmla="*/ 177527 h 306115"/>
                    <a:gd name="connsiteX30" fmla="*/ 1097280 w 2314575"/>
                    <a:gd name="connsiteY30" fmla="*/ 174670 h 306115"/>
                    <a:gd name="connsiteX31" fmla="*/ 1168717 w 2314575"/>
                    <a:gd name="connsiteY31" fmla="*/ 171812 h 306115"/>
                    <a:gd name="connsiteX32" fmla="*/ 1203007 w 2314575"/>
                    <a:gd name="connsiteY32" fmla="*/ 168955 h 306115"/>
                    <a:gd name="connsiteX33" fmla="*/ 1214437 w 2314575"/>
                    <a:gd name="connsiteY33" fmla="*/ 166097 h 306115"/>
                    <a:gd name="connsiteX34" fmla="*/ 1237297 w 2314575"/>
                    <a:gd name="connsiteY34" fmla="*/ 163240 h 306115"/>
                    <a:gd name="connsiteX35" fmla="*/ 1283017 w 2314575"/>
                    <a:gd name="connsiteY35" fmla="*/ 160382 h 306115"/>
                    <a:gd name="connsiteX36" fmla="*/ 1303020 w 2314575"/>
                    <a:gd name="connsiteY36" fmla="*/ 154667 h 306115"/>
                    <a:gd name="connsiteX37" fmla="*/ 1320165 w 2314575"/>
                    <a:gd name="connsiteY37" fmla="*/ 151810 h 306115"/>
                    <a:gd name="connsiteX38" fmla="*/ 1354455 w 2314575"/>
                    <a:gd name="connsiteY38" fmla="*/ 146095 h 306115"/>
                    <a:gd name="connsiteX39" fmla="*/ 1371600 w 2314575"/>
                    <a:gd name="connsiteY39" fmla="*/ 143237 h 306115"/>
                    <a:gd name="connsiteX40" fmla="*/ 1445895 w 2314575"/>
                    <a:gd name="connsiteY40" fmla="*/ 140380 h 306115"/>
                    <a:gd name="connsiteX41" fmla="*/ 1480185 w 2314575"/>
                    <a:gd name="connsiteY41" fmla="*/ 134665 h 306115"/>
                    <a:gd name="connsiteX42" fmla="*/ 1508760 w 2314575"/>
                    <a:gd name="connsiteY42" fmla="*/ 128950 h 306115"/>
                    <a:gd name="connsiteX43" fmla="*/ 1537335 w 2314575"/>
                    <a:gd name="connsiteY43" fmla="*/ 126092 h 306115"/>
                    <a:gd name="connsiteX44" fmla="*/ 1560195 w 2314575"/>
                    <a:gd name="connsiteY44" fmla="*/ 123235 h 306115"/>
                    <a:gd name="connsiteX45" fmla="*/ 1591627 w 2314575"/>
                    <a:gd name="connsiteY45" fmla="*/ 120377 h 306115"/>
                    <a:gd name="connsiteX46" fmla="*/ 1614487 w 2314575"/>
                    <a:gd name="connsiteY46" fmla="*/ 117520 h 306115"/>
                    <a:gd name="connsiteX47" fmla="*/ 1708785 w 2314575"/>
                    <a:gd name="connsiteY47" fmla="*/ 114662 h 306115"/>
                    <a:gd name="connsiteX48" fmla="*/ 1734502 w 2314575"/>
                    <a:gd name="connsiteY48" fmla="*/ 108947 h 306115"/>
                    <a:gd name="connsiteX49" fmla="*/ 1751647 w 2314575"/>
                    <a:gd name="connsiteY49" fmla="*/ 103232 h 306115"/>
                    <a:gd name="connsiteX50" fmla="*/ 1805236 w 2314575"/>
                    <a:gd name="connsiteY50" fmla="*/ 95378 h 306115"/>
                    <a:gd name="connsiteX51" fmla="*/ 1821304 w 2314575"/>
                    <a:gd name="connsiteY51" fmla="*/ 85025 h 306115"/>
                    <a:gd name="connsiteX52" fmla="*/ 1849880 w 2314575"/>
                    <a:gd name="connsiteY52" fmla="*/ 81809 h 306115"/>
                    <a:gd name="connsiteX53" fmla="*/ 1866307 w 2314575"/>
                    <a:gd name="connsiteY53" fmla="*/ 76453 h 306115"/>
                    <a:gd name="connsiteX54" fmla="*/ 1897380 w 2314575"/>
                    <a:gd name="connsiteY54" fmla="*/ 77515 h 306115"/>
                    <a:gd name="connsiteX55" fmla="*/ 1905952 w 2314575"/>
                    <a:gd name="connsiteY55" fmla="*/ 74657 h 306115"/>
                    <a:gd name="connsiteX56" fmla="*/ 1925955 w 2314575"/>
                    <a:gd name="connsiteY56" fmla="*/ 64304 h 306115"/>
                    <a:gd name="connsiteX57" fmla="*/ 1941679 w 2314575"/>
                    <a:gd name="connsiteY57" fmla="*/ 55373 h 306115"/>
                    <a:gd name="connsiteX58" fmla="*/ 1957387 w 2314575"/>
                    <a:gd name="connsiteY58" fmla="*/ 44302 h 306115"/>
                    <a:gd name="connsiteX59" fmla="*/ 1974532 w 2314575"/>
                    <a:gd name="connsiteY59" fmla="*/ 40367 h 306115"/>
                    <a:gd name="connsiteX60" fmla="*/ 1994535 w 2314575"/>
                    <a:gd name="connsiteY60" fmla="*/ 34652 h 306115"/>
                    <a:gd name="connsiteX61" fmla="*/ 2023110 w 2314575"/>
                    <a:gd name="connsiteY61" fmla="*/ 31795 h 306115"/>
                    <a:gd name="connsiteX62" fmla="*/ 2154555 w 2314575"/>
                    <a:gd name="connsiteY62" fmla="*/ 26080 h 306115"/>
                    <a:gd name="connsiteX63" fmla="*/ 2177415 w 2314575"/>
                    <a:gd name="connsiteY63" fmla="*/ 23222 h 306115"/>
                    <a:gd name="connsiteX64" fmla="*/ 2205990 w 2314575"/>
                    <a:gd name="connsiteY64" fmla="*/ 26080 h 306115"/>
                    <a:gd name="connsiteX65" fmla="*/ 2223135 w 2314575"/>
                    <a:gd name="connsiteY65" fmla="*/ 23222 h 306115"/>
                    <a:gd name="connsiteX66" fmla="*/ 2243137 w 2314575"/>
                    <a:gd name="connsiteY66" fmla="*/ 17507 h 306115"/>
                    <a:gd name="connsiteX67" fmla="*/ 2251710 w 2314575"/>
                    <a:gd name="connsiteY67" fmla="*/ 11792 h 306115"/>
                    <a:gd name="connsiteX68" fmla="*/ 2254567 w 2314575"/>
                    <a:gd name="connsiteY68" fmla="*/ 3220 h 306115"/>
                    <a:gd name="connsiteX69" fmla="*/ 2263140 w 2314575"/>
                    <a:gd name="connsiteY69" fmla="*/ 362 h 306115"/>
                    <a:gd name="connsiteX70" fmla="*/ 2314575 w 2314575"/>
                    <a:gd name="connsiteY70" fmla="*/ 362 h 30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314575" h="306115">
                      <a:moveTo>
                        <a:pt x="0" y="306115"/>
                      </a:moveTo>
                      <a:cubicBezTo>
                        <a:pt x="9525" y="305162"/>
                        <a:pt x="19099" y="304611"/>
                        <a:pt x="28575" y="303257"/>
                      </a:cubicBezTo>
                      <a:cubicBezTo>
                        <a:pt x="37520" y="301979"/>
                        <a:pt x="40426" y="299871"/>
                        <a:pt x="48577" y="297542"/>
                      </a:cubicBezTo>
                      <a:cubicBezTo>
                        <a:pt x="52353" y="296463"/>
                        <a:pt x="56093" y="295011"/>
                        <a:pt x="60007" y="294685"/>
                      </a:cubicBezTo>
                      <a:cubicBezTo>
                        <a:pt x="79015" y="293101"/>
                        <a:pt x="98107" y="292780"/>
                        <a:pt x="117157" y="291827"/>
                      </a:cubicBezTo>
                      <a:cubicBezTo>
                        <a:pt x="159923" y="284701"/>
                        <a:pt x="106505" y="293466"/>
                        <a:pt x="154305" y="286112"/>
                      </a:cubicBezTo>
                      <a:cubicBezTo>
                        <a:pt x="205865" y="278180"/>
                        <a:pt x="133431" y="288687"/>
                        <a:pt x="191452" y="280397"/>
                      </a:cubicBezTo>
                      <a:cubicBezTo>
                        <a:pt x="210595" y="274017"/>
                        <a:pt x="190195" y="280151"/>
                        <a:pt x="225742" y="274682"/>
                      </a:cubicBezTo>
                      <a:cubicBezTo>
                        <a:pt x="229624" y="274085"/>
                        <a:pt x="233312" y="272549"/>
                        <a:pt x="237172" y="271825"/>
                      </a:cubicBezTo>
                      <a:cubicBezTo>
                        <a:pt x="248561" y="269690"/>
                        <a:pt x="260032" y="268015"/>
                        <a:pt x="271462" y="266110"/>
                      </a:cubicBezTo>
                      <a:cubicBezTo>
                        <a:pt x="277177" y="265157"/>
                        <a:pt x="283110" y="265084"/>
                        <a:pt x="288607" y="263252"/>
                      </a:cubicBezTo>
                      <a:cubicBezTo>
                        <a:pt x="293563" y="261600"/>
                        <a:pt x="303831" y="257935"/>
                        <a:pt x="308610" y="257537"/>
                      </a:cubicBezTo>
                      <a:cubicBezTo>
                        <a:pt x="327618" y="255953"/>
                        <a:pt x="346710" y="255632"/>
                        <a:pt x="365760" y="254680"/>
                      </a:cubicBezTo>
                      <a:cubicBezTo>
                        <a:pt x="404000" y="229185"/>
                        <a:pt x="367470" y="251344"/>
                        <a:pt x="480060" y="246107"/>
                      </a:cubicBezTo>
                      <a:cubicBezTo>
                        <a:pt x="492830" y="245513"/>
                        <a:pt x="497176" y="242684"/>
                        <a:pt x="508635" y="240392"/>
                      </a:cubicBezTo>
                      <a:cubicBezTo>
                        <a:pt x="526351" y="236849"/>
                        <a:pt x="534673" y="236646"/>
                        <a:pt x="554355" y="234677"/>
                      </a:cubicBezTo>
                      <a:cubicBezTo>
                        <a:pt x="569590" y="229599"/>
                        <a:pt x="564286" y="230702"/>
                        <a:pt x="588645" y="228962"/>
                      </a:cubicBezTo>
                      <a:cubicBezTo>
                        <a:pt x="606721" y="227671"/>
                        <a:pt x="624850" y="227235"/>
                        <a:pt x="642937" y="226105"/>
                      </a:cubicBezTo>
                      <a:cubicBezTo>
                        <a:pt x="655332" y="225330"/>
                        <a:pt x="667727" y="224483"/>
                        <a:pt x="680085" y="223247"/>
                      </a:cubicBezTo>
                      <a:cubicBezTo>
                        <a:pt x="686787" y="222577"/>
                        <a:pt x="693382" y="221029"/>
                        <a:pt x="700087" y="220390"/>
                      </a:cubicBezTo>
                      <a:cubicBezTo>
                        <a:pt x="713396" y="219122"/>
                        <a:pt x="726757" y="218485"/>
                        <a:pt x="740092" y="217532"/>
                      </a:cubicBezTo>
                      <a:cubicBezTo>
                        <a:pt x="745807" y="216580"/>
                        <a:pt x="751501" y="215494"/>
                        <a:pt x="757237" y="214675"/>
                      </a:cubicBezTo>
                      <a:cubicBezTo>
                        <a:pt x="764839" y="213589"/>
                        <a:pt x="772522" y="213079"/>
                        <a:pt x="780097" y="211817"/>
                      </a:cubicBezTo>
                      <a:cubicBezTo>
                        <a:pt x="783971" y="211171"/>
                        <a:pt x="787645" y="209557"/>
                        <a:pt x="791527" y="208960"/>
                      </a:cubicBezTo>
                      <a:cubicBezTo>
                        <a:pt x="814608" y="205409"/>
                        <a:pt x="836642" y="205200"/>
                        <a:pt x="860107" y="203245"/>
                      </a:cubicBezTo>
                      <a:cubicBezTo>
                        <a:pt x="927508" y="197628"/>
                        <a:pt x="856615" y="203330"/>
                        <a:pt x="900112" y="197530"/>
                      </a:cubicBezTo>
                      <a:cubicBezTo>
                        <a:pt x="919456" y="194951"/>
                        <a:pt x="950609" y="193106"/>
                        <a:pt x="968692" y="191815"/>
                      </a:cubicBezTo>
                      <a:cubicBezTo>
                        <a:pt x="972502" y="190862"/>
                        <a:pt x="976240" y="189554"/>
                        <a:pt x="980122" y="188957"/>
                      </a:cubicBezTo>
                      <a:cubicBezTo>
                        <a:pt x="997024" y="186357"/>
                        <a:pt x="1027705" y="184418"/>
                        <a:pt x="1042987" y="183242"/>
                      </a:cubicBezTo>
                      <a:cubicBezTo>
                        <a:pt x="1079379" y="175965"/>
                        <a:pt x="1027378" y="185880"/>
                        <a:pt x="1085850" y="177527"/>
                      </a:cubicBezTo>
                      <a:cubicBezTo>
                        <a:pt x="1089738" y="176972"/>
                        <a:pt x="1093362" y="174940"/>
                        <a:pt x="1097280" y="174670"/>
                      </a:cubicBezTo>
                      <a:cubicBezTo>
                        <a:pt x="1121055" y="173030"/>
                        <a:pt x="1144905" y="172765"/>
                        <a:pt x="1168717" y="171812"/>
                      </a:cubicBezTo>
                      <a:cubicBezTo>
                        <a:pt x="1180147" y="170860"/>
                        <a:pt x="1191626" y="170378"/>
                        <a:pt x="1203007" y="168955"/>
                      </a:cubicBezTo>
                      <a:cubicBezTo>
                        <a:pt x="1206904" y="168468"/>
                        <a:pt x="1210563" y="166743"/>
                        <a:pt x="1214437" y="166097"/>
                      </a:cubicBezTo>
                      <a:cubicBezTo>
                        <a:pt x="1222012" y="164835"/>
                        <a:pt x="1229644" y="163878"/>
                        <a:pt x="1237297" y="163240"/>
                      </a:cubicBezTo>
                      <a:cubicBezTo>
                        <a:pt x="1252514" y="161972"/>
                        <a:pt x="1267777" y="161335"/>
                        <a:pt x="1283017" y="160382"/>
                      </a:cubicBezTo>
                      <a:cubicBezTo>
                        <a:pt x="1291182" y="157661"/>
                        <a:pt x="1294058" y="156459"/>
                        <a:pt x="1303020" y="154667"/>
                      </a:cubicBezTo>
                      <a:cubicBezTo>
                        <a:pt x="1308701" y="153531"/>
                        <a:pt x="1314465" y="152846"/>
                        <a:pt x="1320165" y="151810"/>
                      </a:cubicBezTo>
                      <a:cubicBezTo>
                        <a:pt x="1361707" y="144257"/>
                        <a:pt x="1301006" y="154318"/>
                        <a:pt x="1354455" y="146095"/>
                      </a:cubicBezTo>
                      <a:cubicBezTo>
                        <a:pt x="1360181" y="145214"/>
                        <a:pt x="1365817" y="143598"/>
                        <a:pt x="1371600" y="143237"/>
                      </a:cubicBezTo>
                      <a:cubicBezTo>
                        <a:pt x="1396335" y="141691"/>
                        <a:pt x="1421130" y="141332"/>
                        <a:pt x="1445895" y="140380"/>
                      </a:cubicBezTo>
                      <a:cubicBezTo>
                        <a:pt x="1465037" y="133998"/>
                        <a:pt x="1444637" y="140134"/>
                        <a:pt x="1480185" y="134665"/>
                      </a:cubicBezTo>
                      <a:cubicBezTo>
                        <a:pt x="1533536" y="126457"/>
                        <a:pt x="1434189" y="138271"/>
                        <a:pt x="1508760" y="128950"/>
                      </a:cubicBezTo>
                      <a:cubicBezTo>
                        <a:pt x="1518259" y="127763"/>
                        <a:pt x="1527821" y="127149"/>
                        <a:pt x="1537335" y="126092"/>
                      </a:cubicBezTo>
                      <a:cubicBezTo>
                        <a:pt x="1544967" y="125244"/>
                        <a:pt x="1552558" y="124039"/>
                        <a:pt x="1560195" y="123235"/>
                      </a:cubicBezTo>
                      <a:cubicBezTo>
                        <a:pt x="1570658" y="122134"/>
                        <a:pt x="1581164" y="121478"/>
                        <a:pt x="1591627" y="120377"/>
                      </a:cubicBezTo>
                      <a:cubicBezTo>
                        <a:pt x="1599264" y="119573"/>
                        <a:pt x="1606817" y="117894"/>
                        <a:pt x="1614487" y="117520"/>
                      </a:cubicBezTo>
                      <a:cubicBezTo>
                        <a:pt x="1645897" y="115988"/>
                        <a:pt x="1677352" y="115615"/>
                        <a:pt x="1708785" y="114662"/>
                      </a:cubicBezTo>
                      <a:cubicBezTo>
                        <a:pt x="1716952" y="113029"/>
                        <a:pt x="1726423" y="111371"/>
                        <a:pt x="1734502" y="108947"/>
                      </a:cubicBezTo>
                      <a:cubicBezTo>
                        <a:pt x="1740272" y="107216"/>
                        <a:pt x="1739858" y="105493"/>
                        <a:pt x="1751647" y="103232"/>
                      </a:cubicBezTo>
                      <a:cubicBezTo>
                        <a:pt x="1763436" y="100971"/>
                        <a:pt x="1787373" y="97996"/>
                        <a:pt x="1805236" y="95378"/>
                      </a:cubicBezTo>
                      <a:cubicBezTo>
                        <a:pt x="1808094" y="94425"/>
                        <a:pt x="1813863" y="87286"/>
                        <a:pt x="1821304" y="85025"/>
                      </a:cubicBezTo>
                      <a:cubicBezTo>
                        <a:pt x="1828745" y="82764"/>
                        <a:pt x="1842379" y="83238"/>
                        <a:pt x="1849880" y="81809"/>
                      </a:cubicBezTo>
                      <a:cubicBezTo>
                        <a:pt x="1857381" y="80380"/>
                        <a:pt x="1862497" y="77405"/>
                        <a:pt x="1866307" y="76453"/>
                      </a:cubicBezTo>
                      <a:cubicBezTo>
                        <a:pt x="1883127" y="68043"/>
                        <a:pt x="1890773" y="77814"/>
                        <a:pt x="1897380" y="77515"/>
                      </a:cubicBezTo>
                      <a:cubicBezTo>
                        <a:pt x="1903987" y="77216"/>
                        <a:pt x="1901190" y="76859"/>
                        <a:pt x="1905952" y="74657"/>
                      </a:cubicBezTo>
                      <a:cubicBezTo>
                        <a:pt x="1910714" y="72455"/>
                        <a:pt x="1919287" y="67755"/>
                        <a:pt x="1925955" y="64304"/>
                      </a:cubicBezTo>
                      <a:cubicBezTo>
                        <a:pt x="1946358" y="57503"/>
                        <a:pt x="1928095" y="64430"/>
                        <a:pt x="1941679" y="55373"/>
                      </a:cubicBezTo>
                      <a:cubicBezTo>
                        <a:pt x="1943584" y="52515"/>
                        <a:pt x="1951912" y="46803"/>
                        <a:pt x="1957387" y="44302"/>
                      </a:cubicBezTo>
                      <a:cubicBezTo>
                        <a:pt x="1962862" y="41801"/>
                        <a:pt x="1968341" y="41975"/>
                        <a:pt x="1974532" y="40367"/>
                      </a:cubicBezTo>
                      <a:cubicBezTo>
                        <a:pt x="1980723" y="38759"/>
                        <a:pt x="1988263" y="35548"/>
                        <a:pt x="1994535" y="34652"/>
                      </a:cubicBezTo>
                      <a:cubicBezTo>
                        <a:pt x="2004011" y="33298"/>
                        <a:pt x="2013551" y="32307"/>
                        <a:pt x="2023110" y="31795"/>
                      </a:cubicBezTo>
                      <a:cubicBezTo>
                        <a:pt x="2066904" y="29449"/>
                        <a:pt x="2154555" y="26080"/>
                        <a:pt x="2154555" y="26080"/>
                      </a:cubicBezTo>
                      <a:cubicBezTo>
                        <a:pt x="2162175" y="25127"/>
                        <a:pt x="2169736" y="23222"/>
                        <a:pt x="2177415" y="23222"/>
                      </a:cubicBezTo>
                      <a:cubicBezTo>
                        <a:pt x="2186988" y="23222"/>
                        <a:pt x="2196417" y="26080"/>
                        <a:pt x="2205990" y="26080"/>
                      </a:cubicBezTo>
                      <a:cubicBezTo>
                        <a:pt x="2211784" y="26080"/>
                        <a:pt x="2217454" y="24358"/>
                        <a:pt x="2223135" y="23222"/>
                      </a:cubicBezTo>
                      <a:cubicBezTo>
                        <a:pt x="2226193" y="22610"/>
                        <a:pt x="2239502" y="19325"/>
                        <a:pt x="2243137" y="17507"/>
                      </a:cubicBezTo>
                      <a:cubicBezTo>
                        <a:pt x="2246209" y="15971"/>
                        <a:pt x="2248852" y="13697"/>
                        <a:pt x="2251710" y="11792"/>
                      </a:cubicBezTo>
                      <a:cubicBezTo>
                        <a:pt x="2252662" y="8935"/>
                        <a:pt x="2252437" y="5350"/>
                        <a:pt x="2254567" y="3220"/>
                      </a:cubicBezTo>
                      <a:cubicBezTo>
                        <a:pt x="2256697" y="1090"/>
                        <a:pt x="2260131" y="505"/>
                        <a:pt x="2263140" y="362"/>
                      </a:cubicBezTo>
                      <a:cubicBezTo>
                        <a:pt x="2280266" y="-454"/>
                        <a:pt x="2297430" y="362"/>
                        <a:pt x="2314575" y="362"/>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a:solidFill>
                      <a:srgbClr val="FFFFFF"/>
                    </a:solidFill>
                  </a:endParaRPr>
                </a:p>
              </p:txBody>
            </p:sp>
          </p:grpSp>
        </p:grpSp>
      </p:grpSp>
    </p:spTree>
    <p:extLst>
      <p:ext uri="{BB962C8B-B14F-4D97-AF65-F5344CB8AC3E}">
        <p14:creationId xmlns:p14="http://schemas.microsoft.com/office/powerpoint/2010/main" val="37633850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xit" presetSubtype="0" fill="hold" grpId="0" nodeType="withEffect">
                                  <p:stCondLst>
                                    <p:cond delay="0"/>
                                  </p:stCondLst>
                                  <p:childTnLst>
                                    <p:set>
                                      <p:cBhvr>
                                        <p:cTn id="12" dur="1" fill="hold">
                                          <p:stCondLst>
                                            <p:cond delay="0"/>
                                          </p:stCondLst>
                                        </p:cTn>
                                        <p:tgtEl>
                                          <p:spTgt spid="4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03412" y="84954"/>
            <a:ext cx="8229600" cy="857250"/>
          </a:xfrm>
        </p:spPr>
        <p:txBody>
          <a:bodyPr/>
          <a:lstStyle/>
          <a:p>
            <a:r>
              <a:rPr lang="cs-CZ" sz="4000" b="1" dirty="0" smtClean="0">
                <a:latin typeface="Verdana" panose="020B0604030504040204" pitchFamily="34" charset="0"/>
                <a:ea typeface="Verdana" panose="020B0604030504040204" pitchFamily="34" charset="0"/>
                <a:cs typeface="Verdana" panose="020B0604030504040204" pitchFamily="34" charset="0"/>
              </a:rPr>
              <a:t>Obsah přednášky</a:t>
            </a:r>
            <a:endParaRPr lang="cs-CZ" sz="40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Zástupný symbol pro obsah 2"/>
          <p:cNvSpPr>
            <a:spLocks noGrp="1"/>
          </p:cNvSpPr>
          <p:nvPr>
            <p:ph idx="1"/>
          </p:nvPr>
        </p:nvSpPr>
        <p:spPr>
          <a:xfrm>
            <a:off x="484094" y="1233772"/>
            <a:ext cx="8229600" cy="3394472"/>
          </a:xfrm>
        </p:spPr>
        <p:txBody>
          <a:bodyPr/>
          <a:lstStyle/>
          <a:p>
            <a:r>
              <a:rPr lang="cs-CZ" sz="2800" dirty="0" smtClean="0"/>
              <a:t>Diabetes a kardiovaskulární riziko</a:t>
            </a:r>
          </a:p>
          <a:p>
            <a:r>
              <a:rPr lang="cs-CZ" sz="2800" dirty="0" smtClean="0"/>
              <a:t>Léčba DM a KV riziko - původní koncept</a:t>
            </a:r>
          </a:p>
          <a:p>
            <a:r>
              <a:rPr lang="cs-CZ" sz="2800" dirty="0" smtClean="0"/>
              <a:t>Principy a cíle KV studií v diabetologii</a:t>
            </a:r>
          </a:p>
          <a:p>
            <a:r>
              <a:rPr lang="cs-CZ" sz="2800" dirty="0" smtClean="0"/>
              <a:t>Přehled KV studií v diabetologii</a:t>
            </a:r>
          </a:p>
          <a:p>
            <a:r>
              <a:rPr lang="cs-CZ" sz="2800" dirty="0" smtClean="0"/>
              <a:t>Co nás ještě čeká?</a:t>
            </a:r>
          </a:p>
          <a:p>
            <a:r>
              <a:rPr lang="cs-CZ" sz="2800" dirty="0" smtClean="0"/>
              <a:t>Praktické poznámky a závěr</a:t>
            </a:r>
          </a:p>
          <a:p>
            <a:endParaRPr lang="cs-CZ" dirty="0" smtClean="0"/>
          </a:p>
          <a:p>
            <a:endParaRPr lang="cs-CZ" dirty="0"/>
          </a:p>
        </p:txBody>
      </p:sp>
    </p:spTree>
    <p:extLst>
      <p:ext uri="{BB962C8B-B14F-4D97-AF65-F5344CB8AC3E}">
        <p14:creationId xmlns:p14="http://schemas.microsoft.com/office/powerpoint/2010/main" val="31831025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a:xfrm>
            <a:off x="264846" y="4271861"/>
            <a:ext cx="1800225" cy="683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685783" fontAlgn="base">
              <a:spcBef>
                <a:spcPct val="0"/>
              </a:spcBef>
              <a:spcAft>
                <a:spcPct val="0"/>
              </a:spcAft>
            </a:pPr>
            <a:endParaRPr lang="en-GB" sz="1800" dirty="0">
              <a:solidFill>
                <a:srgbClr val="FFFFFF"/>
              </a:solidFill>
            </a:endParaRPr>
          </a:p>
        </p:txBody>
      </p:sp>
      <p:sp>
        <p:nvSpPr>
          <p:cNvPr id="3" name="Title 2"/>
          <p:cNvSpPr>
            <a:spLocks noGrp="1"/>
          </p:cNvSpPr>
          <p:nvPr>
            <p:ph type="title"/>
          </p:nvPr>
        </p:nvSpPr>
        <p:spPr>
          <a:xfrm>
            <a:off x="312575" y="354057"/>
            <a:ext cx="8510400" cy="391412"/>
          </a:xfrm>
        </p:spPr>
        <p:txBody>
          <a:bodyPr/>
          <a:lstStyle/>
          <a:p>
            <a:pPr algn="ctr"/>
            <a:r>
              <a:rPr lang="cs-CZ" sz="2000" dirty="0" smtClean="0"/>
              <a:t>Probíhající KV studie s </a:t>
            </a:r>
            <a:r>
              <a:rPr lang="cs-CZ" sz="2000" dirty="0" err="1" smtClean="0"/>
              <a:t>antidiabetiky</a:t>
            </a:r>
            <a:r>
              <a:rPr lang="cs-CZ" sz="2000" dirty="0" smtClean="0"/>
              <a:t>: co nás ještě čeká?</a:t>
            </a:r>
            <a:endParaRPr lang="en-GB" sz="2000" dirty="0"/>
          </a:p>
        </p:txBody>
      </p:sp>
      <p:sp>
        <p:nvSpPr>
          <p:cNvPr id="5" name="Text Placeholder 4"/>
          <p:cNvSpPr>
            <a:spLocks noGrp="1"/>
          </p:cNvSpPr>
          <p:nvPr>
            <p:ph type="body" sz="quarter" idx="10"/>
          </p:nvPr>
        </p:nvSpPr>
        <p:spPr>
          <a:xfrm>
            <a:off x="316804" y="4258168"/>
            <a:ext cx="8509700" cy="770826"/>
          </a:xfrm>
        </p:spPr>
        <p:txBody>
          <a:bodyPr>
            <a:normAutofit/>
          </a:bodyPr>
          <a:lstStyle/>
          <a:p>
            <a:r>
              <a:rPr lang="en-GB" sz="700" dirty="0" smtClean="0"/>
              <a:t>*Estimated enrolment</a:t>
            </a:r>
            <a:br>
              <a:rPr lang="en-GB" sz="700" dirty="0" smtClean="0"/>
            </a:br>
            <a:r>
              <a:rPr lang="en-GB" sz="700" dirty="0" smtClean="0"/>
              <a:t>CVOT</a:t>
            </a:r>
            <a:r>
              <a:rPr lang="en-GB" sz="700" dirty="0"/>
              <a:t>, cardiovascular outcomes trial; DPP-4i, dipeptidyl peptidase-4 inhibitor; ER, extended release; GLP-1RA, glucagon-like peptide-1 receptor agonist; ITCA 650, </a:t>
            </a:r>
            <a:r>
              <a:rPr lang="en-GB" sz="700" dirty="0">
                <a:ea typeface="ヒラギノ角ゴ Pro W3" pitchFamily="-84" charset="-128"/>
              </a:rPr>
              <a:t>continuous subcutaneous delivery of exenatide</a:t>
            </a:r>
            <a:r>
              <a:rPr lang="en-GB" sz="700" dirty="0"/>
              <a:t>; PPAR- receptors-αγ, peroxisome proliferator‐activated receptors-α and γ; QW, once weekly; SGLT-2i, sodium-glucose cotransporter 2 inhibitor; </a:t>
            </a:r>
            <a:br>
              <a:rPr lang="en-GB" sz="700" dirty="0"/>
            </a:br>
            <a:r>
              <a:rPr lang="en-GB" sz="700" dirty="0"/>
              <a:t>SU, </a:t>
            </a:r>
            <a:r>
              <a:rPr lang="en-GB" sz="700" dirty="0" err="1"/>
              <a:t>sulphonylurea</a:t>
            </a:r>
            <a:r>
              <a:rPr lang="en-GB" sz="700" dirty="0"/>
              <a:t>; T2DM, type 2 diabetes mellitus</a:t>
            </a:r>
          </a:p>
          <a:p>
            <a:r>
              <a:rPr lang="en-GB" sz="700" dirty="0"/>
              <a:t>ClinicalTrials.gov. Accessed </a:t>
            </a:r>
            <a:r>
              <a:rPr lang="en-GB" sz="700" dirty="0" smtClean="0"/>
              <a:t>20 September </a:t>
            </a:r>
            <a:r>
              <a:rPr lang="en-GB" sz="700" dirty="0"/>
              <a:t>2017</a:t>
            </a:r>
          </a:p>
        </p:txBody>
      </p:sp>
      <p:cxnSp>
        <p:nvCxnSpPr>
          <p:cNvPr id="233" name="Straight Arrow Connector 6"/>
          <p:cNvCxnSpPr>
            <a:cxnSpLocks noChangeShapeType="1"/>
          </p:cNvCxnSpPr>
          <p:nvPr/>
        </p:nvCxnSpPr>
        <p:spPr bwMode="auto">
          <a:xfrm>
            <a:off x="354176" y="4020390"/>
            <a:ext cx="8447709" cy="0"/>
          </a:xfrm>
          <a:prstGeom prst="straightConnector1">
            <a:avLst/>
          </a:prstGeom>
          <a:noFill/>
          <a:ln w="25400" algn="ctr">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4" name="TextBox 81"/>
          <p:cNvSpPr txBox="1">
            <a:spLocks noChangeArrowheads="1"/>
          </p:cNvSpPr>
          <p:nvPr/>
        </p:nvSpPr>
        <p:spPr bwMode="auto">
          <a:xfrm>
            <a:off x="6336886" y="4019672"/>
            <a:ext cx="415434" cy="2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fontAlgn="base" hangingPunct="1">
              <a:spcBef>
                <a:spcPct val="0"/>
              </a:spcBef>
              <a:spcAft>
                <a:spcPct val="0"/>
              </a:spcAft>
            </a:pPr>
            <a:r>
              <a:rPr lang="en-GB" sz="900" b="1" dirty="0">
                <a:latin typeface="Calibri" panose="020F0502020204030204"/>
              </a:rPr>
              <a:t>2019</a:t>
            </a:r>
          </a:p>
        </p:txBody>
      </p:sp>
      <p:sp>
        <p:nvSpPr>
          <p:cNvPr id="235" name="TextBox 7"/>
          <p:cNvSpPr txBox="1">
            <a:spLocks noChangeArrowheads="1"/>
          </p:cNvSpPr>
          <p:nvPr/>
        </p:nvSpPr>
        <p:spPr bwMode="auto">
          <a:xfrm>
            <a:off x="2560885" y="4019672"/>
            <a:ext cx="415434" cy="2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fontAlgn="base" hangingPunct="1">
              <a:spcBef>
                <a:spcPct val="0"/>
              </a:spcBef>
              <a:spcAft>
                <a:spcPct val="0"/>
              </a:spcAft>
            </a:pPr>
            <a:r>
              <a:rPr lang="en-GB" sz="900" b="1" dirty="0">
                <a:latin typeface="Calibri" panose="020F0502020204030204"/>
              </a:rPr>
              <a:t>2015</a:t>
            </a:r>
          </a:p>
        </p:txBody>
      </p:sp>
      <p:cxnSp>
        <p:nvCxnSpPr>
          <p:cNvPr id="236" name="Straight Connector 235"/>
          <p:cNvCxnSpPr/>
          <p:nvPr/>
        </p:nvCxnSpPr>
        <p:spPr>
          <a:xfrm>
            <a:off x="1594438" y="3996035"/>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H="1" flipV="1">
            <a:off x="440731" y="3946933"/>
            <a:ext cx="1" cy="1348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flipH="1" flipV="1">
            <a:off x="5160731" y="3946933"/>
            <a:ext cx="1" cy="1348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flipH="1" flipV="1">
            <a:off x="1389019" y="3946933"/>
            <a:ext cx="1" cy="1348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H="1" flipV="1">
            <a:off x="3272739" y="3946933"/>
            <a:ext cx="1" cy="1348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flipH="1" flipV="1">
            <a:off x="4216746" y="3946933"/>
            <a:ext cx="1" cy="1348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flipH="1" flipV="1">
            <a:off x="2328725" y="3946933"/>
            <a:ext cx="1" cy="1348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flipH="1" flipV="1">
            <a:off x="6104725" y="3946933"/>
            <a:ext cx="1" cy="1348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44" name="TextBox 7"/>
          <p:cNvSpPr txBox="1">
            <a:spLocks noChangeArrowheads="1"/>
          </p:cNvSpPr>
          <p:nvPr/>
        </p:nvSpPr>
        <p:spPr bwMode="auto">
          <a:xfrm>
            <a:off x="7287925" y="4019672"/>
            <a:ext cx="415434" cy="2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fontAlgn="base" hangingPunct="1">
              <a:spcBef>
                <a:spcPct val="0"/>
              </a:spcBef>
              <a:spcAft>
                <a:spcPct val="0"/>
              </a:spcAft>
            </a:pPr>
            <a:r>
              <a:rPr lang="en-GB" sz="900" b="1" dirty="0">
                <a:latin typeface="Calibri" panose="020F0502020204030204"/>
              </a:rPr>
              <a:t>2020</a:t>
            </a:r>
          </a:p>
        </p:txBody>
      </p:sp>
      <p:sp>
        <p:nvSpPr>
          <p:cNvPr id="245" name="TextBox 7"/>
          <p:cNvSpPr txBox="1">
            <a:spLocks noChangeArrowheads="1"/>
          </p:cNvSpPr>
          <p:nvPr/>
        </p:nvSpPr>
        <p:spPr bwMode="auto">
          <a:xfrm>
            <a:off x="672886" y="4019672"/>
            <a:ext cx="415434" cy="2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fontAlgn="base" hangingPunct="1">
              <a:spcBef>
                <a:spcPct val="0"/>
              </a:spcBef>
              <a:spcAft>
                <a:spcPct val="0"/>
              </a:spcAft>
            </a:pPr>
            <a:r>
              <a:rPr lang="en-GB" sz="900" b="1" dirty="0">
                <a:latin typeface="Calibri" panose="020F0502020204030204"/>
              </a:rPr>
              <a:t>2013</a:t>
            </a:r>
          </a:p>
        </p:txBody>
      </p:sp>
      <p:sp>
        <p:nvSpPr>
          <p:cNvPr id="246" name="TextBox 7"/>
          <p:cNvSpPr txBox="1">
            <a:spLocks noChangeArrowheads="1"/>
          </p:cNvSpPr>
          <p:nvPr/>
        </p:nvSpPr>
        <p:spPr bwMode="auto">
          <a:xfrm>
            <a:off x="1616884" y="4019672"/>
            <a:ext cx="415434" cy="2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fontAlgn="base" hangingPunct="1">
              <a:spcBef>
                <a:spcPct val="0"/>
              </a:spcBef>
              <a:spcAft>
                <a:spcPct val="0"/>
              </a:spcAft>
            </a:pPr>
            <a:r>
              <a:rPr lang="en-GB" sz="900" b="1" dirty="0">
                <a:latin typeface="Calibri" panose="020F0502020204030204"/>
              </a:rPr>
              <a:t>2014</a:t>
            </a:r>
          </a:p>
        </p:txBody>
      </p:sp>
      <p:sp>
        <p:nvSpPr>
          <p:cNvPr id="247" name="TextBox 7"/>
          <p:cNvSpPr txBox="1">
            <a:spLocks noChangeArrowheads="1"/>
          </p:cNvSpPr>
          <p:nvPr/>
        </p:nvSpPr>
        <p:spPr bwMode="auto">
          <a:xfrm>
            <a:off x="3504886" y="4019672"/>
            <a:ext cx="415434" cy="2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fontAlgn="base" hangingPunct="1">
              <a:spcBef>
                <a:spcPct val="0"/>
              </a:spcBef>
              <a:spcAft>
                <a:spcPct val="0"/>
              </a:spcAft>
            </a:pPr>
            <a:r>
              <a:rPr lang="en-GB" sz="900" b="1" dirty="0">
                <a:latin typeface="Calibri" panose="020F0502020204030204"/>
              </a:rPr>
              <a:t>2016</a:t>
            </a:r>
          </a:p>
        </p:txBody>
      </p:sp>
      <p:sp>
        <p:nvSpPr>
          <p:cNvPr id="248" name="TextBox 7"/>
          <p:cNvSpPr txBox="1">
            <a:spLocks noChangeArrowheads="1"/>
          </p:cNvSpPr>
          <p:nvPr/>
        </p:nvSpPr>
        <p:spPr bwMode="auto">
          <a:xfrm>
            <a:off x="4448884" y="4019672"/>
            <a:ext cx="415434" cy="2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fontAlgn="base" hangingPunct="1">
              <a:spcBef>
                <a:spcPct val="0"/>
              </a:spcBef>
              <a:spcAft>
                <a:spcPct val="0"/>
              </a:spcAft>
            </a:pPr>
            <a:r>
              <a:rPr lang="en-GB" sz="900" b="1" dirty="0">
                <a:latin typeface="Calibri" panose="020F0502020204030204"/>
              </a:rPr>
              <a:t>2017</a:t>
            </a:r>
          </a:p>
        </p:txBody>
      </p:sp>
      <p:sp>
        <p:nvSpPr>
          <p:cNvPr id="249" name="TextBox 7"/>
          <p:cNvSpPr txBox="1">
            <a:spLocks noChangeArrowheads="1"/>
          </p:cNvSpPr>
          <p:nvPr/>
        </p:nvSpPr>
        <p:spPr bwMode="auto">
          <a:xfrm>
            <a:off x="5392885" y="4019672"/>
            <a:ext cx="415434" cy="2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fontAlgn="base" hangingPunct="1">
              <a:spcBef>
                <a:spcPct val="0"/>
              </a:spcBef>
              <a:spcAft>
                <a:spcPct val="0"/>
              </a:spcAft>
            </a:pPr>
            <a:r>
              <a:rPr lang="en-GB" sz="900" b="1" dirty="0">
                <a:latin typeface="Calibri" panose="020F0502020204030204"/>
              </a:rPr>
              <a:t>2018</a:t>
            </a:r>
          </a:p>
        </p:txBody>
      </p:sp>
      <p:cxnSp>
        <p:nvCxnSpPr>
          <p:cNvPr id="250" name="Straight Connector 249"/>
          <p:cNvCxnSpPr/>
          <p:nvPr/>
        </p:nvCxnSpPr>
        <p:spPr>
          <a:xfrm flipH="1" flipV="1">
            <a:off x="7052216" y="3934741"/>
            <a:ext cx="1" cy="1348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flipH="1" flipV="1">
            <a:off x="7991894" y="3934741"/>
            <a:ext cx="1" cy="1348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52" name="TextBox 7"/>
          <p:cNvSpPr txBox="1">
            <a:spLocks noChangeArrowheads="1"/>
          </p:cNvSpPr>
          <p:nvPr/>
        </p:nvSpPr>
        <p:spPr bwMode="auto">
          <a:xfrm>
            <a:off x="8263843" y="4019672"/>
            <a:ext cx="415434" cy="2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8" tIns="45704" rIns="91408" bIns="45704">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defTabSz="685528" eaLnBrk="1" fontAlgn="base" hangingPunct="1">
              <a:spcBef>
                <a:spcPct val="0"/>
              </a:spcBef>
              <a:spcAft>
                <a:spcPct val="0"/>
              </a:spcAft>
            </a:pPr>
            <a:r>
              <a:rPr lang="en-GB" sz="900" b="1" dirty="0">
                <a:latin typeface="Calibri" panose="020F0502020204030204"/>
              </a:rPr>
              <a:t>2021</a:t>
            </a:r>
          </a:p>
        </p:txBody>
      </p:sp>
      <p:grpSp>
        <p:nvGrpSpPr>
          <p:cNvPr id="253" name="Group 252"/>
          <p:cNvGrpSpPr/>
          <p:nvPr/>
        </p:nvGrpSpPr>
        <p:grpSpPr>
          <a:xfrm>
            <a:off x="2884905" y="3362168"/>
            <a:ext cx="2989959" cy="1086623"/>
            <a:chOff x="3846525" y="4413194"/>
            <a:chExt cx="3986612" cy="1448831"/>
          </a:xfrm>
        </p:grpSpPr>
        <p:sp>
          <p:nvSpPr>
            <p:cNvPr id="254" name="AutoShape 18"/>
            <p:cNvSpPr>
              <a:spLocks noChangeArrowheads="1"/>
            </p:cNvSpPr>
            <p:nvPr>
              <p:custDataLst>
                <p:tags r:id="rId25"/>
              </p:custDataLst>
            </p:nvPr>
          </p:nvSpPr>
          <p:spPr bwMode="auto">
            <a:xfrm>
              <a:off x="6432150" y="5574025"/>
              <a:ext cx="1400987" cy="288000"/>
            </a:xfrm>
            <a:prstGeom prst="roundRect">
              <a:avLst>
                <a:gd name="adj" fmla="val 9375"/>
              </a:avLst>
            </a:prstGeom>
            <a:noFill/>
            <a:ln w="19050">
              <a:solidFill>
                <a:schemeClr val="accent1">
                  <a:lumMod val="40000"/>
                  <a:lumOff val="60000"/>
                </a:schemeClr>
              </a:solidFill>
              <a:round/>
              <a:headEnd/>
              <a:tailEnd/>
            </a:ln>
          </p:spPr>
          <p:txBody>
            <a:bodyPr wrap="none" lIns="71976" tIns="71976" rIns="71976" bIns="71976" anchor="ctr"/>
            <a:lstStyle/>
            <a:p>
              <a:pPr algn="ctr" defTabSz="685528" fontAlgn="base">
                <a:spcBef>
                  <a:spcPct val="0"/>
                </a:spcBef>
                <a:spcAft>
                  <a:spcPct val="0"/>
                </a:spcAft>
              </a:pPr>
              <a:r>
                <a:rPr lang="en-GB" sz="825" dirty="0">
                  <a:cs typeface="Arial" charset="0"/>
                </a:rPr>
                <a:t>Insulin</a:t>
              </a:r>
            </a:p>
          </p:txBody>
        </p:sp>
        <p:cxnSp>
          <p:nvCxnSpPr>
            <p:cNvPr id="255" name="Straight Connector 254"/>
            <p:cNvCxnSpPr/>
            <p:nvPr/>
          </p:nvCxnSpPr>
          <p:spPr>
            <a:xfrm>
              <a:off x="5924766" y="5067912"/>
              <a:ext cx="0" cy="88777"/>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56" name="AutoShape 15"/>
            <p:cNvSpPr>
              <a:spLocks noChangeArrowheads="1"/>
            </p:cNvSpPr>
            <p:nvPr>
              <p:custDataLst>
                <p:tags r:id="rId26"/>
              </p:custDataLst>
            </p:nvPr>
          </p:nvSpPr>
          <p:spPr bwMode="auto">
            <a:xfrm>
              <a:off x="3846525" y="4413194"/>
              <a:ext cx="2160000" cy="660338"/>
            </a:xfrm>
            <a:prstGeom prst="roundRect">
              <a:avLst>
                <a:gd name="adj" fmla="val 9375"/>
              </a:avLst>
            </a:prstGeom>
            <a:solidFill>
              <a:schemeClr val="accent1">
                <a:lumMod val="40000"/>
                <a:lumOff val="60000"/>
              </a:schemeClr>
            </a:solidFill>
            <a:ln w="19050">
              <a:solidFill>
                <a:schemeClr val="accent1">
                  <a:lumMod val="40000"/>
                  <a:lumOff val="60000"/>
                </a:schemeClr>
              </a:solidFill>
              <a:round/>
              <a:headEnd/>
              <a:tailEnd/>
            </a:ln>
          </p:spPr>
          <p:txBody>
            <a:bodyPr wrap="square" lIns="36000" tIns="36000" rIns="36000" bIns="36000" anchor="ctr">
              <a:noAutofit/>
            </a:bodyPr>
            <a:lstStyle/>
            <a:p>
              <a:pPr algn="ctr" defTabSz="457106">
                <a:spcBef>
                  <a:spcPct val="30000"/>
                </a:spcBef>
              </a:pPr>
              <a:r>
                <a:rPr lang="en-GB" sz="675" b="1" dirty="0">
                  <a:cs typeface="Arial" charset="0"/>
                </a:rPr>
                <a:t>DEVOTE</a:t>
              </a:r>
              <a:r>
                <a:rPr lang="en-GB" sz="675" dirty="0">
                  <a:cs typeface="Arial" charset="0"/>
                </a:rPr>
                <a:t/>
              </a:r>
              <a:br>
                <a:rPr lang="en-GB" sz="675" dirty="0">
                  <a:cs typeface="Arial" charset="0"/>
                </a:rPr>
              </a:br>
              <a:r>
                <a:rPr lang="en-GB" sz="675" dirty="0">
                  <a:cs typeface="Arial" charset="0"/>
                </a:rPr>
                <a:t>(Insulin degludec, insulin)</a:t>
              </a:r>
              <a:br>
                <a:rPr lang="en-GB" sz="675" dirty="0">
                  <a:cs typeface="Arial" charset="0"/>
                </a:rPr>
              </a:br>
              <a:r>
                <a:rPr lang="en-GB" sz="675" dirty="0">
                  <a:cs typeface="Arial" charset="0"/>
                </a:rPr>
                <a:t>n=7637; duration ~2 years</a:t>
              </a:r>
              <a:br>
                <a:rPr lang="en-GB" sz="675" dirty="0">
                  <a:cs typeface="Arial" charset="0"/>
                </a:rPr>
              </a:br>
              <a:r>
                <a:rPr lang="en-GB" sz="675" dirty="0">
                  <a:cs typeface="Arial" charset="0"/>
                </a:rPr>
                <a:t>Q2 2017 </a:t>
              </a:r>
              <a:r>
                <a:rPr lang="en-GB" sz="675" dirty="0">
                  <a:ea typeface="Verdana" panose="020B0604030504040204" pitchFamily="34" charset="0"/>
                  <a:cs typeface="Verdana" panose="020B0604030504040204" pitchFamily="34" charset="0"/>
                </a:rPr>
                <a:t>–</a:t>
              </a:r>
              <a:r>
                <a:rPr lang="en-GB" sz="675" dirty="0">
                  <a:cs typeface="Arial" charset="0"/>
                </a:rPr>
                <a:t> </a:t>
              </a:r>
              <a:r>
                <a:rPr lang="en-GB" sz="675" b="1" dirty="0">
                  <a:cs typeface="Arial" charset="0"/>
                </a:rPr>
                <a:t>RESULTS</a:t>
              </a:r>
            </a:p>
          </p:txBody>
        </p:sp>
      </p:grpSp>
      <p:sp>
        <p:nvSpPr>
          <p:cNvPr id="258" name="AutoShape 18"/>
          <p:cNvSpPr>
            <a:spLocks noChangeArrowheads="1"/>
          </p:cNvSpPr>
          <p:nvPr>
            <p:custDataLst>
              <p:tags r:id="rId1"/>
            </p:custDataLst>
          </p:nvPr>
        </p:nvSpPr>
        <p:spPr bwMode="auto">
          <a:xfrm>
            <a:off x="3706353" y="4232779"/>
            <a:ext cx="1052676" cy="216000"/>
          </a:xfrm>
          <a:prstGeom prst="roundRect">
            <a:avLst>
              <a:gd name="adj" fmla="val 9375"/>
            </a:avLst>
          </a:prstGeom>
          <a:noFill/>
          <a:ln w="19050">
            <a:solidFill>
              <a:schemeClr val="tx1"/>
            </a:solidFill>
            <a:round/>
            <a:headEnd/>
            <a:tailEnd/>
          </a:ln>
        </p:spPr>
        <p:txBody>
          <a:bodyPr wrap="none" lIns="71985" tIns="71985" rIns="71985" bIns="71985" anchor="ctr"/>
          <a:lstStyle/>
          <a:p>
            <a:pPr algn="ctr" defTabSz="685528" fontAlgn="base">
              <a:spcBef>
                <a:spcPct val="0"/>
              </a:spcBef>
              <a:spcAft>
                <a:spcPct val="0"/>
              </a:spcAft>
            </a:pPr>
            <a:r>
              <a:rPr lang="en-GB" sz="825" dirty="0">
                <a:solidFill>
                  <a:srgbClr val="001965"/>
                </a:solidFill>
                <a:cs typeface="Arial" charset="0"/>
              </a:rPr>
              <a:t>SGLT-2i</a:t>
            </a:r>
          </a:p>
        </p:txBody>
      </p:sp>
      <p:sp>
        <p:nvSpPr>
          <p:cNvPr id="259" name="AutoShape 39"/>
          <p:cNvSpPr>
            <a:spLocks noChangeArrowheads="1"/>
          </p:cNvSpPr>
          <p:nvPr>
            <p:custDataLst>
              <p:tags r:id="rId2"/>
            </p:custDataLst>
          </p:nvPr>
        </p:nvSpPr>
        <p:spPr bwMode="auto">
          <a:xfrm>
            <a:off x="1685207" y="1013169"/>
            <a:ext cx="1620001" cy="495253"/>
          </a:xfrm>
          <a:prstGeom prst="roundRect">
            <a:avLst>
              <a:gd name="adj" fmla="val 9375"/>
            </a:avLst>
          </a:prstGeom>
          <a:solidFill>
            <a:schemeClr val="tx1"/>
          </a:solidFill>
          <a:ln w="19050" algn="ctr">
            <a:solidFill>
              <a:schemeClr val="tx1"/>
            </a:solidFill>
            <a:prstDash val="solid"/>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FFFFFF"/>
                </a:solidFill>
                <a:cs typeface="Arial" charset="0"/>
              </a:rPr>
              <a:t>EMPA-REG OUTCOME</a:t>
            </a:r>
            <a:br>
              <a:rPr lang="en-GB" sz="675" b="1" dirty="0">
                <a:solidFill>
                  <a:srgbClr val="FFFFFF"/>
                </a:solidFill>
                <a:cs typeface="Arial" charset="0"/>
              </a:rPr>
            </a:br>
            <a:r>
              <a:rPr lang="en-GB" sz="675" dirty="0">
                <a:solidFill>
                  <a:srgbClr val="FFFFFF"/>
                </a:solidFill>
                <a:cs typeface="Arial" charset="0"/>
              </a:rPr>
              <a:t>(Empagliflozin, SGLT-2i)</a:t>
            </a:r>
            <a:br>
              <a:rPr lang="en-GB" sz="675" dirty="0">
                <a:solidFill>
                  <a:srgbClr val="FFFFFF"/>
                </a:solidFill>
                <a:cs typeface="Arial" charset="0"/>
              </a:rPr>
            </a:br>
            <a:r>
              <a:rPr lang="en-GB" sz="675" dirty="0">
                <a:solidFill>
                  <a:srgbClr val="FFFFFF"/>
                </a:solidFill>
                <a:cs typeface="Arial" charset="0"/>
              </a:rPr>
              <a:t>n=7000; duration up to 5 years </a:t>
            </a:r>
            <a:r>
              <a:rPr lang="en-GB" sz="675" dirty="0" smtClean="0">
                <a:solidFill>
                  <a:srgbClr val="FFFFFF"/>
                </a:solidFill>
                <a:cs typeface="Arial" charset="0"/>
              </a:rPr>
              <a:t>Q3 </a:t>
            </a:r>
            <a:r>
              <a:rPr lang="en-GB" sz="675" dirty="0">
                <a:solidFill>
                  <a:srgbClr val="FFFFFF"/>
                </a:solidFill>
                <a:cs typeface="Arial" charset="0"/>
              </a:rPr>
              <a:t>2015 </a:t>
            </a:r>
            <a:br>
              <a:rPr lang="en-GB" sz="675" dirty="0">
                <a:solidFill>
                  <a:srgbClr val="FFFFFF"/>
                </a:solidFill>
                <a:cs typeface="Arial" charset="0"/>
              </a:rPr>
            </a:br>
            <a:r>
              <a:rPr lang="en-GB" sz="675" dirty="0">
                <a:solidFill>
                  <a:srgbClr val="FFFFFF"/>
                </a:solidFill>
                <a:ea typeface="Verdana" panose="020B0604030504040204" pitchFamily="34" charset="0"/>
                <a:cs typeface="Verdana" panose="020B0604030504040204" pitchFamily="34" charset="0"/>
              </a:rPr>
              <a:t>–</a:t>
            </a:r>
            <a:r>
              <a:rPr lang="en-GB" sz="675" dirty="0">
                <a:solidFill>
                  <a:srgbClr val="FFFFFF"/>
                </a:solidFill>
                <a:cs typeface="Arial" charset="0"/>
              </a:rPr>
              <a:t> </a:t>
            </a:r>
            <a:r>
              <a:rPr lang="en-GB" sz="675" b="1" dirty="0">
                <a:solidFill>
                  <a:srgbClr val="FFFFFF"/>
                </a:solidFill>
                <a:cs typeface="Arial" charset="0"/>
              </a:rPr>
              <a:t>RESULTS</a:t>
            </a:r>
          </a:p>
        </p:txBody>
      </p:sp>
      <p:cxnSp>
        <p:nvCxnSpPr>
          <p:cNvPr id="260" name="Straight Connector 259"/>
          <p:cNvCxnSpPr/>
          <p:nvPr/>
        </p:nvCxnSpPr>
        <p:spPr>
          <a:xfrm>
            <a:off x="2796225" y="1505855"/>
            <a:ext cx="0" cy="6658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61" name="AutoShape 15"/>
          <p:cNvSpPr>
            <a:spLocks noChangeArrowheads="1"/>
          </p:cNvSpPr>
          <p:nvPr>
            <p:custDataLst>
              <p:tags r:id="rId3"/>
            </p:custDataLst>
          </p:nvPr>
        </p:nvSpPr>
        <p:spPr bwMode="auto">
          <a:xfrm>
            <a:off x="4056541" y="1604539"/>
            <a:ext cx="1557192" cy="495253"/>
          </a:xfrm>
          <a:prstGeom prst="roundRect">
            <a:avLst>
              <a:gd name="adj" fmla="val 9375"/>
            </a:avLst>
          </a:prstGeom>
          <a:solidFill>
            <a:schemeClr val="tx1"/>
          </a:solidFill>
          <a:ln w="19050" algn="ctr">
            <a:solidFill>
              <a:schemeClr val="tx1"/>
            </a:solidFill>
            <a:prstDash val="solid"/>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FFFFFF"/>
                </a:solidFill>
                <a:cs typeface="Arial" charset="0"/>
              </a:rPr>
              <a:t>CANVAS</a:t>
            </a:r>
            <a:br>
              <a:rPr lang="en-GB" sz="675" b="1" dirty="0">
                <a:solidFill>
                  <a:srgbClr val="FFFFFF"/>
                </a:solidFill>
                <a:cs typeface="Arial" charset="0"/>
              </a:rPr>
            </a:br>
            <a:r>
              <a:rPr lang="en-GB" sz="675" dirty="0">
                <a:solidFill>
                  <a:srgbClr val="FFFFFF"/>
                </a:solidFill>
                <a:cs typeface="Arial" charset="0"/>
              </a:rPr>
              <a:t>(Canagliflozin, SGLT-2i)</a:t>
            </a:r>
            <a:br>
              <a:rPr lang="en-GB" sz="675" dirty="0">
                <a:solidFill>
                  <a:srgbClr val="FFFFFF"/>
                </a:solidFill>
                <a:cs typeface="Arial" charset="0"/>
              </a:rPr>
            </a:br>
            <a:r>
              <a:rPr lang="en-GB" sz="675" dirty="0">
                <a:solidFill>
                  <a:srgbClr val="FFFFFF"/>
                </a:solidFill>
                <a:cs typeface="Arial" charset="0"/>
              </a:rPr>
              <a:t>n=4418; duration 4+ years</a:t>
            </a:r>
            <a:br>
              <a:rPr lang="en-GB" sz="675" dirty="0">
                <a:solidFill>
                  <a:srgbClr val="FFFFFF"/>
                </a:solidFill>
                <a:cs typeface="Arial" charset="0"/>
              </a:rPr>
            </a:br>
            <a:r>
              <a:rPr lang="en-GB" sz="675" dirty="0">
                <a:solidFill>
                  <a:srgbClr val="FFFFFF"/>
                </a:solidFill>
                <a:cs typeface="Arial" charset="0"/>
              </a:rPr>
              <a:t>Q2 2017 </a:t>
            </a:r>
            <a:r>
              <a:rPr lang="en-GB" sz="675" dirty="0">
                <a:solidFill>
                  <a:srgbClr val="FFFFFF"/>
                </a:solidFill>
                <a:ea typeface="Verdana" panose="020B0604030504040204" pitchFamily="34" charset="0"/>
                <a:cs typeface="Verdana" panose="020B0604030504040204" pitchFamily="34" charset="0"/>
              </a:rPr>
              <a:t>–</a:t>
            </a:r>
            <a:r>
              <a:rPr lang="en-GB" sz="675" dirty="0">
                <a:solidFill>
                  <a:srgbClr val="FFFFFF"/>
                </a:solidFill>
                <a:cs typeface="Arial" charset="0"/>
              </a:rPr>
              <a:t> </a:t>
            </a:r>
            <a:r>
              <a:rPr lang="en-GB" sz="675" b="1" dirty="0">
                <a:solidFill>
                  <a:srgbClr val="FFFFFF"/>
                </a:solidFill>
                <a:cs typeface="Arial" charset="0"/>
              </a:rPr>
              <a:t>RESULTS</a:t>
            </a:r>
          </a:p>
        </p:txBody>
      </p:sp>
      <p:cxnSp>
        <p:nvCxnSpPr>
          <p:cNvPr id="263" name="Straight Connector 262"/>
          <p:cNvCxnSpPr/>
          <p:nvPr/>
        </p:nvCxnSpPr>
        <p:spPr>
          <a:xfrm>
            <a:off x="4723821" y="2096127"/>
            <a:ext cx="0" cy="6658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032368" y="1017989"/>
            <a:ext cx="1349795" cy="554442"/>
            <a:chOff x="5032361" y="1017989"/>
            <a:chExt cx="1349795" cy="554442"/>
          </a:xfrm>
        </p:grpSpPr>
        <p:sp>
          <p:nvSpPr>
            <p:cNvPr id="262" name="AutoShape 14"/>
            <p:cNvSpPr>
              <a:spLocks noChangeArrowheads="1"/>
            </p:cNvSpPr>
            <p:nvPr>
              <p:custDataLst>
                <p:tags r:id="rId24"/>
              </p:custDataLst>
            </p:nvPr>
          </p:nvSpPr>
          <p:spPr bwMode="auto">
            <a:xfrm>
              <a:off x="5032361" y="1017989"/>
              <a:ext cx="1349795" cy="495253"/>
            </a:xfrm>
            <a:prstGeom prst="roundRect">
              <a:avLst>
                <a:gd name="adj" fmla="val 9375"/>
              </a:avLst>
            </a:prstGeom>
            <a:solidFill>
              <a:schemeClr val="bg1"/>
            </a:solidFill>
            <a:ln w="19050">
              <a:solidFill>
                <a:schemeClr val="tx1"/>
              </a:solidFill>
              <a:round/>
              <a:headEnd/>
              <a:tailEnd/>
            </a:ln>
          </p:spPr>
          <p:txBody>
            <a:bodyPr wrap="square" lIns="0" tIns="35990" rIns="0" bIns="35990" anchor="ctr">
              <a:noAutofit/>
            </a:bodyPr>
            <a:lstStyle/>
            <a:p>
              <a:pPr algn="ctr" defTabSz="685528" fontAlgn="base">
                <a:spcBef>
                  <a:spcPct val="0"/>
                </a:spcBef>
                <a:spcAft>
                  <a:spcPct val="0"/>
                </a:spcAft>
                <a:defRPr/>
              </a:pPr>
              <a:r>
                <a:rPr lang="en-GB" sz="675" b="1" dirty="0">
                  <a:cs typeface="Arial" charset="0"/>
                </a:rPr>
                <a:t>DECLARE-TIMI-58</a:t>
              </a:r>
              <a:r>
                <a:rPr lang="en-GB" sz="675" dirty="0">
                  <a:cs typeface="Arial" charset="0"/>
                </a:rPr>
                <a:t/>
              </a:r>
              <a:br>
                <a:rPr lang="en-GB" sz="675" dirty="0">
                  <a:cs typeface="Arial" charset="0"/>
                </a:rPr>
              </a:br>
              <a:r>
                <a:rPr lang="en-GB" sz="675" dirty="0">
                  <a:cs typeface="Arial" charset="0"/>
                </a:rPr>
                <a:t>(</a:t>
              </a:r>
              <a:r>
                <a:rPr lang="en-GB" sz="675" dirty="0" err="1">
                  <a:cs typeface="Arial" charset="0"/>
                </a:rPr>
                <a:t>Dapagliflozin</a:t>
              </a:r>
              <a:r>
                <a:rPr lang="en-GB" sz="675" dirty="0">
                  <a:cs typeface="Arial" charset="0"/>
                </a:rPr>
                <a:t>, SGLT-2i)</a:t>
              </a:r>
            </a:p>
            <a:p>
              <a:pPr algn="ctr" defTabSz="685528" fontAlgn="base">
                <a:spcBef>
                  <a:spcPct val="0"/>
                </a:spcBef>
                <a:spcAft>
                  <a:spcPct val="0"/>
                </a:spcAft>
                <a:defRPr/>
              </a:pPr>
              <a:r>
                <a:rPr lang="en-GB" sz="675" dirty="0">
                  <a:cs typeface="Arial" charset="0"/>
                </a:rPr>
                <a:t>n=17,276; duration ~6 years</a:t>
              </a:r>
              <a:br>
                <a:rPr lang="en-GB" sz="675" dirty="0">
                  <a:cs typeface="Arial" charset="0"/>
                </a:rPr>
              </a:br>
              <a:r>
                <a:rPr lang="en-GB" sz="675" dirty="0">
                  <a:cs typeface="Arial" charset="0"/>
                </a:rPr>
                <a:t>Completion </a:t>
              </a:r>
              <a:r>
                <a:rPr lang="en-GB" sz="675" dirty="0" smtClean="0">
                  <a:cs typeface="Arial" charset="0"/>
                </a:rPr>
                <a:t>Q2 </a:t>
              </a:r>
              <a:r>
                <a:rPr lang="en-GB" sz="675" dirty="0">
                  <a:cs typeface="Arial" charset="0"/>
                </a:rPr>
                <a:t>2019</a:t>
              </a:r>
            </a:p>
          </p:txBody>
        </p:sp>
        <p:cxnSp>
          <p:nvCxnSpPr>
            <p:cNvPr id="264" name="Straight Connector 263"/>
            <p:cNvCxnSpPr/>
            <p:nvPr/>
          </p:nvCxnSpPr>
          <p:spPr>
            <a:xfrm>
              <a:off x="6339521" y="1505848"/>
              <a:ext cx="0" cy="6658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5" name="AutoShape 15"/>
          <p:cNvSpPr>
            <a:spLocks noChangeArrowheads="1"/>
          </p:cNvSpPr>
          <p:nvPr>
            <p:custDataLst>
              <p:tags r:id="rId4"/>
            </p:custDataLst>
          </p:nvPr>
        </p:nvSpPr>
        <p:spPr bwMode="auto">
          <a:xfrm>
            <a:off x="3421061" y="1019573"/>
            <a:ext cx="1530617" cy="495253"/>
          </a:xfrm>
          <a:prstGeom prst="roundRect">
            <a:avLst>
              <a:gd name="adj" fmla="val 9375"/>
            </a:avLst>
          </a:prstGeom>
          <a:solidFill>
            <a:schemeClr val="tx1"/>
          </a:solidFill>
          <a:ln w="19050" algn="ctr">
            <a:solidFill>
              <a:schemeClr val="tx1"/>
            </a:solidFill>
            <a:prstDash val="solid"/>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FFFFFF"/>
                </a:solidFill>
                <a:cs typeface="Arial" charset="0"/>
              </a:rPr>
              <a:t>CANVAS-R</a:t>
            </a:r>
            <a:br>
              <a:rPr lang="en-GB" sz="675" b="1" dirty="0">
                <a:solidFill>
                  <a:srgbClr val="FFFFFF"/>
                </a:solidFill>
                <a:cs typeface="Arial" charset="0"/>
              </a:rPr>
            </a:br>
            <a:r>
              <a:rPr lang="en-GB" sz="675" dirty="0">
                <a:solidFill>
                  <a:srgbClr val="FFFFFF"/>
                </a:solidFill>
                <a:cs typeface="Arial" charset="0"/>
              </a:rPr>
              <a:t>(Canagliflozin, SGLT-2i)</a:t>
            </a:r>
            <a:br>
              <a:rPr lang="en-GB" sz="675" dirty="0">
                <a:solidFill>
                  <a:srgbClr val="FFFFFF"/>
                </a:solidFill>
                <a:cs typeface="Arial" charset="0"/>
              </a:rPr>
            </a:br>
            <a:r>
              <a:rPr lang="en-GB" sz="675" dirty="0">
                <a:solidFill>
                  <a:srgbClr val="FFFFFF"/>
                </a:solidFill>
                <a:cs typeface="Arial" charset="0"/>
              </a:rPr>
              <a:t>n=5826; duration ~3 years</a:t>
            </a:r>
            <a:br>
              <a:rPr lang="en-GB" sz="675" dirty="0">
                <a:solidFill>
                  <a:srgbClr val="FFFFFF"/>
                </a:solidFill>
                <a:cs typeface="Arial" charset="0"/>
              </a:rPr>
            </a:br>
            <a:r>
              <a:rPr lang="en-GB" sz="675" dirty="0">
                <a:solidFill>
                  <a:srgbClr val="FFFFFF"/>
                </a:solidFill>
                <a:cs typeface="Arial" charset="0"/>
              </a:rPr>
              <a:t>Q2 2017 </a:t>
            </a:r>
            <a:r>
              <a:rPr lang="en-GB" sz="675" dirty="0">
                <a:solidFill>
                  <a:srgbClr val="FFFFFF"/>
                </a:solidFill>
                <a:ea typeface="Verdana" panose="020B0604030504040204" pitchFamily="34" charset="0"/>
                <a:cs typeface="Verdana" panose="020B0604030504040204" pitchFamily="34" charset="0"/>
              </a:rPr>
              <a:t>–</a:t>
            </a:r>
            <a:r>
              <a:rPr lang="en-GB" sz="675" dirty="0">
                <a:solidFill>
                  <a:srgbClr val="FFFFFF"/>
                </a:solidFill>
                <a:cs typeface="Arial" charset="0"/>
              </a:rPr>
              <a:t> </a:t>
            </a:r>
            <a:r>
              <a:rPr lang="en-GB" sz="675" b="1" dirty="0">
                <a:solidFill>
                  <a:srgbClr val="FFFFFF"/>
                </a:solidFill>
                <a:cs typeface="Arial" charset="0"/>
              </a:rPr>
              <a:t>RESULTS</a:t>
            </a:r>
          </a:p>
        </p:txBody>
      </p:sp>
      <p:cxnSp>
        <p:nvCxnSpPr>
          <p:cNvPr id="266" name="Straight Connector 265"/>
          <p:cNvCxnSpPr/>
          <p:nvPr/>
        </p:nvCxnSpPr>
        <p:spPr>
          <a:xfrm>
            <a:off x="4696593" y="1512722"/>
            <a:ext cx="0" cy="6658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439783" y="1015702"/>
            <a:ext cx="1564117" cy="560872"/>
            <a:chOff x="6439770" y="1015702"/>
            <a:chExt cx="1564117" cy="560872"/>
          </a:xfrm>
        </p:grpSpPr>
        <p:sp>
          <p:nvSpPr>
            <p:cNvPr id="267" name="AutoShape 14"/>
            <p:cNvSpPr>
              <a:spLocks noChangeArrowheads="1"/>
            </p:cNvSpPr>
            <p:nvPr>
              <p:custDataLst>
                <p:tags r:id="rId23"/>
              </p:custDataLst>
            </p:nvPr>
          </p:nvSpPr>
          <p:spPr bwMode="auto">
            <a:xfrm>
              <a:off x="6439770" y="1015702"/>
              <a:ext cx="1564117" cy="495709"/>
            </a:xfrm>
            <a:prstGeom prst="roundRect">
              <a:avLst>
                <a:gd name="adj" fmla="val 9375"/>
              </a:avLst>
            </a:prstGeom>
            <a:solidFill>
              <a:schemeClr val="bg1"/>
            </a:solidFill>
            <a:ln w="19050" algn="ctr">
              <a:solidFill>
                <a:schemeClr val="tx1"/>
              </a:solidFill>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smtClean="0">
                  <a:cs typeface="Arial" charset="0"/>
                </a:rPr>
                <a:t>CREDENCE (cardio-renal)</a:t>
              </a:r>
              <a:r>
                <a:rPr lang="en-GB" sz="675" dirty="0" smtClean="0">
                  <a:cs typeface="Arial" charset="0"/>
                </a:rPr>
                <a:t/>
              </a:r>
              <a:br>
                <a:rPr lang="en-GB" sz="675" dirty="0" smtClean="0">
                  <a:cs typeface="Arial" charset="0"/>
                </a:rPr>
              </a:br>
              <a:r>
                <a:rPr lang="en-GB" sz="675" dirty="0" smtClean="0">
                  <a:cs typeface="Arial" charset="0"/>
                </a:rPr>
                <a:t>(</a:t>
              </a:r>
              <a:r>
                <a:rPr lang="en-GB" sz="675" dirty="0" err="1" smtClean="0">
                  <a:cs typeface="Arial" charset="0"/>
                </a:rPr>
                <a:t>Canagliflozin</a:t>
              </a:r>
              <a:r>
                <a:rPr lang="en-GB" sz="675" dirty="0" smtClean="0">
                  <a:cs typeface="Arial" charset="0"/>
                </a:rPr>
                <a:t>, SGLT-2i)</a:t>
              </a:r>
              <a:br>
                <a:rPr lang="en-GB" sz="675" dirty="0" smtClean="0">
                  <a:cs typeface="Arial" charset="0"/>
                </a:rPr>
              </a:br>
              <a:r>
                <a:rPr lang="en-GB" sz="675" dirty="0" smtClean="0">
                  <a:cs typeface="Arial" charset="0"/>
                </a:rPr>
                <a:t>n=4464; duration ~5.5 years </a:t>
              </a:r>
              <a:br>
                <a:rPr lang="en-GB" sz="675" dirty="0" smtClean="0">
                  <a:cs typeface="Arial" charset="0"/>
                </a:rPr>
              </a:br>
              <a:r>
                <a:rPr lang="en-GB" sz="675" dirty="0" smtClean="0">
                  <a:cs typeface="Arial" charset="0"/>
                </a:rPr>
                <a:t>Completion Q2 2019</a:t>
              </a:r>
            </a:p>
          </p:txBody>
        </p:sp>
        <p:cxnSp>
          <p:nvCxnSpPr>
            <p:cNvPr id="268" name="Straight Connector 267"/>
            <p:cNvCxnSpPr/>
            <p:nvPr/>
          </p:nvCxnSpPr>
          <p:spPr>
            <a:xfrm>
              <a:off x="6481334" y="1509991"/>
              <a:ext cx="0" cy="6658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7142481" y="2198141"/>
            <a:ext cx="1620002" cy="560801"/>
            <a:chOff x="7142481" y="2198122"/>
            <a:chExt cx="1620002" cy="560801"/>
          </a:xfrm>
        </p:grpSpPr>
        <p:cxnSp>
          <p:nvCxnSpPr>
            <p:cNvPr id="269" name="Straight Connector 268"/>
            <p:cNvCxnSpPr/>
            <p:nvPr/>
          </p:nvCxnSpPr>
          <p:spPr>
            <a:xfrm>
              <a:off x="7238825" y="2692340"/>
              <a:ext cx="0" cy="6658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70" name="AutoShape 33"/>
            <p:cNvSpPr>
              <a:spLocks noChangeArrowheads="1"/>
            </p:cNvSpPr>
            <p:nvPr>
              <p:custDataLst>
                <p:tags r:id="rId22"/>
              </p:custDataLst>
            </p:nvPr>
          </p:nvSpPr>
          <p:spPr bwMode="auto">
            <a:xfrm>
              <a:off x="7142481" y="2198122"/>
              <a:ext cx="1620002" cy="495253"/>
            </a:xfrm>
            <a:prstGeom prst="roundRect">
              <a:avLst>
                <a:gd name="adj" fmla="val 9375"/>
              </a:avLst>
            </a:prstGeom>
            <a:solidFill>
              <a:schemeClr val="bg1"/>
            </a:solidFill>
            <a:ln w="19050">
              <a:solidFill>
                <a:schemeClr val="tx1"/>
              </a:solidFill>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smtClean="0">
                  <a:cs typeface="Arial" charset="0"/>
                </a:rPr>
                <a:t>VERTIS CV</a:t>
              </a:r>
            </a:p>
            <a:p>
              <a:pPr algn="ctr" defTabSz="685528" fontAlgn="base">
                <a:spcBef>
                  <a:spcPct val="0"/>
                </a:spcBef>
                <a:spcAft>
                  <a:spcPct val="0"/>
                </a:spcAft>
              </a:pPr>
              <a:r>
                <a:rPr lang="en-GB" sz="675" dirty="0" smtClean="0">
                  <a:cs typeface="Arial" charset="0"/>
                </a:rPr>
                <a:t>(</a:t>
              </a:r>
              <a:r>
                <a:rPr lang="en-GB" sz="675" dirty="0" err="1" smtClean="0">
                  <a:cs typeface="Arial" charset="0"/>
                </a:rPr>
                <a:t>Ertugliflozin</a:t>
              </a:r>
              <a:r>
                <a:rPr lang="en-GB" sz="675" dirty="0" smtClean="0">
                  <a:cs typeface="Arial" charset="0"/>
                </a:rPr>
                <a:t>, SGLT-2i)</a:t>
              </a:r>
              <a:br>
                <a:rPr lang="en-GB" sz="675" dirty="0" smtClean="0">
                  <a:cs typeface="Arial" charset="0"/>
                </a:rPr>
              </a:br>
              <a:r>
                <a:rPr lang="en-GB" sz="675" dirty="0" smtClean="0">
                  <a:cs typeface="Arial" charset="0"/>
                </a:rPr>
                <a:t>n=8000; duration ~6.3 years</a:t>
              </a:r>
              <a:br>
                <a:rPr lang="en-GB" sz="675" dirty="0" smtClean="0">
                  <a:cs typeface="Arial" charset="0"/>
                </a:rPr>
              </a:br>
              <a:r>
                <a:rPr lang="en-GB" sz="675" dirty="0" smtClean="0">
                  <a:cs typeface="Arial" charset="0"/>
                </a:rPr>
                <a:t>Completion Q4 2019</a:t>
              </a:r>
              <a:endParaRPr lang="en-GB" sz="675" dirty="0">
                <a:cs typeface="Arial" charset="0"/>
              </a:endParaRPr>
            </a:p>
          </p:txBody>
        </p:sp>
      </p:grpSp>
      <p:sp>
        <p:nvSpPr>
          <p:cNvPr id="272" name="AutoShape 18"/>
          <p:cNvSpPr>
            <a:spLocks noChangeArrowheads="1"/>
          </p:cNvSpPr>
          <p:nvPr>
            <p:custDataLst>
              <p:tags r:id="rId5"/>
            </p:custDataLst>
          </p:nvPr>
        </p:nvSpPr>
        <p:spPr bwMode="auto">
          <a:xfrm>
            <a:off x="2590535" y="4232025"/>
            <a:ext cx="1050740" cy="215999"/>
          </a:xfrm>
          <a:prstGeom prst="roundRect">
            <a:avLst>
              <a:gd name="adj" fmla="val 9375"/>
            </a:avLst>
          </a:prstGeom>
          <a:noFill/>
          <a:ln w="19050">
            <a:solidFill>
              <a:schemeClr val="accent5"/>
            </a:solidFill>
            <a:round/>
            <a:headEnd/>
            <a:tailEnd/>
          </a:ln>
        </p:spPr>
        <p:txBody>
          <a:bodyPr wrap="none" lIns="71985" tIns="71985" rIns="71985" bIns="71985" anchor="ctr"/>
          <a:lstStyle/>
          <a:p>
            <a:pPr algn="ctr" defTabSz="685528" fontAlgn="base">
              <a:spcBef>
                <a:spcPct val="0"/>
              </a:spcBef>
              <a:spcAft>
                <a:spcPct val="0"/>
              </a:spcAft>
            </a:pPr>
            <a:r>
              <a:rPr lang="en-GB" sz="825" dirty="0">
                <a:solidFill>
                  <a:srgbClr val="001965"/>
                </a:solidFill>
                <a:cs typeface="Arial" charset="0"/>
              </a:rPr>
              <a:t>GLP-1RA</a:t>
            </a:r>
          </a:p>
        </p:txBody>
      </p:sp>
      <p:sp>
        <p:nvSpPr>
          <p:cNvPr id="273" name="AutoShape 15"/>
          <p:cNvSpPr>
            <a:spLocks noChangeArrowheads="1"/>
          </p:cNvSpPr>
          <p:nvPr>
            <p:custDataLst>
              <p:tags r:id="rId6"/>
            </p:custDataLst>
          </p:nvPr>
        </p:nvSpPr>
        <p:spPr bwMode="auto">
          <a:xfrm>
            <a:off x="2036521" y="2183256"/>
            <a:ext cx="1620001" cy="495252"/>
          </a:xfrm>
          <a:prstGeom prst="roundRect">
            <a:avLst>
              <a:gd name="adj" fmla="val 9375"/>
            </a:avLst>
          </a:prstGeom>
          <a:solidFill>
            <a:schemeClr val="accent5"/>
          </a:solidFill>
          <a:ln w="19050">
            <a:solidFill>
              <a:schemeClr val="accent5"/>
            </a:solidFill>
            <a:prstDash val="solid"/>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FFFFFF"/>
                </a:solidFill>
                <a:cs typeface="Arial" charset="0"/>
              </a:rPr>
              <a:t>ELIXA</a:t>
            </a:r>
            <a:r>
              <a:rPr lang="en-GB" sz="675" dirty="0">
                <a:solidFill>
                  <a:srgbClr val="FFFFFF"/>
                </a:solidFill>
                <a:cs typeface="Arial" charset="0"/>
              </a:rPr>
              <a:t/>
            </a:r>
            <a:br>
              <a:rPr lang="en-GB" sz="675" dirty="0">
                <a:solidFill>
                  <a:srgbClr val="FFFFFF"/>
                </a:solidFill>
                <a:cs typeface="Arial" charset="0"/>
              </a:rPr>
            </a:br>
            <a:r>
              <a:rPr lang="en-GB" sz="675" dirty="0">
                <a:solidFill>
                  <a:srgbClr val="FFFFFF"/>
                </a:solidFill>
                <a:cs typeface="Arial" charset="0"/>
              </a:rPr>
              <a:t>(</a:t>
            </a:r>
            <a:r>
              <a:rPr lang="en-GB" sz="675" dirty="0" err="1">
                <a:solidFill>
                  <a:srgbClr val="FFFFFF"/>
                </a:solidFill>
                <a:cs typeface="Arial" charset="0"/>
              </a:rPr>
              <a:t>Lixisenatide</a:t>
            </a:r>
            <a:r>
              <a:rPr lang="en-GB" sz="675" dirty="0">
                <a:solidFill>
                  <a:srgbClr val="FFFFFF"/>
                </a:solidFill>
                <a:cs typeface="Arial" charset="0"/>
              </a:rPr>
              <a:t>, GLP-1RA)</a:t>
            </a:r>
            <a:br>
              <a:rPr lang="en-GB" sz="675" dirty="0">
                <a:solidFill>
                  <a:srgbClr val="FFFFFF"/>
                </a:solidFill>
                <a:cs typeface="Arial" charset="0"/>
              </a:rPr>
            </a:br>
            <a:r>
              <a:rPr lang="en-GB" sz="675" dirty="0" smtClean="0">
                <a:solidFill>
                  <a:srgbClr val="FFFFFF"/>
                </a:solidFill>
                <a:cs typeface="Arial" charset="0"/>
              </a:rPr>
              <a:t>n=6068; follow-up ~2 </a:t>
            </a:r>
            <a:r>
              <a:rPr lang="en-GB" sz="675" dirty="0">
                <a:solidFill>
                  <a:srgbClr val="FFFFFF"/>
                </a:solidFill>
                <a:cs typeface="Arial" charset="0"/>
              </a:rPr>
              <a:t>years</a:t>
            </a:r>
            <a:br>
              <a:rPr lang="en-GB" sz="675" dirty="0">
                <a:solidFill>
                  <a:srgbClr val="FFFFFF"/>
                </a:solidFill>
                <a:cs typeface="Arial" charset="0"/>
              </a:rPr>
            </a:br>
            <a:r>
              <a:rPr lang="en-GB" sz="675" dirty="0">
                <a:solidFill>
                  <a:srgbClr val="FFFFFF"/>
                </a:solidFill>
                <a:cs typeface="Arial" charset="0"/>
              </a:rPr>
              <a:t>Q1 2015 </a:t>
            </a:r>
            <a:r>
              <a:rPr lang="en-GB" sz="675" dirty="0">
                <a:solidFill>
                  <a:srgbClr val="FFFFFF"/>
                </a:solidFill>
                <a:ea typeface="Verdana" panose="020B0604030504040204" pitchFamily="34" charset="0"/>
                <a:cs typeface="Verdana" panose="020B0604030504040204" pitchFamily="34" charset="0"/>
              </a:rPr>
              <a:t>– </a:t>
            </a:r>
            <a:r>
              <a:rPr lang="en-GB" sz="675" b="1" dirty="0">
                <a:solidFill>
                  <a:srgbClr val="FFFFFF"/>
                </a:solidFill>
                <a:cs typeface="Arial" charset="0"/>
              </a:rPr>
              <a:t>RESULTS</a:t>
            </a:r>
            <a:endParaRPr lang="en-GB" sz="675" dirty="0">
              <a:solidFill>
                <a:srgbClr val="FFFFFF"/>
              </a:solidFill>
              <a:cs typeface="Arial" charset="0"/>
            </a:endParaRPr>
          </a:p>
        </p:txBody>
      </p:sp>
      <p:cxnSp>
        <p:nvCxnSpPr>
          <p:cNvPr id="274" name="Straight Connector 273"/>
          <p:cNvCxnSpPr/>
          <p:nvPr/>
        </p:nvCxnSpPr>
        <p:spPr>
          <a:xfrm>
            <a:off x="2385935" y="2683322"/>
            <a:ext cx="0" cy="6658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75" name="AutoShape 39"/>
          <p:cNvSpPr>
            <a:spLocks noChangeArrowheads="1"/>
          </p:cNvSpPr>
          <p:nvPr>
            <p:custDataLst>
              <p:tags r:id="rId7"/>
            </p:custDataLst>
          </p:nvPr>
        </p:nvSpPr>
        <p:spPr bwMode="auto">
          <a:xfrm>
            <a:off x="3729486" y="2192594"/>
            <a:ext cx="1620001" cy="495252"/>
          </a:xfrm>
          <a:prstGeom prst="roundRect">
            <a:avLst>
              <a:gd name="adj" fmla="val 9375"/>
            </a:avLst>
          </a:prstGeom>
          <a:solidFill>
            <a:schemeClr val="accent5"/>
          </a:solidFill>
          <a:ln w="19050" algn="ctr">
            <a:solidFill>
              <a:schemeClr val="accent5"/>
            </a:solidFill>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prstClr val="white"/>
                </a:solidFill>
                <a:cs typeface="Arial" charset="0"/>
              </a:rPr>
              <a:t>FREEDOM </a:t>
            </a:r>
            <a:br>
              <a:rPr lang="en-GB" sz="675" b="1" dirty="0">
                <a:solidFill>
                  <a:prstClr val="white"/>
                </a:solidFill>
                <a:cs typeface="Arial" charset="0"/>
              </a:rPr>
            </a:br>
            <a:r>
              <a:rPr lang="en-GB" sz="675" dirty="0">
                <a:solidFill>
                  <a:prstClr val="white"/>
                </a:solidFill>
                <a:cs typeface="Arial" charset="0"/>
              </a:rPr>
              <a:t>(ITCA 650, GLP-1RA in DUROS)</a:t>
            </a:r>
            <a:br>
              <a:rPr lang="en-GB" sz="675" dirty="0">
                <a:solidFill>
                  <a:prstClr val="white"/>
                </a:solidFill>
                <a:cs typeface="Arial" charset="0"/>
              </a:rPr>
            </a:br>
            <a:r>
              <a:rPr lang="en-GB" sz="675" dirty="0">
                <a:solidFill>
                  <a:prstClr val="white"/>
                </a:solidFill>
                <a:cs typeface="Arial" charset="0"/>
              </a:rPr>
              <a:t>n=4000; duration ~2 years</a:t>
            </a:r>
            <a:br>
              <a:rPr lang="en-GB" sz="675" dirty="0">
                <a:solidFill>
                  <a:prstClr val="white"/>
                </a:solidFill>
                <a:cs typeface="Arial" charset="0"/>
              </a:rPr>
            </a:br>
            <a:r>
              <a:rPr lang="en-GB" sz="675" dirty="0">
                <a:solidFill>
                  <a:prstClr val="white"/>
                </a:solidFill>
                <a:cs typeface="Arial" charset="0"/>
              </a:rPr>
              <a:t>Q2 2016 </a:t>
            </a:r>
            <a:r>
              <a:rPr lang="en-GB" sz="675" dirty="0">
                <a:solidFill>
                  <a:srgbClr val="FFFFFF"/>
                </a:solidFill>
                <a:ea typeface="Verdana" panose="020B0604030504040204" pitchFamily="34" charset="0"/>
                <a:cs typeface="Verdana" panose="020B0604030504040204" pitchFamily="34" charset="0"/>
              </a:rPr>
              <a:t>–</a:t>
            </a:r>
            <a:r>
              <a:rPr lang="en-GB" sz="675" dirty="0">
                <a:solidFill>
                  <a:prstClr val="white"/>
                </a:solidFill>
                <a:cs typeface="Arial" charset="0"/>
              </a:rPr>
              <a:t> </a:t>
            </a:r>
            <a:r>
              <a:rPr lang="en-GB" sz="675" b="1" dirty="0">
                <a:solidFill>
                  <a:prstClr val="white"/>
                </a:solidFill>
                <a:cs typeface="Arial" charset="0"/>
              </a:rPr>
              <a:t>COMPLETED</a:t>
            </a:r>
          </a:p>
        </p:txBody>
      </p:sp>
      <p:sp>
        <p:nvSpPr>
          <p:cNvPr id="277" name="AutoShape 14"/>
          <p:cNvSpPr>
            <a:spLocks noChangeArrowheads="1"/>
          </p:cNvSpPr>
          <p:nvPr>
            <p:custDataLst>
              <p:tags r:id="rId8"/>
            </p:custDataLst>
          </p:nvPr>
        </p:nvSpPr>
        <p:spPr bwMode="auto">
          <a:xfrm>
            <a:off x="2374289" y="1605943"/>
            <a:ext cx="1620001" cy="495252"/>
          </a:xfrm>
          <a:prstGeom prst="roundRect">
            <a:avLst>
              <a:gd name="adj" fmla="val 9375"/>
            </a:avLst>
          </a:prstGeom>
          <a:solidFill>
            <a:schemeClr val="accent5"/>
          </a:solidFill>
          <a:ln w="19050">
            <a:solidFill>
              <a:schemeClr val="accent5"/>
            </a:solidFill>
            <a:prstDash val="solid"/>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FFFFFF"/>
                </a:solidFill>
                <a:cs typeface="Arial" charset="0"/>
              </a:rPr>
              <a:t>SUSTAIN 6</a:t>
            </a:r>
            <a:r>
              <a:rPr lang="en-GB" sz="675" dirty="0">
                <a:solidFill>
                  <a:srgbClr val="FFFFFF"/>
                </a:solidFill>
                <a:cs typeface="Arial" charset="0"/>
              </a:rPr>
              <a:t/>
            </a:r>
            <a:br>
              <a:rPr lang="en-GB" sz="675" dirty="0">
                <a:solidFill>
                  <a:srgbClr val="FFFFFF"/>
                </a:solidFill>
                <a:cs typeface="Arial" charset="0"/>
              </a:rPr>
            </a:br>
            <a:r>
              <a:rPr lang="en-GB" sz="675" dirty="0">
                <a:solidFill>
                  <a:srgbClr val="FFFFFF"/>
                </a:solidFill>
                <a:cs typeface="Arial" charset="0"/>
              </a:rPr>
              <a:t>(Semaglutide, GLP-1RA)</a:t>
            </a:r>
            <a:br>
              <a:rPr lang="en-GB" sz="675" dirty="0">
                <a:solidFill>
                  <a:srgbClr val="FFFFFF"/>
                </a:solidFill>
                <a:cs typeface="Arial" charset="0"/>
              </a:rPr>
            </a:br>
            <a:r>
              <a:rPr lang="en-GB" sz="675" dirty="0">
                <a:solidFill>
                  <a:srgbClr val="FFFFFF"/>
                </a:solidFill>
                <a:cs typeface="Arial" charset="0"/>
              </a:rPr>
              <a:t>n=3297; duration ~2.8 years</a:t>
            </a:r>
            <a:br>
              <a:rPr lang="en-GB" sz="675" dirty="0">
                <a:solidFill>
                  <a:srgbClr val="FFFFFF"/>
                </a:solidFill>
                <a:cs typeface="Arial" charset="0"/>
              </a:rPr>
            </a:br>
            <a:r>
              <a:rPr lang="en-GB" sz="675" dirty="0">
                <a:solidFill>
                  <a:srgbClr val="FFFFFF"/>
                </a:solidFill>
                <a:cs typeface="Arial" charset="0"/>
              </a:rPr>
              <a:t>Q3 2016 </a:t>
            </a:r>
            <a:r>
              <a:rPr lang="en-GB" sz="675" dirty="0">
                <a:solidFill>
                  <a:srgbClr val="FFFFFF"/>
                </a:solidFill>
                <a:ea typeface="Verdana" panose="020B0604030504040204" pitchFamily="34" charset="0"/>
                <a:cs typeface="Verdana" panose="020B0604030504040204" pitchFamily="34" charset="0"/>
              </a:rPr>
              <a:t>–</a:t>
            </a:r>
            <a:r>
              <a:rPr lang="en-GB" sz="675" dirty="0">
                <a:solidFill>
                  <a:srgbClr val="FFFFFF"/>
                </a:solidFill>
                <a:cs typeface="Arial" charset="0"/>
              </a:rPr>
              <a:t> </a:t>
            </a:r>
            <a:r>
              <a:rPr lang="en-GB" sz="675" b="1" dirty="0">
                <a:solidFill>
                  <a:srgbClr val="FFFFFF"/>
                </a:solidFill>
                <a:cs typeface="Arial" charset="0"/>
              </a:rPr>
              <a:t>RESULTS</a:t>
            </a:r>
          </a:p>
        </p:txBody>
      </p:sp>
      <p:sp>
        <p:nvSpPr>
          <p:cNvPr id="278" name="AutoShape 16"/>
          <p:cNvSpPr>
            <a:spLocks noChangeArrowheads="1"/>
          </p:cNvSpPr>
          <p:nvPr>
            <p:custDataLst>
              <p:tags r:id="rId9"/>
            </p:custDataLst>
          </p:nvPr>
        </p:nvSpPr>
        <p:spPr bwMode="auto">
          <a:xfrm>
            <a:off x="2028458" y="2777310"/>
            <a:ext cx="1620001" cy="495252"/>
          </a:xfrm>
          <a:prstGeom prst="roundRect">
            <a:avLst>
              <a:gd name="adj" fmla="val 9375"/>
            </a:avLst>
          </a:prstGeom>
          <a:solidFill>
            <a:schemeClr val="accent5"/>
          </a:solidFill>
          <a:ln w="19050">
            <a:solidFill>
              <a:schemeClr val="accent5"/>
            </a:solidFill>
            <a:prstDash val="solid"/>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FFFFFF"/>
                </a:solidFill>
                <a:cs typeface="Arial" charset="0"/>
              </a:rPr>
              <a:t>LEADER</a:t>
            </a:r>
            <a:r>
              <a:rPr lang="en-GB" sz="675" dirty="0">
                <a:solidFill>
                  <a:srgbClr val="FFFFFF"/>
                </a:solidFill>
                <a:cs typeface="Arial" charset="0"/>
              </a:rPr>
              <a:t/>
            </a:r>
            <a:br>
              <a:rPr lang="en-GB" sz="675" dirty="0">
                <a:solidFill>
                  <a:srgbClr val="FFFFFF"/>
                </a:solidFill>
                <a:cs typeface="Arial" charset="0"/>
              </a:rPr>
            </a:br>
            <a:r>
              <a:rPr lang="en-GB" sz="675" dirty="0">
                <a:solidFill>
                  <a:srgbClr val="FFFFFF"/>
                </a:solidFill>
                <a:cs typeface="Arial" charset="0"/>
              </a:rPr>
              <a:t>(Liraglutide, GLP-1RA)</a:t>
            </a:r>
            <a:br>
              <a:rPr lang="en-GB" sz="675" dirty="0">
                <a:solidFill>
                  <a:srgbClr val="FFFFFF"/>
                </a:solidFill>
                <a:cs typeface="Arial" charset="0"/>
              </a:rPr>
            </a:br>
            <a:r>
              <a:rPr lang="en-GB" sz="675" dirty="0">
                <a:solidFill>
                  <a:srgbClr val="FFFFFF"/>
                </a:solidFill>
                <a:cs typeface="Arial" charset="0"/>
              </a:rPr>
              <a:t>n=9340; duration 3.5–5 years</a:t>
            </a:r>
            <a:br>
              <a:rPr lang="en-GB" sz="675" dirty="0">
                <a:solidFill>
                  <a:srgbClr val="FFFFFF"/>
                </a:solidFill>
                <a:cs typeface="Arial" charset="0"/>
              </a:rPr>
            </a:br>
            <a:r>
              <a:rPr lang="en-GB" sz="675" dirty="0">
                <a:solidFill>
                  <a:srgbClr val="FFFFFF"/>
                </a:solidFill>
                <a:cs typeface="Arial" charset="0"/>
              </a:rPr>
              <a:t>Q2 2016 </a:t>
            </a:r>
            <a:r>
              <a:rPr lang="en-GB" sz="675" dirty="0">
                <a:solidFill>
                  <a:srgbClr val="FFFFFF"/>
                </a:solidFill>
                <a:ea typeface="Verdana" panose="020B0604030504040204" pitchFamily="34" charset="0"/>
                <a:cs typeface="Verdana" panose="020B0604030504040204" pitchFamily="34" charset="0"/>
              </a:rPr>
              <a:t>–</a:t>
            </a:r>
            <a:r>
              <a:rPr lang="en-GB" sz="675" dirty="0">
                <a:solidFill>
                  <a:srgbClr val="FFFFFF"/>
                </a:solidFill>
                <a:cs typeface="Arial" charset="0"/>
              </a:rPr>
              <a:t> </a:t>
            </a:r>
            <a:r>
              <a:rPr lang="en-GB" sz="675" b="1" dirty="0">
                <a:solidFill>
                  <a:srgbClr val="FFFFFF"/>
                </a:solidFill>
                <a:cs typeface="Arial" charset="0"/>
              </a:rPr>
              <a:t>RESULTS</a:t>
            </a:r>
          </a:p>
        </p:txBody>
      </p:sp>
      <p:cxnSp>
        <p:nvCxnSpPr>
          <p:cNvPr id="279" name="Straight Connector 278"/>
          <p:cNvCxnSpPr/>
          <p:nvPr/>
        </p:nvCxnSpPr>
        <p:spPr>
          <a:xfrm>
            <a:off x="3913420" y="2103193"/>
            <a:ext cx="0" cy="6658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436052" y="2191344"/>
            <a:ext cx="1620001" cy="555730"/>
            <a:chOff x="5436030" y="2191343"/>
            <a:chExt cx="1620001" cy="555730"/>
          </a:xfrm>
        </p:grpSpPr>
        <p:sp>
          <p:nvSpPr>
            <p:cNvPr id="276" name="AutoShape 14"/>
            <p:cNvSpPr>
              <a:spLocks noChangeArrowheads="1"/>
            </p:cNvSpPr>
            <p:nvPr>
              <p:custDataLst>
                <p:tags r:id="rId21"/>
              </p:custDataLst>
            </p:nvPr>
          </p:nvSpPr>
          <p:spPr bwMode="auto">
            <a:xfrm>
              <a:off x="5436030" y="2191343"/>
              <a:ext cx="1620001" cy="495252"/>
            </a:xfrm>
            <a:prstGeom prst="roundRect">
              <a:avLst>
                <a:gd name="adj" fmla="val 9375"/>
              </a:avLst>
            </a:prstGeom>
            <a:solidFill>
              <a:schemeClr val="bg1"/>
            </a:solidFill>
            <a:ln w="19050" algn="ctr">
              <a:solidFill>
                <a:schemeClr val="accent5"/>
              </a:solidFill>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001965"/>
                  </a:solidFill>
                  <a:cs typeface="Arial" charset="0"/>
                </a:rPr>
                <a:t>REWIND</a:t>
              </a:r>
              <a:r>
                <a:rPr lang="en-GB" sz="675" dirty="0">
                  <a:solidFill>
                    <a:srgbClr val="001965"/>
                  </a:solidFill>
                  <a:cs typeface="Arial" charset="0"/>
                </a:rPr>
                <a:t/>
              </a:r>
              <a:br>
                <a:rPr lang="en-GB" sz="675" dirty="0">
                  <a:solidFill>
                    <a:srgbClr val="001965"/>
                  </a:solidFill>
                  <a:cs typeface="Arial" charset="0"/>
                </a:rPr>
              </a:br>
              <a:r>
                <a:rPr lang="en-GB" sz="675" dirty="0">
                  <a:solidFill>
                    <a:srgbClr val="001965"/>
                  </a:solidFill>
                  <a:cs typeface="Arial" charset="0"/>
                </a:rPr>
                <a:t>(Dulaglutide, QW GLP-1RA)</a:t>
              </a:r>
              <a:br>
                <a:rPr lang="en-GB" sz="675" dirty="0">
                  <a:solidFill>
                    <a:srgbClr val="001965"/>
                  </a:solidFill>
                  <a:cs typeface="Arial" charset="0"/>
                </a:rPr>
              </a:br>
              <a:r>
                <a:rPr lang="en-GB" sz="675" dirty="0">
                  <a:solidFill>
                    <a:srgbClr val="001965"/>
                  </a:solidFill>
                  <a:cs typeface="Arial" charset="0"/>
                </a:rPr>
                <a:t>n=9622; duration ~6.5 years</a:t>
              </a:r>
              <a:br>
                <a:rPr lang="en-GB" sz="675" dirty="0">
                  <a:solidFill>
                    <a:srgbClr val="001965"/>
                  </a:solidFill>
                  <a:cs typeface="Arial" charset="0"/>
                </a:rPr>
              </a:br>
              <a:r>
                <a:rPr lang="en-GB" sz="675" dirty="0">
                  <a:solidFill>
                    <a:srgbClr val="001965"/>
                  </a:solidFill>
                  <a:cs typeface="Arial" charset="0"/>
                </a:rPr>
                <a:t>Completion Q3 2018</a:t>
              </a:r>
            </a:p>
          </p:txBody>
        </p:sp>
        <p:cxnSp>
          <p:nvCxnSpPr>
            <p:cNvPr id="280" name="Straight Connector 279"/>
            <p:cNvCxnSpPr/>
            <p:nvPr/>
          </p:nvCxnSpPr>
          <p:spPr>
            <a:xfrm>
              <a:off x="5768843" y="2680490"/>
              <a:ext cx="0" cy="6658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281" name="Straight Connector 280"/>
          <p:cNvCxnSpPr/>
          <p:nvPr/>
        </p:nvCxnSpPr>
        <p:spPr>
          <a:xfrm>
            <a:off x="3596216" y="3268363"/>
            <a:ext cx="0" cy="6658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82" name="AutoShape 14"/>
          <p:cNvSpPr>
            <a:spLocks noChangeArrowheads="1"/>
          </p:cNvSpPr>
          <p:nvPr>
            <p:custDataLst>
              <p:tags r:id="rId10"/>
            </p:custDataLst>
          </p:nvPr>
        </p:nvSpPr>
        <p:spPr bwMode="auto">
          <a:xfrm>
            <a:off x="3742402" y="2777307"/>
            <a:ext cx="1620001" cy="495252"/>
          </a:xfrm>
          <a:prstGeom prst="roundRect">
            <a:avLst>
              <a:gd name="adj" fmla="val 9375"/>
            </a:avLst>
          </a:prstGeom>
          <a:solidFill>
            <a:schemeClr val="accent5"/>
          </a:solidFill>
          <a:ln w="19050">
            <a:solidFill>
              <a:schemeClr val="accent5"/>
            </a:solidFill>
            <a:round/>
            <a:headEnd/>
            <a:tailEnd/>
          </a:ln>
        </p:spPr>
        <p:txBody>
          <a:bodyPr wrap="square" lIns="0" tIns="35990" rIns="0" bIns="35990" anchor="ctr">
            <a:noAutofit/>
          </a:bodyPr>
          <a:lstStyle/>
          <a:p>
            <a:pPr algn="ctr" defTabSz="685528" fontAlgn="base">
              <a:spcBef>
                <a:spcPct val="0"/>
              </a:spcBef>
              <a:spcAft>
                <a:spcPct val="0"/>
              </a:spcAft>
            </a:pPr>
            <a:r>
              <a:rPr lang="en-GB" sz="675" b="1" dirty="0">
                <a:solidFill>
                  <a:prstClr val="white"/>
                </a:solidFill>
                <a:cs typeface="Arial" charset="0"/>
              </a:rPr>
              <a:t>EXSCEL</a:t>
            </a:r>
            <a:r>
              <a:rPr lang="en-GB" sz="675" dirty="0">
                <a:solidFill>
                  <a:prstClr val="white"/>
                </a:solidFill>
                <a:cs typeface="Arial" charset="0"/>
              </a:rPr>
              <a:t/>
            </a:r>
            <a:br>
              <a:rPr lang="en-GB" sz="675" dirty="0">
                <a:solidFill>
                  <a:prstClr val="white"/>
                </a:solidFill>
                <a:cs typeface="Arial" charset="0"/>
              </a:rPr>
            </a:br>
            <a:r>
              <a:rPr lang="en-GB" sz="675" dirty="0">
                <a:solidFill>
                  <a:prstClr val="white"/>
                </a:solidFill>
                <a:cs typeface="Arial" charset="0"/>
              </a:rPr>
              <a:t>(</a:t>
            </a:r>
            <a:r>
              <a:rPr lang="en-GB" sz="675" dirty="0" err="1">
                <a:solidFill>
                  <a:prstClr val="white"/>
                </a:solidFill>
                <a:cs typeface="Arial" charset="0"/>
              </a:rPr>
              <a:t>Exenatide</a:t>
            </a:r>
            <a:r>
              <a:rPr lang="en-GB" sz="675" dirty="0">
                <a:solidFill>
                  <a:prstClr val="white"/>
                </a:solidFill>
                <a:cs typeface="Arial" charset="0"/>
              </a:rPr>
              <a:t> ER, QW GLP-1RA)</a:t>
            </a:r>
            <a:br>
              <a:rPr lang="en-GB" sz="675" dirty="0">
                <a:solidFill>
                  <a:prstClr val="white"/>
                </a:solidFill>
                <a:cs typeface="Arial" charset="0"/>
              </a:rPr>
            </a:br>
            <a:r>
              <a:rPr lang="en-GB" sz="675" dirty="0" smtClean="0">
                <a:solidFill>
                  <a:prstClr val="white"/>
                </a:solidFill>
                <a:cs typeface="Arial" charset="0"/>
              </a:rPr>
              <a:t>n=14,752; follow-up ~3 </a:t>
            </a:r>
            <a:r>
              <a:rPr lang="en-GB" sz="675" dirty="0">
                <a:solidFill>
                  <a:prstClr val="white"/>
                </a:solidFill>
                <a:cs typeface="Arial" charset="0"/>
              </a:rPr>
              <a:t>years</a:t>
            </a:r>
            <a:br>
              <a:rPr lang="en-GB" sz="675" dirty="0">
                <a:solidFill>
                  <a:prstClr val="white"/>
                </a:solidFill>
                <a:cs typeface="Arial" charset="0"/>
              </a:rPr>
            </a:br>
            <a:r>
              <a:rPr lang="en-GB" sz="675" dirty="0" smtClean="0">
                <a:solidFill>
                  <a:prstClr val="white"/>
                </a:solidFill>
                <a:cs typeface="Arial" charset="0"/>
              </a:rPr>
              <a:t>Q3 </a:t>
            </a:r>
            <a:r>
              <a:rPr lang="en-GB" sz="675" dirty="0">
                <a:solidFill>
                  <a:prstClr val="white"/>
                </a:solidFill>
                <a:cs typeface="Arial" charset="0"/>
              </a:rPr>
              <a:t>2017 </a:t>
            </a:r>
            <a:r>
              <a:rPr lang="en-GB" sz="675" dirty="0">
                <a:solidFill>
                  <a:srgbClr val="FFFFFF"/>
                </a:solidFill>
                <a:ea typeface="Verdana" panose="020B0604030504040204" pitchFamily="34" charset="0"/>
                <a:cs typeface="Verdana" panose="020B0604030504040204" pitchFamily="34" charset="0"/>
              </a:rPr>
              <a:t>–</a:t>
            </a:r>
            <a:r>
              <a:rPr lang="en-GB" sz="675" dirty="0">
                <a:solidFill>
                  <a:prstClr val="white"/>
                </a:solidFill>
                <a:cs typeface="Arial" charset="0"/>
              </a:rPr>
              <a:t> </a:t>
            </a:r>
            <a:r>
              <a:rPr lang="en-GB" sz="675" b="1" dirty="0" smtClean="0">
                <a:solidFill>
                  <a:prstClr val="white"/>
                </a:solidFill>
                <a:cs typeface="Arial" charset="0"/>
              </a:rPr>
              <a:t>RESULTS </a:t>
            </a:r>
            <a:endParaRPr lang="en-GB" sz="675" b="1" dirty="0">
              <a:solidFill>
                <a:prstClr val="white"/>
              </a:solidFill>
              <a:cs typeface="Arial" charset="0"/>
            </a:endParaRPr>
          </a:p>
        </p:txBody>
      </p:sp>
      <p:cxnSp>
        <p:nvCxnSpPr>
          <p:cNvPr id="285" name="Straight Connector 284"/>
          <p:cNvCxnSpPr/>
          <p:nvPr/>
        </p:nvCxnSpPr>
        <p:spPr>
          <a:xfrm>
            <a:off x="3783055" y="2678527"/>
            <a:ext cx="0" cy="6658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435127" y="2777326"/>
            <a:ext cx="1620001" cy="557035"/>
            <a:chOff x="5435113" y="2777307"/>
            <a:chExt cx="1620001" cy="557035"/>
          </a:xfrm>
        </p:grpSpPr>
        <p:sp>
          <p:nvSpPr>
            <p:cNvPr id="284" name="AutoShape 14"/>
            <p:cNvSpPr>
              <a:spLocks noChangeArrowheads="1"/>
            </p:cNvSpPr>
            <p:nvPr>
              <p:custDataLst>
                <p:tags r:id="rId20"/>
              </p:custDataLst>
            </p:nvPr>
          </p:nvSpPr>
          <p:spPr bwMode="auto">
            <a:xfrm>
              <a:off x="5435113" y="2777307"/>
              <a:ext cx="1620001" cy="495252"/>
            </a:xfrm>
            <a:prstGeom prst="roundRect">
              <a:avLst>
                <a:gd name="adj" fmla="val 9375"/>
              </a:avLst>
            </a:prstGeom>
            <a:solidFill>
              <a:schemeClr val="bg1"/>
            </a:solidFill>
            <a:ln w="19050">
              <a:solidFill>
                <a:schemeClr val="accent5"/>
              </a:solidFill>
              <a:round/>
              <a:headEnd/>
              <a:tailEnd/>
            </a:ln>
          </p:spPr>
          <p:txBody>
            <a:bodyPr wrap="square" lIns="0" tIns="35990" rIns="0" bIns="35990" anchor="ctr">
              <a:noAutofit/>
            </a:bodyPr>
            <a:lstStyle/>
            <a:p>
              <a:pPr algn="ctr" defTabSz="685528" fontAlgn="base">
                <a:spcBef>
                  <a:spcPct val="0"/>
                </a:spcBef>
                <a:spcAft>
                  <a:spcPct val="0"/>
                </a:spcAft>
              </a:pPr>
              <a:r>
                <a:rPr lang="en-GB" sz="675" b="1" dirty="0">
                  <a:cs typeface="Arial" charset="0"/>
                </a:rPr>
                <a:t>HARMONY </a:t>
              </a:r>
              <a:r>
                <a:rPr lang="en-GB" sz="675" b="1" dirty="0" smtClean="0">
                  <a:cs typeface="Arial" charset="0"/>
                </a:rPr>
                <a:t>OUTCOMES</a:t>
              </a:r>
              <a:r>
                <a:rPr lang="en-GB" sz="675" b="1" dirty="0">
                  <a:cs typeface="Arial" charset="0"/>
                </a:rPr>
                <a:t/>
              </a:r>
              <a:br>
                <a:rPr lang="en-GB" sz="675" b="1" dirty="0">
                  <a:cs typeface="Arial" charset="0"/>
                </a:rPr>
              </a:br>
              <a:r>
                <a:rPr lang="en-GB" sz="675" dirty="0">
                  <a:cs typeface="Arial" charset="0"/>
                </a:rPr>
                <a:t>(</a:t>
              </a:r>
              <a:r>
                <a:rPr lang="en-GB" sz="675" dirty="0" err="1">
                  <a:cs typeface="Arial" charset="0"/>
                </a:rPr>
                <a:t>Albiglutide</a:t>
              </a:r>
              <a:r>
                <a:rPr lang="en-GB" sz="675" dirty="0">
                  <a:cs typeface="Arial" charset="0"/>
                </a:rPr>
                <a:t>, QW GLP-1RA)</a:t>
              </a:r>
              <a:br>
                <a:rPr lang="en-GB" sz="675" dirty="0">
                  <a:cs typeface="Arial" charset="0"/>
                </a:rPr>
              </a:br>
              <a:r>
                <a:rPr lang="en-GB" sz="675" dirty="0">
                  <a:cs typeface="Arial" charset="0"/>
                </a:rPr>
                <a:t>n~9400; duration ~4 years</a:t>
              </a:r>
              <a:br>
                <a:rPr lang="en-GB" sz="675" dirty="0">
                  <a:cs typeface="Arial" charset="0"/>
                </a:rPr>
              </a:br>
              <a:r>
                <a:rPr lang="en-GB" sz="675" dirty="0">
                  <a:cs typeface="Arial" charset="0"/>
                </a:rPr>
                <a:t>Completion Q2 </a:t>
              </a:r>
              <a:r>
                <a:rPr lang="en-GB" sz="675" dirty="0" smtClean="0">
                  <a:cs typeface="Arial" charset="0"/>
                </a:rPr>
                <a:t>2018</a:t>
              </a:r>
              <a:endParaRPr lang="en-GB" sz="675" dirty="0">
                <a:cs typeface="Arial" charset="0"/>
              </a:endParaRPr>
            </a:p>
          </p:txBody>
        </p:sp>
        <p:cxnSp>
          <p:nvCxnSpPr>
            <p:cNvPr id="286" name="Straight Connector 285"/>
            <p:cNvCxnSpPr/>
            <p:nvPr/>
          </p:nvCxnSpPr>
          <p:spPr>
            <a:xfrm>
              <a:off x="5544732" y="3267759"/>
              <a:ext cx="0" cy="6658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5695078" y="1607941"/>
            <a:ext cx="1620001" cy="561457"/>
            <a:chOff x="5695068" y="1607922"/>
            <a:chExt cx="1620001" cy="561457"/>
          </a:xfrm>
        </p:grpSpPr>
        <p:sp>
          <p:nvSpPr>
            <p:cNvPr id="287" name="AutoShape 14"/>
            <p:cNvSpPr>
              <a:spLocks noChangeArrowheads="1"/>
            </p:cNvSpPr>
            <p:nvPr>
              <p:custDataLst>
                <p:tags r:id="rId19"/>
              </p:custDataLst>
            </p:nvPr>
          </p:nvSpPr>
          <p:spPr bwMode="auto">
            <a:xfrm>
              <a:off x="5695068" y="1607922"/>
              <a:ext cx="1620001" cy="495252"/>
            </a:xfrm>
            <a:prstGeom prst="roundRect">
              <a:avLst>
                <a:gd name="adj" fmla="val 9375"/>
              </a:avLst>
            </a:prstGeom>
            <a:solidFill>
              <a:schemeClr val="bg1"/>
            </a:solidFill>
            <a:ln w="19050" algn="ctr">
              <a:solidFill>
                <a:schemeClr val="accent5"/>
              </a:solidFill>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001965"/>
                  </a:solidFill>
                  <a:cs typeface="Arial" charset="0"/>
                </a:rPr>
                <a:t>PIONEER-6</a:t>
              </a:r>
              <a:r>
                <a:rPr lang="en-GB" sz="675" dirty="0">
                  <a:solidFill>
                    <a:srgbClr val="001965"/>
                  </a:solidFill>
                  <a:cs typeface="Arial" charset="0"/>
                </a:rPr>
                <a:t/>
              </a:r>
              <a:br>
                <a:rPr lang="en-GB" sz="675" dirty="0">
                  <a:solidFill>
                    <a:srgbClr val="001965"/>
                  </a:solidFill>
                  <a:cs typeface="Arial" charset="0"/>
                </a:rPr>
              </a:br>
              <a:r>
                <a:rPr lang="en-GB" sz="675" dirty="0">
                  <a:solidFill>
                    <a:srgbClr val="001965"/>
                  </a:solidFill>
                  <a:cs typeface="Arial" charset="0"/>
                </a:rPr>
                <a:t>(</a:t>
              </a:r>
              <a:r>
                <a:rPr lang="en-GB" sz="675" dirty="0" err="1">
                  <a:solidFill>
                    <a:srgbClr val="001965"/>
                  </a:solidFill>
                  <a:cs typeface="Arial" charset="0"/>
                </a:rPr>
                <a:t>Semaglutide</a:t>
              </a:r>
              <a:r>
                <a:rPr lang="en-GB" sz="675" dirty="0">
                  <a:solidFill>
                    <a:srgbClr val="001965"/>
                  </a:solidFill>
                  <a:cs typeface="Arial" charset="0"/>
                </a:rPr>
                <a:t>, QW GLP-1RA)</a:t>
              </a:r>
              <a:br>
                <a:rPr lang="en-GB" sz="675" dirty="0">
                  <a:solidFill>
                    <a:srgbClr val="001965"/>
                  </a:solidFill>
                  <a:cs typeface="Arial" charset="0"/>
                </a:rPr>
              </a:br>
              <a:r>
                <a:rPr lang="en-GB" sz="675" dirty="0">
                  <a:solidFill>
                    <a:srgbClr val="001965"/>
                  </a:solidFill>
                  <a:cs typeface="Arial" charset="0"/>
                </a:rPr>
                <a:t>n=3176; duration ~1.5 years</a:t>
              </a:r>
              <a:br>
                <a:rPr lang="en-GB" sz="675" dirty="0">
                  <a:solidFill>
                    <a:srgbClr val="001965"/>
                  </a:solidFill>
                  <a:cs typeface="Arial" charset="0"/>
                </a:rPr>
              </a:br>
              <a:r>
                <a:rPr lang="en-GB" sz="675" dirty="0">
                  <a:solidFill>
                    <a:srgbClr val="001965"/>
                  </a:solidFill>
                  <a:cs typeface="Arial" charset="0"/>
                </a:rPr>
                <a:t>Completion Q4 2018</a:t>
              </a:r>
            </a:p>
          </p:txBody>
        </p:sp>
        <p:cxnSp>
          <p:nvCxnSpPr>
            <p:cNvPr id="288" name="Straight Connector 287"/>
            <p:cNvCxnSpPr/>
            <p:nvPr/>
          </p:nvCxnSpPr>
          <p:spPr>
            <a:xfrm>
              <a:off x="5997443" y="2102796"/>
              <a:ext cx="0" cy="6658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90" name="AutoShape 18"/>
          <p:cNvSpPr>
            <a:spLocks noChangeArrowheads="1"/>
          </p:cNvSpPr>
          <p:nvPr>
            <p:custDataLst>
              <p:tags r:id="rId11"/>
            </p:custDataLst>
          </p:nvPr>
        </p:nvSpPr>
        <p:spPr bwMode="auto">
          <a:xfrm>
            <a:off x="1474713" y="4232779"/>
            <a:ext cx="1050740" cy="216000"/>
          </a:xfrm>
          <a:prstGeom prst="roundRect">
            <a:avLst>
              <a:gd name="adj" fmla="val 9375"/>
            </a:avLst>
          </a:prstGeom>
          <a:noFill/>
          <a:ln w="19050">
            <a:solidFill>
              <a:schemeClr val="accent3"/>
            </a:solidFill>
            <a:round/>
            <a:headEnd/>
            <a:tailEnd/>
          </a:ln>
        </p:spPr>
        <p:txBody>
          <a:bodyPr wrap="none" lIns="71985" tIns="71985" rIns="71985" bIns="71985" anchor="ctr"/>
          <a:lstStyle/>
          <a:p>
            <a:pPr algn="ctr" defTabSz="685528" fontAlgn="base">
              <a:spcBef>
                <a:spcPct val="0"/>
              </a:spcBef>
              <a:spcAft>
                <a:spcPct val="0"/>
              </a:spcAft>
            </a:pPr>
            <a:r>
              <a:rPr lang="en-GB" sz="825" dirty="0">
                <a:solidFill>
                  <a:srgbClr val="001965"/>
                </a:solidFill>
                <a:cs typeface="Arial" charset="0"/>
              </a:rPr>
              <a:t>DPP-4i</a:t>
            </a:r>
          </a:p>
        </p:txBody>
      </p:sp>
      <p:sp>
        <p:nvSpPr>
          <p:cNvPr id="291" name="AutoShape 19"/>
          <p:cNvSpPr>
            <a:spLocks noChangeArrowheads="1"/>
          </p:cNvSpPr>
          <p:nvPr>
            <p:custDataLst>
              <p:tags r:id="rId12"/>
            </p:custDataLst>
          </p:nvPr>
        </p:nvSpPr>
        <p:spPr bwMode="auto">
          <a:xfrm>
            <a:off x="1194518" y="3353428"/>
            <a:ext cx="1620000" cy="495253"/>
          </a:xfrm>
          <a:prstGeom prst="roundRect">
            <a:avLst>
              <a:gd name="adj" fmla="val 9375"/>
            </a:avLst>
          </a:prstGeom>
          <a:solidFill>
            <a:schemeClr val="accent3"/>
          </a:solidFill>
          <a:ln w="19050" algn="ctr">
            <a:solidFill>
              <a:schemeClr val="accent3"/>
            </a:solidFill>
            <a:prstDash val="solid"/>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FFFFFF"/>
                </a:solidFill>
                <a:cs typeface="Arial" charset="0"/>
              </a:rPr>
              <a:t>TECOS</a:t>
            </a:r>
            <a:r>
              <a:rPr lang="en-GB" sz="675" dirty="0">
                <a:solidFill>
                  <a:srgbClr val="FFFFFF"/>
                </a:solidFill>
                <a:cs typeface="Arial" charset="0"/>
              </a:rPr>
              <a:t/>
            </a:r>
            <a:br>
              <a:rPr lang="en-GB" sz="675" dirty="0">
                <a:solidFill>
                  <a:srgbClr val="FFFFFF"/>
                </a:solidFill>
                <a:cs typeface="Arial" charset="0"/>
              </a:rPr>
            </a:br>
            <a:r>
              <a:rPr lang="en-GB" sz="675" dirty="0">
                <a:solidFill>
                  <a:srgbClr val="FFFFFF"/>
                </a:solidFill>
                <a:cs typeface="Arial" charset="0"/>
              </a:rPr>
              <a:t>(</a:t>
            </a:r>
            <a:r>
              <a:rPr lang="en-GB" sz="675" dirty="0" err="1">
                <a:solidFill>
                  <a:srgbClr val="FFFFFF"/>
                </a:solidFill>
                <a:cs typeface="Arial" charset="0"/>
              </a:rPr>
              <a:t>Sitagliptin</a:t>
            </a:r>
            <a:r>
              <a:rPr lang="en-GB" sz="675" dirty="0">
                <a:solidFill>
                  <a:srgbClr val="FFFFFF"/>
                </a:solidFill>
                <a:cs typeface="Arial" charset="0"/>
              </a:rPr>
              <a:t>, DPP-4i)</a:t>
            </a:r>
            <a:br>
              <a:rPr lang="en-GB" sz="675" dirty="0">
                <a:solidFill>
                  <a:srgbClr val="FFFFFF"/>
                </a:solidFill>
                <a:cs typeface="Arial" charset="0"/>
              </a:rPr>
            </a:br>
            <a:r>
              <a:rPr lang="en-GB" sz="675" dirty="0" smtClean="0">
                <a:solidFill>
                  <a:srgbClr val="FFFFFF"/>
                </a:solidFill>
                <a:cs typeface="Arial" charset="0"/>
              </a:rPr>
              <a:t>n=14,671; </a:t>
            </a:r>
            <a:r>
              <a:rPr lang="en-GB" sz="675" dirty="0">
                <a:solidFill>
                  <a:srgbClr val="FFFFFF"/>
                </a:solidFill>
                <a:cs typeface="Arial" charset="0"/>
              </a:rPr>
              <a:t>duration </a:t>
            </a:r>
            <a:r>
              <a:rPr lang="en-GB" sz="675" dirty="0" smtClean="0">
                <a:solidFill>
                  <a:srgbClr val="FFFFFF"/>
                </a:solidFill>
                <a:cs typeface="Arial" charset="0"/>
              </a:rPr>
              <a:t>~3 </a:t>
            </a:r>
            <a:r>
              <a:rPr lang="en-GB" sz="675" dirty="0">
                <a:solidFill>
                  <a:srgbClr val="FFFFFF"/>
                </a:solidFill>
                <a:cs typeface="Arial" charset="0"/>
              </a:rPr>
              <a:t>years</a:t>
            </a:r>
            <a:br>
              <a:rPr lang="en-GB" sz="675" dirty="0">
                <a:solidFill>
                  <a:srgbClr val="FFFFFF"/>
                </a:solidFill>
                <a:cs typeface="Arial" charset="0"/>
              </a:rPr>
            </a:br>
            <a:r>
              <a:rPr lang="en-GB" sz="675" dirty="0">
                <a:solidFill>
                  <a:srgbClr val="FFFFFF"/>
                </a:solidFill>
                <a:cs typeface="Arial" charset="0"/>
              </a:rPr>
              <a:t>Q4 2014 </a:t>
            </a:r>
            <a:r>
              <a:rPr lang="en-GB" sz="675" dirty="0">
                <a:solidFill>
                  <a:srgbClr val="FFFFFF"/>
                </a:solidFill>
                <a:ea typeface="Verdana" panose="020B0604030504040204" pitchFamily="34" charset="0"/>
                <a:cs typeface="Verdana" panose="020B0604030504040204" pitchFamily="34" charset="0"/>
              </a:rPr>
              <a:t>–</a:t>
            </a:r>
            <a:r>
              <a:rPr lang="en-GB" sz="675" dirty="0">
                <a:solidFill>
                  <a:srgbClr val="FFFFFF"/>
                </a:solidFill>
                <a:cs typeface="Arial" charset="0"/>
              </a:rPr>
              <a:t> </a:t>
            </a:r>
            <a:r>
              <a:rPr lang="en-GB" sz="675" b="1" dirty="0">
                <a:solidFill>
                  <a:srgbClr val="FFFFFF"/>
                </a:solidFill>
                <a:cs typeface="Arial" charset="0"/>
              </a:rPr>
              <a:t>RESULTS</a:t>
            </a:r>
            <a:endParaRPr lang="en-GB" sz="675" dirty="0">
              <a:solidFill>
                <a:srgbClr val="FFFFFF"/>
              </a:solidFill>
              <a:cs typeface="Arial" charset="0"/>
            </a:endParaRPr>
          </a:p>
        </p:txBody>
      </p:sp>
      <p:sp>
        <p:nvSpPr>
          <p:cNvPr id="292" name="AutoShape 18"/>
          <p:cNvSpPr>
            <a:spLocks noChangeArrowheads="1"/>
          </p:cNvSpPr>
          <p:nvPr>
            <p:custDataLst>
              <p:tags r:id="rId13"/>
            </p:custDataLst>
          </p:nvPr>
        </p:nvSpPr>
        <p:spPr bwMode="auto">
          <a:xfrm>
            <a:off x="354178" y="2777344"/>
            <a:ext cx="1620000" cy="495253"/>
          </a:xfrm>
          <a:prstGeom prst="roundRect">
            <a:avLst>
              <a:gd name="adj" fmla="val 9375"/>
            </a:avLst>
          </a:prstGeom>
          <a:solidFill>
            <a:schemeClr val="accent3"/>
          </a:solidFill>
          <a:ln w="19050">
            <a:solidFill>
              <a:schemeClr val="accent3"/>
            </a:solidFill>
            <a:prstDash val="solid"/>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FFFFFF"/>
                </a:solidFill>
                <a:cs typeface="Arial" charset="0"/>
              </a:rPr>
              <a:t>SAVOR TIMI-53</a:t>
            </a:r>
            <a:br>
              <a:rPr lang="en-GB" sz="675" b="1" dirty="0">
                <a:solidFill>
                  <a:srgbClr val="FFFFFF"/>
                </a:solidFill>
                <a:cs typeface="Arial" charset="0"/>
              </a:rPr>
            </a:br>
            <a:r>
              <a:rPr lang="en-GB" sz="675" dirty="0">
                <a:solidFill>
                  <a:srgbClr val="FFFFFF"/>
                </a:solidFill>
                <a:cs typeface="Arial" charset="0"/>
              </a:rPr>
              <a:t>(</a:t>
            </a:r>
            <a:r>
              <a:rPr lang="en-GB" sz="675" dirty="0" err="1">
                <a:solidFill>
                  <a:srgbClr val="FFFFFF"/>
                </a:solidFill>
                <a:cs typeface="Arial" charset="0"/>
              </a:rPr>
              <a:t>Saxagliptin</a:t>
            </a:r>
            <a:r>
              <a:rPr lang="en-GB" sz="675" dirty="0">
                <a:solidFill>
                  <a:srgbClr val="FFFFFF"/>
                </a:solidFill>
                <a:cs typeface="Arial" charset="0"/>
              </a:rPr>
              <a:t>, DPP-4i)</a:t>
            </a:r>
            <a:br>
              <a:rPr lang="en-GB" sz="675" dirty="0">
                <a:solidFill>
                  <a:srgbClr val="FFFFFF"/>
                </a:solidFill>
                <a:cs typeface="Arial" charset="0"/>
              </a:rPr>
            </a:br>
            <a:r>
              <a:rPr lang="en-GB" sz="675" dirty="0">
                <a:solidFill>
                  <a:srgbClr val="FFFFFF"/>
                </a:solidFill>
                <a:cs typeface="Arial" charset="0"/>
              </a:rPr>
              <a:t>n=16,492; follow-up ~2 years </a:t>
            </a:r>
          </a:p>
          <a:p>
            <a:pPr algn="ctr" defTabSz="685528" fontAlgn="base">
              <a:spcBef>
                <a:spcPct val="0"/>
              </a:spcBef>
              <a:spcAft>
                <a:spcPct val="0"/>
              </a:spcAft>
            </a:pPr>
            <a:r>
              <a:rPr lang="en-GB" sz="675" dirty="0">
                <a:solidFill>
                  <a:srgbClr val="FFFFFF"/>
                </a:solidFill>
                <a:cs typeface="Arial" charset="0"/>
              </a:rPr>
              <a:t>Q2 2013 </a:t>
            </a:r>
            <a:r>
              <a:rPr lang="en-GB" sz="675" dirty="0">
                <a:solidFill>
                  <a:srgbClr val="FFFFFF"/>
                </a:solidFill>
                <a:ea typeface="Verdana" panose="020B0604030504040204" pitchFamily="34" charset="0"/>
                <a:cs typeface="Verdana" panose="020B0604030504040204" pitchFamily="34" charset="0"/>
              </a:rPr>
              <a:t>– </a:t>
            </a:r>
            <a:r>
              <a:rPr lang="en-GB" sz="675" b="1" dirty="0">
                <a:solidFill>
                  <a:srgbClr val="FFFFFF"/>
                </a:solidFill>
                <a:cs typeface="Arial" charset="0"/>
              </a:rPr>
              <a:t>RESULTS</a:t>
            </a:r>
          </a:p>
        </p:txBody>
      </p:sp>
      <p:sp>
        <p:nvSpPr>
          <p:cNvPr id="293" name="AutoShape 37"/>
          <p:cNvSpPr>
            <a:spLocks noChangeArrowheads="1"/>
          </p:cNvSpPr>
          <p:nvPr>
            <p:custDataLst>
              <p:tags r:id="rId14"/>
            </p:custDataLst>
          </p:nvPr>
        </p:nvSpPr>
        <p:spPr bwMode="auto">
          <a:xfrm>
            <a:off x="360274" y="2183290"/>
            <a:ext cx="1620000" cy="495253"/>
          </a:xfrm>
          <a:prstGeom prst="roundRect">
            <a:avLst>
              <a:gd name="adj" fmla="val 9375"/>
            </a:avLst>
          </a:prstGeom>
          <a:solidFill>
            <a:schemeClr val="accent3"/>
          </a:solidFill>
          <a:ln w="19050">
            <a:solidFill>
              <a:schemeClr val="accent3"/>
            </a:solidFill>
            <a:prstDash val="solid"/>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solidFill>
                  <a:srgbClr val="FFFFFF"/>
                </a:solidFill>
                <a:cs typeface="Arial" charset="0"/>
              </a:rPr>
              <a:t>EXAMINE</a:t>
            </a:r>
            <a:br>
              <a:rPr lang="en-GB" sz="675" b="1" dirty="0">
                <a:solidFill>
                  <a:srgbClr val="FFFFFF"/>
                </a:solidFill>
                <a:cs typeface="Arial" charset="0"/>
              </a:rPr>
            </a:br>
            <a:r>
              <a:rPr lang="en-GB" sz="675" dirty="0">
                <a:solidFill>
                  <a:srgbClr val="FFFFFF"/>
                </a:solidFill>
                <a:cs typeface="Arial" charset="0"/>
              </a:rPr>
              <a:t>(</a:t>
            </a:r>
            <a:r>
              <a:rPr lang="en-GB" sz="675" dirty="0" err="1">
                <a:solidFill>
                  <a:srgbClr val="FFFFFF"/>
                </a:solidFill>
                <a:cs typeface="Arial" charset="0"/>
              </a:rPr>
              <a:t>Alogliptin</a:t>
            </a:r>
            <a:r>
              <a:rPr lang="en-GB" sz="675" dirty="0">
                <a:solidFill>
                  <a:srgbClr val="FFFFFF"/>
                </a:solidFill>
                <a:cs typeface="Arial" charset="0"/>
              </a:rPr>
              <a:t>, DPP4i) n=5380; </a:t>
            </a:r>
            <a:br>
              <a:rPr lang="en-GB" sz="675" dirty="0">
                <a:solidFill>
                  <a:srgbClr val="FFFFFF"/>
                </a:solidFill>
                <a:cs typeface="Arial" charset="0"/>
              </a:rPr>
            </a:br>
            <a:r>
              <a:rPr lang="en-GB" sz="675" dirty="0">
                <a:solidFill>
                  <a:srgbClr val="FFFFFF"/>
                </a:solidFill>
                <a:cs typeface="Arial" charset="0"/>
              </a:rPr>
              <a:t>follow-up ~1.5 years</a:t>
            </a:r>
            <a:br>
              <a:rPr lang="en-GB" sz="675" dirty="0">
                <a:solidFill>
                  <a:srgbClr val="FFFFFF"/>
                </a:solidFill>
                <a:cs typeface="Arial" charset="0"/>
              </a:rPr>
            </a:br>
            <a:r>
              <a:rPr lang="en-GB" sz="675" dirty="0">
                <a:solidFill>
                  <a:srgbClr val="FFFFFF"/>
                </a:solidFill>
                <a:cs typeface="Arial" charset="0"/>
              </a:rPr>
              <a:t> Q3 2013 </a:t>
            </a:r>
            <a:r>
              <a:rPr lang="en-GB" sz="675" dirty="0">
                <a:solidFill>
                  <a:srgbClr val="FFFFFF"/>
                </a:solidFill>
                <a:ea typeface="Verdana" panose="020B0604030504040204" pitchFamily="34" charset="0"/>
                <a:cs typeface="Verdana" panose="020B0604030504040204" pitchFamily="34" charset="0"/>
              </a:rPr>
              <a:t>– </a:t>
            </a:r>
            <a:r>
              <a:rPr lang="en-GB" sz="675" b="1" dirty="0">
                <a:solidFill>
                  <a:srgbClr val="FFFFFF"/>
                </a:solidFill>
                <a:cs typeface="Arial" charset="0"/>
              </a:rPr>
              <a:t>RESULTS</a:t>
            </a:r>
          </a:p>
        </p:txBody>
      </p:sp>
      <p:cxnSp>
        <p:nvCxnSpPr>
          <p:cNvPr id="294" name="Straight Connector 293"/>
          <p:cNvCxnSpPr/>
          <p:nvPr/>
        </p:nvCxnSpPr>
        <p:spPr>
          <a:xfrm>
            <a:off x="1031627" y="2684239"/>
            <a:ext cx="0" cy="6658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a:off x="765815" y="3268379"/>
            <a:ext cx="0" cy="6658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a:off x="2224457" y="3853864"/>
            <a:ext cx="0" cy="6658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239685" y="3363740"/>
            <a:ext cx="1620000" cy="564123"/>
            <a:chOff x="6239685" y="3363739"/>
            <a:chExt cx="1620000" cy="564123"/>
          </a:xfrm>
        </p:grpSpPr>
        <p:sp>
          <p:nvSpPr>
            <p:cNvPr id="297" name="AutoShape 33"/>
            <p:cNvSpPr>
              <a:spLocks noChangeArrowheads="1"/>
            </p:cNvSpPr>
            <p:nvPr>
              <p:custDataLst>
                <p:tags r:id="rId18"/>
              </p:custDataLst>
            </p:nvPr>
          </p:nvSpPr>
          <p:spPr bwMode="auto">
            <a:xfrm>
              <a:off x="6239685" y="3363739"/>
              <a:ext cx="1620000" cy="495253"/>
            </a:xfrm>
            <a:prstGeom prst="roundRect">
              <a:avLst>
                <a:gd name="adj" fmla="val 9375"/>
              </a:avLst>
            </a:prstGeom>
            <a:solidFill>
              <a:schemeClr val="bg1"/>
            </a:solidFill>
            <a:ln w="19050">
              <a:solidFill>
                <a:schemeClr val="accent3"/>
              </a:solidFill>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cs typeface="Arial" charset="0"/>
                </a:rPr>
                <a:t>CAROLINA</a:t>
              </a:r>
              <a:r>
                <a:rPr lang="en-GB" sz="675" dirty="0">
                  <a:cs typeface="Arial" charset="0"/>
                </a:rPr>
                <a:t/>
              </a:r>
              <a:br>
                <a:rPr lang="en-GB" sz="675" dirty="0">
                  <a:cs typeface="Arial" charset="0"/>
                </a:rPr>
              </a:br>
              <a:r>
                <a:rPr lang="en-GB" sz="675" dirty="0">
                  <a:cs typeface="Arial" charset="0"/>
                </a:rPr>
                <a:t>(Linagliptin, DPP-4i vs SU)</a:t>
              </a:r>
              <a:br>
                <a:rPr lang="en-GB" sz="675" dirty="0">
                  <a:cs typeface="Arial" charset="0"/>
                </a:rPr>
              </a:br>
              <a:r>
                <a:rPr lang="en-GB" sz="675" dirty="0" smtClean="0">
                  <a:cs typeface="Arial" charset="0"/>
                </a:rPr>
                <a:t>n=6072; </a:t>
              </a:r>
              <a:r>
                <a:rPr lang="en-GB" sz="675" dirty="0">
                  <a:cs typeface="Arial" charset="0"/>
                </a:rPr>
                <a:t>duration ~8 years </a:t>
              </a:r>
              <a:br>
                <a:rPr lang="en-GB" sz="675" dirty="0">
                  <a:cs typeface="Arial" charset="0"/>
                </a:rPr>
              </a:br>
              <a:r>
                <a:rPr lang="en-GB" sz="675" dirty="0">
                  <a:cs typeface="Arial" charset="0"/>
                </a:rPr>
                <a:t>Completion Q1 2019</a:t>
              </a:r>
            </a:p>
          </p:txBody>
        </p:sp>
        <p:cxnSp>
          <p:nvCxnSpPr>
            <p:cNvPr id="299" name="Straight Connector 298"/>
            <p:cNvCxnSpPr/>
            <p:nvPr/>
          </p:nvCxnSpPr>
          <p:spPr>
            <a:xfrm>
              <a:off x="6338328" y="3861279"/>
              <a:ext cx="0" cy="6658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4567775" y="3268363"/>
            <a:ext cx="1620000" cy="656573"/>
            <a:chOff x="4567775" y="3268344"/>
            <a:chExt cx="1620000" cy="656573"/>
          </a:xfrm>
        </p:grpSpPr>
        <p:cxnSp>
          <p:nvCxnSpPr>
            <p:cNvPr id="283" name="Straight Connector 282"/>
            <p:cNvCxnSpPr/>
            <p:nvPr/>
          </p:nvCxnSpPr>
          <p:spPr>
            <a:xfrm>
              <a:off x="4617356" y="3268344"/>
              <a:ext cx="0" cy="66583"/>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98" name="AutoShape 14"/>
            <p:cNvSpPr>
              <a:spLocks noChangeArrowheads="1"/>
            </p:cNvSpPr>
            <p:nvPr>
              <p:custDataLst>
                <p:tags r:id="rId17"/>
              </p:custDataLst>
            </p:nvPr>
          </p:nvSpPr>
          <p:spPr bwMode="auto">
            <a:xfrm>
              <a:off x="4567775" y="3363739"/>
              <a:ext cx="1620000" cy="495253"/>
            </a:xfrm>
            <a:prstGeom prst="roundRect">
              <a:avLst>
                <a:gd name="adj" fmla="val 9375"/>
              </a:avLst>
            </a:prstGeom>
            <a:solidFill>
              <a:schemeClr val="bg1"/>
            </a:solidFill>
            <a:ln w="19050">
              <a:solidFill>
                <a:schemeClr val="accent3"/>
              </a:solidFill>
              <a:round/>
              <a:headEnd/>
              <a:tailEnd/>
            </a:ln>
          </p:spPr>
          <p:txBody>
            <a:bodyPr wrap="square" lIns="35990" tIns="35990" rIns="35990" bIns="35990" anchor="ctr">
              <a:noAutofit/>
            </a:bodyPr>
            <a:lstStyle/>
            <a:p>
              <a:pPr algn="ctr" defTabSz="685528" fontAlgn="base">
                <a:spcBef>
                  <a:spcPct val="0"/>
                </a:spcBef>
                <a:spcAft>
                  <a:spcPct val="0"/>
                </a:spcAft>
              </a:pPr>
              <a:r>
                <a:rPr lang="en-GB" sz="675" b="1" dirty="0">
                  <a:cs typeface="Arial" charset="0"/>
                </a:rPr>
                <a:t>CARMELINA</a:t>
              </a:r>
              <a:r>
                <a:rPr lang="en-GB" sz="675" dirty="0">
                  <a:cs typeface="Arial" charset="0"/>
                </a:rPr>
                <a:t/>
              </a:r>
              <a:br>
                <a:rPr lang="en-GB" sz="675" dirty="0">
                  <a:cs typeface="Arial" charset="0"/>
                </a:rPr>
              </a:br>
              <a:r>
                <a:rPr lang="en-GB" sz="675" dirty="0">
                  <a:cs typeface="Arial" charset="0"/>
                </a:rPr>
                <a:t>(Linagliptin, DPP-4i)</a:t>
              </a:r>
              <a:br>
                <a:rPr lang="en-GB" sz="675" dirty="0">
                  <a:cs typeface="Arial" charset="0"/>
                </a:rPr>
              </a:br>
              <a:r>
                <a:rPr lang="en-GB" sz="675" dirty="0" smtClean="0">
                  <a:cs typeface="Arial" charset="0"/>
                </a:rPr>
                <a:t>n=8300*; </a:t>
              </a:r>
              <a:r>
                <a:rPr lang="en-GB" sz="675" dirty="0">
                  <a:cs typeface="Arial" charset="0"/>
                </a:rPr>
                <a:t>duration ~4 years </a:t>
              </a:r>
              <a:br>
                <a:rPr lang="en-GB" sz="675" dirty="0">
                  <a:cs typeface="Arial" charset="0"/>
                </a:rPr>
              </a:br>
              <a:r>
                <a:rPr lang="en-GB" sz="675" dirty="0">
                  <a:cs typeface="Arial" charset="0"/>
                </a:rPr>
                <a:t>Completion </a:t>
              </a:r>
              <a:r>
                <a:rPr lang="en-GB" sz="675" dirty="0" smtClean="0">
                  <a:cs typeface="Arial" charset="0"/>
                </a:rPr>
                <a:t>Q4 2017</a:t>
              </a:r>
              <a:endParaRPr lang="en-GB" sz="675" dirty="0">
                <a:cs typeface="Arial" charset="0"/>
              </a:endParaRPr>
            </a:p>
          </p:txBody>
        </p:sp>
        <p:cxnSp>
          <p:nvCxnSpPr>
            <p:cNvPr id="300" name="Straight Connector 299"/>
            <p:cNvCxnSpPr/>
            <p:nvPr/>
          </p:nvCxnSpPr>
          <p:spPr>
            <a:xfrm>
              <a:off x="5075551" y="3858334"/>
              <a:ext cx="0" cy="6658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01" name="Group 300"/>
          <p:cNvGrpSpPr/>
          <p:nvPr/>
        </p:nvGrpSpPr>
        <p:grpSpPr>
          <a:xfrm>
            <a:off x="357809" y="1595855"/>
            <a:ext cx="1620000" cy="2852929"/>
            <a:chOff x="477079" y="2058120"/>
            <a:chExt cx="2160000" cy="3803905"/>
          </a:xfrm>
        </p:grpSpPr>
        <p:sp>
          <p:nvSpPr>
            <p:cNvPr id="302" name="AutoShape 37"/>
            <p:cNvSpPr>
              <a:spLocks noChangeArrowheads="1"/>
            </p:cNvSpPr>
            <p:nvPr>
              <p:custDataLst>
                <p:tags r:id="rId15"/>
              </p:custDataLst>
            </p:nvPr>
          </p:nvSpPr>
          <p:spPr bwMode="auto">
            <a:xfrm>
              <a:off x="477079" y="2058120"/>
              <a:ext cx="2160000" cy="660337"/>
            </a:xfrm>
            <a:prstGeom prst="roundRect">
              <a:avLst>
                <a:gd name="adj" fmla="val 9375"/>
              </a:avLst>
            </a:prstGeom>
            <a:solidFill>
              <a:schemeClr val="tx1">
                <a:lumMod val="50000"/>
                <a:lumOff val="50000"/>
              </a:schemeClr>
            </a:solidFill>
            <a:ln w="19050">
              <a:solidFill>
                <a:schemeClr val="tx1">
                  <a:lumMod val="50000"/>
                  <a:lumOff val="50000"/>
                </a:schemeClr>
              </a:solidFill>
              <a:prstDash val="solid"/>
              <a:round/>
              <a:headEnd/>
              <a:tailEnd/>
            </a:ln>
          </p:spPr>
          <p:txBody>
            <a:bodyPr wrap="square" lIns="35990" tIns="35990" rIns="35990" bIns="35990" anchor="ctr">
              <a:noAutofit/>
            </a:bodyPr>
            <a:lstStyle/>
            <a:p>
              <a:pPr algn="ctr" defTabSz="685562" fontAlgn="base">
                <a:spcBef>
                  <a:spcPct val="0"/>
                </a:spcBef>
                <a:spcAft>
                  <a:spcPct val="0"/>
                </a:spcAft>
              </a:pPr>
              <a:r>
                <a:rPr lang="en-GB" sz="675" b="1" dirty="0">
                  <a:solidFill>
                    <a:srgbClr val="FFFFFF"/>
                  </a:solidFill>
                  <a:cs typeface="Arial" charset="0"/>
                </a:rPr>
                <a:t>ALECARDIO</a:t>
              </a:r>
              <a:br>
                <a:rPr lang="en-GB" sz="675" b="1" dirty="0">
                  <a:solidFill>
                    <a:srgbClr val="FFFFFF"/>
                  </a:solidFill>
                  <a:cs typeface="Arial" charset="0"/>
                </a:rPr>
              </a:br>
              <a:r>
                <a:rPr lang="en-GB" sz="675" dirty="0">
                  <a:solidFill>
                    <a:srgbClr val="FFFFFF"/>
                  </a:solidFill>
                  <a:cs typeface="Arial" charset="0"/>
                </a:rPr>
                <a:t>(Aleglitazar, PPAR-αγ ) n=7226; follow-up </a:t>
              </a:r>
              <a:r>
                <a:rPr lang="en-GB" sz="675" dirty="0" smtClean="0">
                  <a:solidFill>
                    <a:srgbClr val="FFFFFF"/>
                  </a:solidFill>
                  <a:cs typeface="Arial" charset="0"/>
                </a:rPr>
                <a:t>2 </a:t>
              </a:r>
              <a:r>
                <a:rPr lang="en-GB" sz="675" dirty="0">
                  <a:solidFill>
                    <a:srgbClr val="FFFFFF"/>
                  </a:solidFill>
                  <a:cs typeface="Arial" charset="0"/>
                </a:rPr>
                <a:t>years</a:t>
              </a:r>
              <a:br>
                <a:rPr lang="en-GB" sz="675" dirty="0">
                  <a:solidFill>
                    <a:srgbClr val="FFFFFF"/>
                  </a:solidFill>
                  <a:cs typeface="Arial" charset="0"/>
                </a:rPr>
              </a:br>
              <a:r>
                <a:rPr lang="en-GB" sz="675" dirty="0">
                  <a:solidFill>
                    <a:srgbClr val="FFFFFF"/>
                  </a:solidFill>
                  <a:cs typeface="Arial" charset="0"/>
                </a:rPr>
                <a:t> Termin. Q3 2013 </a:t>
              </a:r>
              <a:r>
                <a:rPr lang="en-GB" sz="675" dirty="0">
                  <a:solidFill>
                    <a:srgbClr val="FFFFFF"/>
                  </a:solidFill>
                  <a:ea typeface="Verdana" panose="020B0604030504040204" pitchFamily="34" charset="0"/>
                  <a:cs typeface="Verdana" panose="020B0604030504040204" pitchFamily="34" charset="0"/>
                </a:rPr>
                <a:t>–</a:t>
              </a:r>
              <a:r>
                <a:rPr lang="en-GB" sz="675" dirty="0">
                  <a:solidFill>
                    <a:srgbClr val="FFFFFF"/>
                  </a:solidFill>
                  <a:cs typeface="Arial" charset="0"/>
                </a:rPr>
                <a:t> </a:t>
              </a:r>
              <a:r>
                <a:rPr lang="en-GB" sz="675" b="1" dirty="0">
                  <a:solidFill>
                    <a:srgbClr val="FFFFFF"/>
                  </a:solidFill>
                  <a:cs typeface="Arial" charset="0"/>
                </a:rPr>
                <a:t>RESULTS</a:t>
              </a:r>
            </a:p>
          </p:txBody>
        </p:sp>
        <p:cxnSp>
          <p:nvCxnSpPr>
            <p:cNvPr id="303" name="Straight Connector 302"/>
            <p:cNvCxnSpPr/>
            <p:nvPr/>
          </p:nvCxnSpPr>
          <p:spPr>
            <a:xfrm>
              <a:off x="1368850" y="2721892"/>
              <a:ext cx="0" cy="88777"/>
            </a:xfrm>
            <a:prstGeom prst="line">
              <a:avLst/>
            </a:prstGeom>
            <a:solidFill>
              <a:srgbClr val="D41E2A"/>
            </a:solidFill>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04" name="AutoShape 18"/>
            <p:cNvSpPr>
              <a:spLocks noChangeArrowheads="1"/>
            </p:cNvSpPr>
            <p:nvPr>
              <p:custDataLst>
                <p:tags r:id="rId16"/>
              </p:custDataLst>
            </p:nvPr>
          </p:nvSpPr>
          <p:spPr bwMode="auto">
            <a:xfrm>
              <a:off x="478519" y="5574025"/>
              <a:ext cx="1400987" cy="288000"/>
            </a:xfrm>
            <a:prstGeom prst="roundRect">
              <a:avLst>
                <a:gd name="adj" fmla="val 9375"/>
              </a:avLst>
            </a:prstGeom>
            <a:noFill/>
            <a:ln w="19050">
              <a:solidFill>
                <a:schemeClr val="tx1">
                  <a:lumMod val="50000"/>
                  <a:lumOff val="50000"/>
                </a:schemeClr>
              </a:solidFill>
              <a:round/>
              <a:headEnd/>
              <a:tailEnd/>
            </a:ln>
          </p:spPr>
          <p:txBody>
            <a:bodyPr wrap="none" lIns="71979" tIns="71979" rIns="71979" bIns="71979" anchor="ctr"/>
            <a:lstStyle/>
            <a:p>
              <a:pPr algn="ctr" defTabSz="685562" fontAlgn="base">
                <a:spcBef>
                  <a:spcPct val="0"/>
                </a:spcBef>
                <a:spcAft>
                  <a:spcPct val="0"/>
                </a:spcAft>
              </a:pPr>
              <a:r>
                <a:rPr lang="en-GB" sz="825" dirty="0">
                  <a:solidFill>
                    <a:srgbClr val="001965"/>
                  </a:solidFill>
                  <a:cs typeface="Arial" charset="0"/>
                </a:rPr>
                <a:t>PPAR-αγ</a:t>
              </a:r>
            </a:p>
          </p:txBody>
        </p:sp>
      </p:grpSp>
      <p:sp>
        <p:nvSpPr>
          <p:cNvPr id="78" name="Rectangle 77"/>
          <p:cNvSpPr/>
          <p:nvPr/>
        </p:nvSpPr>
        <p:spPr>
          <a:xfrm>
            <a:off x="333118" y="929869"/>
            <a:ext cx="4650477" cy="656255"/>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endParaRPr lang="en-GB" sz="1013" dirty="0">
              <a:solidFill>
                <a:srgbClr val="FFFFFF"/>
              </a:solidFill>
            </a:endParaRPr>
          </a:p>
        </p:txBody>
      </p:sp>
      <p:sp>
        <p:nvSpPr>
          <p:cNvPr id="79" name="Rectangle 78"/>
          <p:cNvSpPr/>
          <p:nvPr/>
        </p:nvSpPr>
        <p:spPr>
          <a:xfrm>
            <a:off x="233836" y="1569960"/>
            <a:ext cx="5418598" cy="612748"/>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endParaRPr lang="en-GB" sz="1013" dirty="0">
              <a:solidFill>
                <a:srgbClr val="FFFFFF"/>
              </a:solidFill>
            </a:endParaRPr>
          </a:p>
        </p:txBody>
      </p:sp>
      <p:sp>
        <p:nvSpPr>
          <p:cNvPr id="80" name="Rectangle 79"/>
          <p:cNvSpPr/>
          <p:nvPr/>
        </p:nvSpPr>
        <p:spPr>
          <a:xfrm>
            <a:off x="233836" y="2173251"/>
            <a:ext cx="5158643" cy="592048"/>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endParaRPr lang="en-GB" sz="1013" dirty="0">
              <a:solidFill>
                <a:srgbClr val="FFFFFF"/>
              </a:solidFill>
            </a:endParaRPr>
          </a:p>
        </p:txBody>
      </p:sp>
      <p:sp>
        <p:nvSpPr>
          <p:cNvPr id="81" name="Rectangle 80"/>
          <p:cNvSpPr/>
          <p:nvPr/>
        </p:nvSpPr>
        <p:spPr>
          <a:xfrm>
            <a:off x="235306" y="2770491"/>
            <a:ext cx="5158643" cy="582929"/>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endParaRPr lang="en-GB" sz="1013" dirty="0">
              <a:solidFill>
                <a:srgbClr val="FFFFFF"/>
              </a:solidFill>
            </a:endParaRPr>
          </a:p>
        </p:txBody>
      </p:sp>
      <p:sp>
        <p:nvSpPr>
          <p:cNvPr id="82" name="Rectangle 81"/>
          <p:cNvSpPr/>
          <p:nvPr/>
        </p:nvSpPr>
        <p:spPr>
          <a:xfrm>
            <a:off x="1026638" y="3327264"/>
            <a:ext cx="3516903" cy="604921"/>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400"/>
            <a:endParaRPr lang="en-GB" sz="1013" dirty="0">
              <a:solidFill>
                <a:srgbClr val="FFFFFF"/>
              </a:solidFill>
            </a:endParaRPr>
          </a:p>
        </p:txBody>
      </p:sp>
      <p:sp>
        <p:nvSpPr>
          <p:cNvPr id="91" name="TextBox 90"/>
          <p:cNvSpPr txBox="1"/>
          <p:nvPr/>
        </p:nvSpPr>
        <p:spPr>
          <a:xfrm>
            <a:off x="5272513" y="51827"/>
            <a:ext cx="3871504" cy="219256"/>
          </a:xfrm>
          <a:prstGeom prst="rect">
            <a:avLst/>
          </a:prstGeom>
          <a:noFill/>
        </p:spPr>
        <p:txBody>
          <a:bodyPr wrap="none" lIns="91406" tIns="45703" rIns="91406" bIns="45703" rtlCol="0">
            <a:spAutoFit/>
          </a:bodyPr>
          <a:lstStyle/>
          <a:p>
            <a:pPr algn="r" defTabSz="914018" fontAlgn="base">
              <a:spcBef>
                <a:spcPct val="0"/>
              </a:spcBef>
              <a:spcAft>
                <a:spcPct val="0"/>
              </a:spcAft>
            </a:pPr>
            <a:r>
              <a:rPr lang="en-GB" sz="825" dirty="0">
                <a:solidFill>
                  <a:srgbClr val="82786F"/>
                </a:solidFill>
                <a:cs typeface="Arial" charset="0"/>
              </a:rPr>
              <a:t>Semaglutide is an investigational product and not currently approved</a:t>
            </a:r>
          </a:p>
        </p:txBody>
      </p:sp>
    </p:spTree>
    <p:extLst>
      <p:ext uri="{BB962C8B-B14F-4D97-AF65-F5344CB8AC3E}">
        <p14:creationId xmlns:p14="http://schemas.microsoft.com/office/powerpoint/2010/main" val="11266910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par>
                                <p:cTn id="8" presetID="21"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heel(1)">
                                      <p:cBhvr>
                                        <p:cTn id="10" dur="2000"/>
                                        <p:tgtEl>
                                          <p:spTgt spid="7"/>
                                        </p:tgtEl>
                                      </p:cBhvr>
                                    </p:animEffect>
                                  </p:childTnLst>
                                </p:cTn>
                              </p:par>
                              <p:par>
                                <p:cTn id="11" presetID="21" presetClass="entr" presetSubtype="1"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heel(1)">
                                      <p:cBhvr>
                                        <p:cTn id="13" dur="2000"/>
                                        <p:tgtEl>
                                          <p:spTgt spid="2"/>
                                        </p:tgtEl>
                                      </p:cBhvr>
                                    </p:animEffect>
                                  </p:childTnLst>
                                </p:cTn>
                              </p:par>
                              <p:par>
                                <p:cTn id="14" presetID="21" presetClass="entr" presetSubtype="1"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heel(1)">
                                      <p:cBhvr>
                                        <p:cTn id="16" dur="2000"/>
                                        <p:tgtEl>
                                          <p:spTgt spid="4"/>
                                        </p:tgtEl>
                                      </p:cBhvr>
                                    </p:animEffect>
                                  </p:childTnLst>
                                </p:cTn>
                              </p:par>
                              <p:par>
                                <p:cTn id="17" presetID="21" presetClass="entr" presetSubtype="1"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heel(1)">
                                      <p:cBhvr>
                                        <p:cTn id="19" dur="2000"/>
                                        <p:tgtEl>
                                          <p:spTgt spid="9"/>
                                        </p:tgtEl>
                                      </p:cBhvr>
                                    </p:animEffect>
                                  </p:childTnLst>
                                </p:cTn>
                              </p:par>
                              <p:par>
                                <p:cTn id="20" presetID="21" presetClass="entr" presetSubtype="1"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heel(1)">
                                      <p:cBhvr>
                                        <p:cTn id="22" dur="2000"/>
                                        <p:tgtEl>
                                          <p:spTgt spid="6"/>
                                        </p:tgtEl>
                                      </p:cBhvr>
                                    </p:animEffect>
                                  </p:childTnLst>
                                </p:cTn>
                              </p:par>
                              <p:par>
                                <p:cTn id="23" presetID="21" presetClass="entr" presetSubtype="1"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heel(1)">
                                      <p:cBhvr>
                                        <p:cTn id="25" dur="2000"/>
                                        <p:tgtEl>
                                          <p:spTgt spid="11"/>
                                        </p:tgtEl>
                                      </p:cBhvr>
                                    </p:animEffect>
                                  </p:childTnLst>
                                </p:cTn>
                              </p:par>
                              <p:par>
                                <p:cTn id="26" presetID="21" presetClass="entr" presetSubtype="1"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wheel(1)">
                                      <p:cBhvr>
                                        <p:cTn id="28"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a:xfrm>
            <a:off x="229395" y="740723"/>
            <a:ext cx="8510400" cy="2955789"/>
          </a:xfrm>
        </p:spPr>
        <p:txBody>
          <a:bodyPr/>
          <a:lstStyle/>
          <a:p>
            <a:r>
              <a:rPr lang="cs-CZ" dirty="0" smtClean="0"/>
              <a:t>Měli bychom rozlišovat </a:t>
            </a:r>
            <a:r>
              <a:rPr lang="cs-CZ" dirty="0" err="1" smtClean="0"/>
              <a:t>antidiabetika</a:t>
            </a:r>
            <a:r>
              <a:rPr lang="cs-CZ" dirty="0" smtClean="0"/>
              <a:t>:</a:t>
            </a:r>
          </a:p>
          <a:p>
            <a:pPr lvl="1"/>
            <a:r>
              <a:rPr lang="cs-CZ" dirty="0" smtClean="0"/>
              <a:t>KV protektivní: </a:t>
            </a:r>
            <a:r>
              <a:rPr lang="cs-CZ" dirty="0" err="1" smtClean="0"/>
              <a:t>canagliflozin</a:t>
            </a:r>
            <a:r>
              <a:rPr lang="cs-CZ" dirty="0" smtClean="0"/>
              <a:t>, </a:t>
            </a:r>
            <a:r>
              <a:rPr lang="cs-CZ" dirty="0" err="1" smtClean="0"/>
              <a:t>empagliflozin</a:t>
            </a:r>
            <a:r>
              <a:rPr lang="cs-CZ" dirty="0" smtClean="0"/>
              <a:t>, </a:t>
            </a:r>
            <a:r>
              <a:rPr lang="cs-CZ" dirty="0" err="1" smtClean="0"/>
              <a:t>liraglutid</a:t>
            </a:r>
            <a:r>
              <a:rPr lang="cs-CZ" dirty="0" smtClean="0"/>
              <a:t>, </a:t>
            </a:r>
            <a:r>
              <a:rPr lang="cs-CZ" dirty="0" err="1" smtClean="0"/>
              <a:t>semaglutid</a:t>
            </a:r>
            <a:endParaRPr lang="cs-CZ" dirty="0" smtClean="0"/>
          </a:p>
          <a:p>
            <a:pPr lvl="1"/>
            <a:r>
              <a:rPr lang="cs-CZ" dirty="0" smtClean="0"/>
              <a:t>KV neutrální: ostatní </a:t>
            </a:r>
            <a:r>
              <a:rPr lang="cs-CZ" dirty="0" err="1" smtClean="0"/>
              <a:t>inkretinová</a:t>
            </a:r>
            <a:r>
              <a:rPr lang="cs-CZ" dirty="0" smtClean="0"/>
              <a:t> léčba, </a:t>
            </a:r>
            <a:r>
              <a:rPr lang="cs-CZ" dirty="0" err="1" smtClean="0"/>
              <a:t>dapagliflozin</a:t>
            </a:r>
            <a:r>
              <a:rPr lang="cs-CZ" dirty="0" smtClean="0"/>
              <a:t> (zatím)</a:t>
            </a:r>
          </a:p>
          <a:p>
            <a:pPr lvl="1"/>
            <a:r>
              <a:rPr lang="cs-CZ" dirty="0" smtClean="0"/>
              <a:t>KV nejistá </a:t>
            </a:r>
            <a:r>
              <a:rPr lang="cs-CZ" dirty="0" smtClean="0">
                <a:sym typeface="Wingdings" panose="05000000000000000000" pitchFamily="2" charset="2"/>
              </a:rPr>
              <a:t></a:t>
            </a:r>
            <a:r>
              <a:rPr lang="cs-CZ" dirty="0" smtClean="0"/>
              <a:t> – starší deriváty SU, starší inzulíny?</a:t>
            </a:r>
          </a:p>
          <a:p>
            <a:r>
              <a:rPr lang="cs-CZ" dirty="0" smtClean="0"/>
              <a:t>Moderní deriváty SU (</a:t>
            </a:r>
            <a:r>
              <a:rPr lang="cs-CZ" dirty="0" err="1" smtClean="0"/>
              <a:t>gliclazid</a:t>
            </a:r>
            <a:r>
              <a:rPr lang="cs-CZ" dirty="0" smtClean="0"/>
              <a:t>, </a:t>
            </a:r>
            <a:r>
              <a:rPr lang="cs-CZ" dirty="0" err="1" smtClean="0"/>
              <a:t>glimepirid</a:t>
            </a:r>
            <a:r>
              <a:rPr lang="cs-CZ" dirty="0" smtClean="0"/>
              <a:t>) mají v přiměřených (co nejmenších) dávkách zřejmě akceptovatelný KV profil a představují rozumnou volbu z hlediska nákladů</a:t>
            </a:r>
          </a:p>
          <a:p>
            <a:r>
              <a:rPr lang="cs-CZ" dirty="0" err="1" smtClean="0"/>
              <a:t>Pioglitazon</a:t>
            </a:r>
            <a:r>
              <a:rPr lang="cs-CZ" dirty="0" smtClean="0"/>
              <a:t> má velmi dobrá KV data a měl by být používán více, a to zejména v kombinaci s léky, které potlačují jeho NÚ </a:t>
            </a:r>
          </a:p>
          <a:p>
            <a:r>
              <a:rPr lang="cs-CZ" dirty="0" smtClean="0"/>
              <a:t>Přednost by měly mít fixní kombinace (</a:t>
            </a:r>
            <a:r>
              <a:rPr lang="cs-CZ" dirty="0" err="1" smtClean="0"/>
              <a:t>tbl</a:t>
            </a:r>
            <a:r>
              <a:rPr lang="cs-CZ" dirty="0" smtClean="0"/>
              <a:t>. i injekční) – lepší </a:t>
            </a:r>
            <a:r>
              <a:rPr lang="cs-CZ" dirty="0" err="1" smtClean="0"/>
              <a:t>compliance</a:t>
            </a:r>
            <a:endParaRPr lang="cs-CZ" dirty="0" smtClean="0"/>
          </a:p>
          <a:p>
            <a:r>
              <a:rPr lang="cs-CZ" dirty="0" smtClean="0"/>
              <a:t>Žádné </a:t>
            </a:r>
            <a:r>
              <a:rPr lang="cs-CZ" dirty="0" err="1" smtClean="0"/>
              <a:t>antidiabetikum</a:t>
            </a:r>
            <a:r>
              <a:rPr lang="cs-CZ" dirty="0" smtClean="0"/>
              <a:t> není nejlepší pro všechny pacienty</a:t>
            </a:r>
          </a:p>
          <a:p>
            <a:endParaRPr lang="cs-CZ" dirty="0"/>
          </a:p>
          <a:p>
            <a:endParaRPr lang="cs-CZ" dirty="0" smtClean="0"/>
          </a:p>
          <a:p>
            <a:pPr marL="0" indent="0">
              <a:buNone/>
            </a:pPr>
            <a:endParaRPr lang="cs-CZ" dirty="0"/>
          </a:p>
        </p:txBody>
      </p:sp>
      <p:sp>
        <p:nvSpPr>
          <p:cNvPr id="3" name="Nadpis 2"/>
          <p:cNvSpPr>
            <a:spLocks noGrp="1"/>
          </p:cNvSpPr>
          <p:nvPr>
            <p:ph type="title"/>
          </p:nvPr>
        </p:nvSpPr>
        <p:spPr>
          <a:xfrm>
            <a:off x="276459" y="112011"/>
            <a:ext cx="8510400" cy="391412"/>
          </a:xfrm>
        </p:spPr>
        <p:txBody>
          <a:bodyPr/>
          <a:lstStyle/>
          <a:p>
            <a:r>
              <a:rPr lang="cs-CZ" dirty="0" smtClean="0"/>
              <a:t>Praktické poznámky a perspektivy: </a:t>
            </a:r>
            <a:endParaRPr lang="cs-CZ" dirty="0"/>
          </a:p>
        </p:txBody>
      </p:sp>
    </p:spTree>
    <p:extLst>
      <p:ext uri="{BB962C8B-B14F-4D97-AF65-F5344CB8AC3E}">
        <p14:creationId xmlns:p14="http://schemas.microsoft.com/office/powerpoint/2010/main" val="266255763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arn(inVertical)">
                                      <p:cBhvr>
                                        <p:cTn id="7" dur="500"/>
                                        <p:tgtEl>
                                          <p:spTgt spid="2">
                                            <p:txEl>
                                              <p:pRg st="0" end="0"/>
                                            </p:txEl>
                                          </p:spTgt>
                                        </p:tgtEl>
                                      </p:cBhvr>
                                    </p:animEffect>
                                  </p:childTnLst>
                                </p:cTn>
                              </p:par>
                              <p:par>
                                <p:cTn id="8" presetID="16" presetClass="entr" presetSubtype="21" fill="hold"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barn(inVertical)">
                                      <p:cBhvr>
                                        <p:cTn id="10" dur="500"/>
                                        <p:tgtEl>
                                          <p:spTgt spid="2">
                                            <p:txEl>
                                              <p:pRg st="1" end="1"/>
                                            </p:txEl>
                                          </p:spTgt>
                                        </p:tgtEl>
                                      </p:cBhvr>
                                    </p:animEffect>
                                  </p:childTnLst>
                                </p:cTn>
                              </p:par>
                              <p:par>
                                <p:cTn id="11" presetID="16" presetClass="entr" presetSubtype="21"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barn(inVertical)">
                                      <p:cBhvr>
                                        <p:cTn id="13" dur="500"/>
                                        <p:tgtEl>
                                          <p:spTgt spid="2">
                                            <p:txEl>
                                              <p:pRg st="2" end="2"/>
                                            </p:txEl>
                                          </p:spTgt>
                                        </p:tgtEl>
                                      </p:cBhvr>
                                    </p:animEffect>
                                  </p:childTnLst>
                                </p:cTn>
                              </p:par>
                              <p:par>
                                <p:cTn id="14" presetID="16" presetClass="entr" presetSubtype="21" fill="hold"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barn(inVertical)">
                                      <p:cBhvr>
                                        <p:cTn id="16" dur="500"/>
                                        <p:tgtEl>
                                          <p:spTgt spid="2">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barn(inVertical)">
                                      <p:cBhvr>
                                        <p:cTn id="21" dur="500"/>
                                        <p:tgtEl>
                                          <p:spTgt spid="2">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6" presetClass="entr" presetSubtype="21" fill="hold" nodeType="click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barn(inVertical)">
                                      <p:cBhvr>
                                        <p:cTn id="26" dur="500"/>
                                        <p:tgtEl>
                                          <p:spTgt spid="2">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21"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Effect transition="in" filter="barn(inVertical)">
                                      <p:cBhvr>
                                        <p:cTn id="31" dur="500"/>
                                        <p:tgtEl>
                                          <p:spTgt spid="2">
                                            <p:txEl>
                                              <p:pRg st="6" end="6"/>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6" presetClass="entr" presetSubtype="21" fill="hold" nodeType="clickEffect">
                                  <p:stCondLst>
                                    <p:cond delay="0"/>
                                  </p:stCondLst>
                                  <p:childTnLst>
                                    <p:set>
                                      <p:cBhvr>
                                        <p:cTn id="35" dur="1" fill="hold">
                                          <p:stCondLst>
                                            <p:cond delay="0"/>
                                          </p:stCondLst>
                                        </p:cTn>
                                        <p:tgtEl>
                                          <p:spTgt spid="2">
                                            <p:txEl>
                                              <p:pRg st="7" end="7"/>
                                            </p:txEl>
                                          </p:spTgt>
                                        </p:tgtEl>
                                        <p:attrNameLst>
                                          <p:attrName>style.visibility</p:attrName>
                                        </p:attrNameLst>
                                      </p:cBhvr>
                                      <p:to>
                                        <p:strVal val="visible"/>
                                      </p:to>
                                    </p:set>
                                    <p:animEffect transition="in" filter="barn(inVertical)">
                                      <p:cBhvr>
                                        <p:cTn id="36"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154642" y="843560"/>
            <a:ext cx="8868335" cy="2955789"/>
          </a:xfrm>
        </p:spPr>
        <p:txBody>
          <a:bodyPr/>
          <a:lstStyle/>
          <a:p>
            <a:r>
              <a:rPr lang="cs-CZ" sz="2000" dirty="0" smtClean="0"/>
              <a:t>DM 2. typu významně </a:t>
            </a:r>
            <a:r>
              <a:rPr lang="cs-CZ" sz="2000" b="1" dirty="0" smtClean="0"/>
              <a:t>zvyšuje riziko kardiovaskulární morbidity i mortality</a:t>
            </a:r>
          </a:p>
          <a:p>
            <a:r>
              <a:rPr lang="cs-CZ" sz="2000" dirty="0" smtClean="0"/>
              <a:t>K maximální prevenci chronických mikro- i </a:t>
            </a:r>
            <a:r>
              <a:rPr lang="cs-CZ" sz="2000" dirty="0" err="1" smtClean="0"/>
              <a:t>makrovaskulárních</a:t>
            </a:r>
            <a:r>
              <a:rPr lang="cs-CZ" sz="2000" dirty="0" smtClean="0"/>
              <a:t> komplikací je nutná časná diagnóza DM a </a:t>
            </a:r>
            <a:r>
              <a:rPr lang="cs-CZ" sz="2000" b="1" dirty="0" smtClean="0"/>
              <a:t>komplexní intervence všech rizikových faktorů</a:t>
            </a:r>
            <a:r>
              <a:rPr lang="cs-CZ" dirty="0" smtClean="0"/>
              <a:t> </a:t>
            </a:r>
            <a:r>
              <a:rPr lang="cs-CZ" sz="2000" dirty="0" smtClean="0"/>
              <a:t>(DM, </a:t>
            </a:r>
            <a:r>
              <a:rPr lang="cs-CZ" sz="2000" dirty="0" err="1" smtClean="0"/>
              <a:t>hyperlipidémie</a:t>
            </a:r>
            <a:r>
              <a:rPr lang="cs-CZ" sz="2000" dirty="0" smtClean="0"/>
              <a:t>, hypertenze, kouření)</a:t>
            </a:r>
          </a:p>
          <a:p>
            <a:r>
              <a:rPr lang="cs-CZ" sz="2000" dirty="0" smtClean="0"/>
              <a:t>U pacientů s vysokým KV rizikem bychom měli vždy zvážit nasazení léků </a:t>
            </a:r>
            <a:r>
              <a:rPr lang="cs-CZ" sz="2000" b="1" dirty="0" smtClean="0"/>
              <a:t>s prokázanou </a:t>
            </a:r>
            <a:r>
              <a:rPr lang="cs-CZ" sz="2000" b="1" dirty="0" err="1" smtClean="0"/>
              <a:t>kardioprotektivitou</a:t>
            </a:r>
            <a:r>
              <a:rPr lang="cs-CZ" sz="2000" b="1" dirty="0" smtClean="0"/>
              <a:t> </a:t>
            </a:r>
            <a:r>
              <a:rPr lang="cs-CZ" sz="2000" dirty="0" smtClean="0"/>
              <a:t>(</a:t>
            </a:r>
            <a:r>
              <a:rPr lang="cs-CZ" sz="2000" dirty="0" err="1" smtClean="0"/>
              <a:t>canagliflozin</a:t>
            </a:r>
            <a:r>
              <a:rPr lang="cs-CZ" sz="2000" dirty="0" smtClean="0"/>
              <a:t>, </a:t>
            </a:r>
            <a:r>
              <a:rPr lang="cs-CZ" sz="2000" dirty="0" err="1" smtClean="0"/>
              <a:t>empagliflozin</a:t>
            </a:r>
            <a:r>
              <a:rPr lang="cs-CZ" sz="2000" dirty="0" smtClean="0"/>
              <a:t>, </a:t>
            </a:r>
            <a:r>
              <a:rPr lang="cs-CZ" sz="2000" dirty="0" err="1" smtClean="0"/>
              <a:t>liraglutid</a:t>
            </a:r>
            <a:r>
              <a:rPr lang="cs-CZ" sz="2000" dirty="0" smtClean="0"/>
              <a:t>)</a:t>
            </a:r>
          </a:p>
          <a:p>
            <a:r>
              <a:rPr lang="cs-CZ" sz="2000" dirty="0" smtClean="0"/>
              <a:t>Z </a:t>
            </a:r>
            <a:r>
              <a:rPr lang="cs-CZ" sz="2000" dirty="0" err="1" smtClean="0"/>
              <a:t>antidiabetik</a:t>
            </a:r>
            <a:r>
              <a:rPr lang="cs-CZ" sz="2000" dirty="0" smtClean="0"/>
              <a:t> bychom měli dále </a:t>
            </a:r>
            <a:r>
              <a:rPr lang="cs-CZ" sz="2000" b="1" dirty="0" smtClean="0"/>
              <a:t>preferovat léky s prokázanou KV bezpečností</a:t>
            </a:r>
          </a:p>
          <a:p>
            <a:pPr marL="0" indent="0">
              <a:buNone/>
            </a:pPr>
            <a:endParaRPr lang="cs-CZ" sz="2400" dirty="0" smtClean="0"/>
          </a:p>
        </p:txBody>
      </p:sp>
      <p:sp>
        <p:nvSpPr>
          <p:cNvPr id="2" name="Nadpis 1"/>
          <p:cNvSpPr>
            <a:spLocks noGrp="1"/>
          </p:cNvSpPr>
          <p:nvPr>
            <p:ph type="title"/>
          </p:nvPr>
        </p:nvSpPr>
        <p:spPr>
          <a:xfrm>
            <a:off x="251520" y="128112"/>
            <a:ext cx="8510400" cy="391412"/>
          </a:xfrm>
        </p:spPr>
        <p:txBody>
          <a:bodyPr/>
          <a:lstStyle/>
          <a:p>
            <a:pPr algn="ctr"/>
            <a:r>
              <a:rPr lang="cs-CZ" sz="4400" dirty="0" smtClean="0">
                <a:solidFill>
                  <a:srgbClr val="001423"/>
                </a:solidFill>
                <a:latin typeface="Arial" panose="020B0604020202020204" pitchFamily="34" charset="0"/>
                <a:cs typeface="Arial" panose="020B0604020202020204" pitchFamily="34" charset="0"/>
              </a:rPr>
              <a:t>Závěr:</a:t>
            </a:r>
            <a:endParaRPr lang="cs-CZ" sz="4400" dirty="0">
              <a:solidFill>
                <a:srgbClr val="00142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749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9" name="Picture 4" descr="Výsledek obrázku pro exercise funny pictur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5513" y="951071"/>
            <a:ext cx="489585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TextovéPole 3"/>
          <p:cNvSpPr txBox="1">
            <a:spLocks noChangeArrowheads="1"/>
          </p:cNvSpPr>
          <p:nvPr/>
        </p:nvSpPr>
        <p:spPr bwMode="auto">
          <a:xfrm>
            <a:off x="233682" y="3261137"/>
            <a:ext cx="8514212" cy="15696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defTabSz="914354" eaLnBrk="1" fontAlgn="auto" hangingPunct="1">
              <a:spcBef>
                <a:spcPts val="0"/>
              </a:spcBef>
              <a:spcAft>
                <a:spcPts val="0"/>
              </a:spcAft>
            </a:pPr>
            <a:r>
              <a:rPr lang="cs-CZ" altLang="cs-CZ" sz="3200" dirty="0" smtClean="0">
                <a:solidFill>
                  <a:srgbClr val="001965"/>
                </a:solidFill>
              </a:rPr>
              <a:t>Budete si muset rozmyslet, co Vám bude do </a:t>
            </a:r>
            <a:r>
              <a:rPr lang="cs-CZ" altLang="cs-CZ" sz="3200" dirty="0" smtClean="0">
                <a:solidFill>
                  <a:srgbClr val="001965"/>
                </a:solidFill>
              </a:rPr>
              <a:t>Vašeho </a:t>
            </a:r>
            <a:r>
              <a:rPr lang="cs-CZ" altLang="cs-CZ" sz="3200" dirty="0" smtClean="0">
                <a:solidFill>
                  <a:srgbClr val="001965"/>
                </a:solidFill>
              </a:rPr>
              <a:t>nabitého programu </a:t>
            </a:r>
            <a:r>
              <a:rPr lang="cs-CZ" altLang="cs-CZ" sz="3200" dirty="0" smtClean="0">
                <a:solidFill>
                  <a:srgbClr val="001965"/>
                </a:solidFill>
              </a:rPr>
              <a:t>vyhovovat </a:t>
            </a:r>
            <a:r>
              <a:rPr lang="cs-CZ" altLang="cs-CZ" sz="3200" dirty="0" smtClean="0">
                <a:solidFill>
                  <a:srgbClr val="001965"/>
                </a:solidFill>
              </a:rPr>
              <a:t>lépe: cvičit hodinu denně nebo být mrtvý 24 hodin </a:t>
            </a:r>
            <a:r>
              <a:rPr lang="cs-CZ" altLang="cs-CZ" sz="3200" dirty="0" smtClean="0">
                <a:solidFill>
                  <a:srgbClr val="001965"/>
                </a:solidFill>
              </a:rPr>
              <a:t>denně. </a:t>
            </a:r>
            <a:endParaRPr lang="cs-CZ" altLang="cs-CZ" sz="2800" dirty="0">
              <a:solidFill>
                <a:srgbClr val="001965"/>
              </a:solidFill>
            </a:endParaRPr>
          </a:p>
        </p:txBody>
      </p:sp>
      <p:sp>
        <p:nvSpPr>
          <p:cNvPr id="6" name="Nadpis 1"/>
          <p:cNvSpPr txBox="1">
            <a:spLocks/>
          </p:cNvSpPr>
          <p:nvPr/>
        </p:nvSpPr>
        <p:spPr bwMode="auto">
          <a:xfrm>
            <a:off x="233682" y="226379"/>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rmAutofit fontScale="60000" lnSpcReduction="20000"/>
          </a:bodyPr>
          <a:lstStyle>
            <a:lvl1pPr algn="l" rtl="0" fontAlgn="base">
              <a:spcBef>
                <a:spcPct val="0"/>
              </a:spcBef>
              <a:spcAft>
                <a:spcPct val="0"/>
              </a:spcAft>
              <a:defRPr sz="3200" b="1" kern="1200">
                <a:solidFill>
                  <a:schemeClr val="accent2"/>
                </a:solidFill>
                <a:latin typeface="+mj-lt"/>
                <a:ea typeface="+mj-ea"/>
                <a:cs typeface="+mj-cs"/>
              </a:defRPr>
            </a:lvl1pPr>
            <a:lvl2pPr algn="l" rtl="0" fontAlgn="base">
              <a:spcBef>
                <a:spcPct val="0"/>
              </a:spcBef>
              <a:spcAft>
                <a:spcPct val="0"/>
              </a:spcAft>
              <a:defRPr sz="3200" b="1">
                <a:solidFill>
                  <a:schemeClr val="accent2"/>
                </a:solidFill>
                <a:latin typeface="Verdana" pitchFamily="34" charset="0"/>
              </a:defRPr>
            </a:lvl2pPr>
            <a:lvl3pPr algn="l" rtl="0" fontAlgn="base">
              <a:spcBef>
                <a:spcPct val="0"/>
              </a:spcBef>
              <a:spcAft>
                <a:spcPct val="0"/>
              </a:spcAft>
              <a:defRPr sz="3200" b="1">
                <a:solidFill>
                  <a:schemeClr val="accent2"/>
                </a:solidFill>
                <a:latin typeface="Verdana" pitchFamily="34" charset="0"/>
              </a:defRPr>
            </a:lvl3pPr>
            <a:lvl4pPr algn="l" rtl="0" fontAlgn="base">
              <a:spcBef>
                <a:spcPct val="0"/>
              </a:spcBef>
              <a:spcAft>
                <a:spcPct val="0"/>
              </a:spcAft>
              <a:defRPr sz="3200" b="1">
                <a:solidFill>
                  <a:schemeClr val="accent2"/>
                </a:solidFill>
                <a:latin typeface="Verdana" pitchFamily="34" charset="0"/>
              </a:defRPr>
            </a:lvl4pPr>
            <a:lvl5pPr algn="l" rtl="0" fontAlgn="base">
              <a:spcBef>
                <a:spcPct val="0"/>
              </a:spcBef>
              <a:spcAft>
                <a:spcPct val="0"/>
              </a:spcAft>
              <a:defRPr sz="3200" b="1">
                <a:solidFill>
                  <a:schemeClr val="accent2"/>
                </a:solidFill>
                <a:latin typeface="Verdana" pitchFamily="34" charset="0"/>
              </a:defRPr>
            </a:lvl5pPr>
            <a:lvl6pPr marL="609555" algn="l" rtl="0" fontAlgn="base">
              <a:spcBef>
                <a:spcPct val="0"/>
              </a:spcBef>
              <a:spcAft>
                <a:spcPct val="0"/>
              </a:spcAft>
              <a:defRPr sz="3200" b="1">
                <a:solidFill>
                  <a:schemeClr val="accent2"/>
                </a:solidFill>
                <a:latin typeface="Verdana" pitchFamily="34" charset="0"/>
              </a:defRPr>
            </a:lvl6pPr>
            <a:lvl7pPr marL="1219110" algn="l" rtl="0" fontAlgn="base">
              <a:spcBef>
                <a:spcPct val="0"/>
              </a:spcBef>
              <a:spcAft>
                <a:spcPct val="0"/>
              </a:spcAft>
              <a:defRPr sz="3200" b="1">
                <a:solidFill>
                  <a:schemeClr val="accent2"/>
                </a:solidFill>
                <a:latin typeface="Verdana" pitchFamily="34" charset="0"/>
              </a:defRPr>
            </a:lvl7pPr>
            <a:lvl8pPr marL="1828664" algn="l" rtl="0" fontAlgn="base">
              <a:spcBef>
                <a:spcPct val="0"/>
              </a:spcBef>
              <a:spcAft>
                <a:spcPct val="0"/>
              </a:spcAft>
              <a:defRPr sz="3200" b="1">
                <a:solidFill>
                  <a:schemeClr val="accent2"/>
                </a:solidFill>
                <a:latin typeface="Verdana" pitchFamily="34" charset="0"/>
              </a:defRPr>
            </a:lvl8pPr>
            <a:lvl9pPr marL="2438218" algn="l" rtl="0" fontAlgn="base">
              <a:spcBef>
                <a:spcPct val="0"/>
              </a:spcBef>
              <a:spcAft>
                <a:spcPct val="0"/>
              </a:spcAft>
              <a:defRPr sz="3200" b="1">
                <a:solidFill>
                  <a:schemeClr val="accent2"/>
                </a:solidFill>
                <a:latin typeface="Verdana" pitchFamily="34" charset="0"/>
              </a:defRPr>
            </a:lvl9pPr>
          </a:lstStyle>
          <a:p>
            <a:pPr algn="ctr" defTabSz="914400" eaLnBrk="1" hangingPunct="1"/>
            <a:r>
              <a:rPr lang="cs-CZ" sz="5400" dirty="0" smtClean="0">
                <a:solidFill>
                  <a:srgbClr val="001423"/>
                </a:solidFill>
              </a:rPr>
              <a:t>Děkuji za pozornost</a:t>
            </a:r>
            <a:endParaRPr lang="cs-CZ" sz="5400" dirty="0">
              <a:solidFill>
                <a:srgbClr val="001423"/>
              </a:solidFill>
            </a:endParaRPr>
          </a:p>
        </p:txBody>
      </p:sp>
    </p:spTree>
    <p:extLst>
      <p:ext uri="{BB962C8B-B14F-4D97-AF65-F5344CB8AC3E}">
        <p14:creationId xmlns:p14="http://schemas.microsoft.com/office/powerpoint/2010/main" val="18990719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74811" y="-177272"/>
            <a:ext cx="8814547" cy="857250"/>
          </a:xfrm>
        </p:spPr>
        <p:txBody>
          <a:bodyPr/>
          <a:lstStyle/>
          <a:p>
            <a:r>
              <a:rPr lang="cs-CZ" sz="2000" b="1" dirty="0" smtClean="0"/>
              <a:t>Algoritmus léčby DM 2. typu (doporučení ČDS 2017)</a:t>
            </a:r>
            <a:endParaRPr lang="cs-CZ" sz="2000" b="1" dirty="0"/>
          </a:p>
        </p:txBody>
      </p:sp>
      <p:sp>
        <p:nvSpPr>
          <p:cNvPr id="3" name="Zástupný symbol pro obsah 2"/>
          <p:cNvSpPr>
            <a:spLocks noGrp="1"/>
          </p:cNvSpPr>
          <p:nvPr>
            <p:ph idx="1"/>
          </p:nvPr>
        </p:nvSpPr>
        <p:spPr/>
        <p:txBody>
          <a:bodyPr/>
          <a:lstStyle/>
          <a:p>
            <a:endParaRPr lang="cs-CZ"/>
          </a:p>
        </p:txBody>
      </p:sp>
      <p:pic>
        <p:nvPicPr>
          <p:cNvPr id="901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282" y="482217"/>
            <a:ext cx="8337177" cy="46747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02015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tle 1"/>
          <p:cNvSpPr>
            <a:spLocks noGrp="1"/>
          </p:cNvSpPr>
          <p:nvPr>
            <p:ph type="title"/>
          </p:nvPr>
        </p:nvSpPr>
        <p:spPr>
          <a:xfrm>
            <a:off x="285720" y="267925"/>
            <a:ext cx="8509000" cy="391715"/>
          </a:xfrm>
        </p:spPr>
        <p:txBody>
          <a:bodyPr/>
          <a:lstStyle/>
          <a:p>
            <a:pPr algn="ctr" eaLnBrk="1" hangingPunct="1"/>
            <a:r>
              <a:rPr lang="cs-CZ" altLang="cs-CZ" sz="2800" b="1" dirty="0" smtClean="0">
                <a:ea typeface="MS PGothic" pitchFamily="34" charset="-128"/>
              </a:rPr>
              <a:t>Komplexní </a:t>
            </a:r>
            <a:r>
              <a:rPr lang="cs-CZ" altLang="cs-CZ" sz="2800" b="1" dirty="0" err="1" smtClean="0">
                <a:ea typeface="MS PGothic" pitchFamily="34" charset="-128"/>
              </a:rPr>
              <a:t>etiopatogeneza</a:t>
            </a:r>
            <a:r>
              <a:rPr lang="cs-CZ" altLang="cs-CZ" sz="2800" b="1" dirty="0" smtClean="0">
                <a:ea typeface="MS PGothic" pitchFamily="34" charset="-128"/>
              </a:rPr>
              <a:t> DM 2. typu vyžaduje současné ovlivnění více KV rizikových faktorů</a:t>
            </a:r>
            <a:endParaRPr lang="en-US" altLang="cs-CZ" sz="2800" b="1" dirty="0" smtClean="0">
              <a:ea typeface="MS PGothic" pitchFamily="34" charset="-128"/>
            </a:endParaRPr>
          </a:p>
        </p:txBody>
      </p:sp>
      <p:sp>
        <p:nvSpPr>
          <p:cNvPr id="95235" name="Text Box 50"/>
          <p:cNvSpPr txBox="1">
            <a:spLocks noChangeArrowheads="1"/>
          </p:cNvSpPr>
          <p:nvPr/>
        </p:nvSpPr>
        <p:spPr bwMode="auto">
          <a:xfrm>
            <a:off x="179388" y="4861839"/>
            <a:ext cx="89646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defTabSz="914400" eaLnBrk="0" fontAlgn="base" hangingPunct="0">
              <a:spcBef>
                <a:spcPct val="0"/>
              </a:spcBef>
              <a:spcAft>
                <a:spcPct val="0"/>
              </a:spcAft>
            </a:pPr>
            <a:r>
              <a:rPr lang="en-GB" altLang="cs-CZ" sz="1200" dirty="0" smtClean="0">
                <a:solidFill>
                  <a:srgbClr val="001965"/>
                </a:solidFill>
                <a:latin typeface="Arial Narrow" pitchFamily="34" charset="0"/>
                <a:ea typeface="ヒラギノ角ゴ Pro W3"/>
                <a:cs typeface="ヒラギノ角ゴ Pro W3"/>
              </a:rPr>
              <a:t>Libby et al. </a:t>
            </a:r>
            <a:r>
              <a:rPr lang="fr-FR" altLang="cs-CZ" sz="1200" i="1" dirty="0" smtClean="0">
                <a:solidFill>
                  <a:srgbClr val="001965"/>
                </a:solidFill>
                <a:latin typeface="Arial Narrow" pitchFamily="34" charset="0"/>
                <a:ea typeface="ヒラギノ角ゴ Pro W3"/>
                <a:cs typeface="ヒラギノ角ゴ Pro W3"/>
              </a:rPr>
              <a:t>Circulation </a:t>
            </a:r>
            <a:r>
              <a:rPr lang="fr-FR" altLang="cs-CZ" sz="1200" dirty="0" smtClean="0">
                <a:solidFill>
                  <a:srgbClr val="001965"/>
                </a:solidFill>
                <a:latin typeface="Arial Narrow" pitchFamily="34" charset="0"/>
                <a:ea typeface="ヒラギノ角ゴ Pro W3"/>
                <a:cs typeface="ヒラギノ角ゴ Pro W3"/>
              </a:rPr>
              <a:t>2002;106(22):2760</a:t>
            </a:r>
            <a:r>
              <a:rPr lang="en-US" altLang="cs-CZ" sz="1200" dirty="0" smtClean="0">
                <a:solidFill>
                  <a:srgbClr val="001965"/>
                </a:solidFill>
                <a:latin typeface="Arial Narrow" pitchFamily="34" charset="0"/>
              </a:rPr>
              <a:t>‒</a:t>
            </a:r>
            <a:r>
              <a:rPr lang="fr-FR" altLang="cs-CZ" sz="1200" dirty="0" smtClean="0">
                <a:solidFill>
                  <a:srgbClr val="001965"/>
                </a:solidFill>
                <a:latin typeface="Arial Narrow" pitchFamily="34" charset="0"/>
                <a:ea typeface="ヒラギノ角ゴ Pro W3"/>
                <a:cs typeface="ヒラギノ角ゴ Pro W3"/>
              </a:rPr>
              <a:t>2763.</a:t>
            </a:r>
            <a:r>
              <a:rPr lang="cs-CZ" altLang="cs-CZ" sz="1200" dirty="0" smtClean="0">
                <a:solidFill>
                  <a:srgbClr val="001965"/>
                </a:solidFill>
                <a:latin typeface="Arial Narrow" pitchFamily="34" charset="0"/>
                <a:ea typeface="ヒラギノ角ゴ Pro W3"/>
                <a:cs typeface="ヒラギノ角ゴ Pro W3"/>
              </a:rPr>
              <a:t> </a:t>
            </a:r>
            <a:r>
              <a:rPr lang="en-GB" altLang="cs-CZ" sz="1200" dirty="0" smtClean="0">
                <a:solidFill>
                  <a:srgbClr val="001965"/>
                </a:solidFill>
                <a:latin typeface="Arial Narrow" pitchFamily="34" charset="0"/>
                <a:ea typeface="ヒラギノ角ゴ Pro W3"/>
                <a:cs typeface="ヒラギノ角ゴ Pro W3"/>
              </a:rPr>
              <a:t>Jacobs </a:t>
            </a:r>
            <a:r>
              <a:rPr lang="en-GB" altLang="cs-CZ" sz="1200" i="1" dirty="0" smtClean="0">
                <a:solidFill>
                  <a:srgbClr val="001965"/>
                </a:solidFill>
                <a:latin typeface="Arial Narrow" pitchFamily="34" charset="0"/>
                <a:ea typeface="ヒラギノ角ゴ Pro W3"/>
                <a:cs typeface="ヒラギノ角ゴ Pro W3"/>
              </a:rPr>
              <a:t>et al. Diabetes Res </a:t>
            </a:r>
            <a:r>
              <a:rPr lang="en-GB" altLang="cs-CZ" sz="1200" i="1" dirty="0" err="1" smtClean="0">
                <a:solidFill>
                  <a:srgbClr val="001965"/>
                </a:solidFill>
                <a:latin typeface="Arial Narrow" pitchFamily="34" charset="0"/>
                <a:ea typeface="ヒラギノ角ゴ Pro W3"/>
                <a:cs typeface="ヒラギノ角ゴ Pro W3"/>
              </a:rPr>
              <a:t>Clin</a:t>
            </a:r>
            <a:r>
              <a:rPr lang="en-GB" altLang="cs-CZ" sz="1200" i="1" dirty="0" smtClean="0">
                <a:solidFill>
                  <a:srgbClr val="001965"/>
                </a:solidFill>
                <a:latin typeface="Arial Narrow" pitchFamily="34" charset="0"/>
                <a:ea typeface="ヒラギノ角ゴ Pro W3"/>
                <a:cs typeface="ヒラギノ角ゴ Pro W3"/>
              </a:rPr>
              <a:t> </a:t>
            </a:r>
            <a:r>
              <a:rPr lang="en-GB" altLang="cs-CZ" sz="1200" i="1" dirty="0" err="1" smtClean="0">
                <a:solidFill>
                  <a:srgbClr val="001965"/>
                </a:solidFill>
                <a:latin typeface="Arial Narrow" pitchFamily="34" charset="0"/>
                <a:ea typeface="ヒラギノ角ゴ Pro W3"/>
                <a:cs typeface="ヒラギノ角ゴ Pro W3"/>
              </a:rPr>
              <a:t>Pract</a:t>
            </a:r>
            <a:r>
              <a:rPr lang="en-GB" altLang="cs-CZ" sz="1200" i="1" dirty="0" smtClean="0">
                <a:solidFill>
                  <a:srgbClr val="001965"/>
                </a:solidFill>
                <a:latin typeface="Arial Narrow" pitchFamily="34" charset="0"/>
                <a:ea typeface="ヒラギノ角ゴ Pro W3"/>
                <a:cs typeface="ヒラギノ角ゴ Pro W3"/>
              </a:rPr>
              <a:t>. </a:t>
            </a:r>
            <a:r>
              <a:rPr lang="en-GB" altLang="cs-CZ" sz="1200" dirty="0" smtClean="0">
                <a:solidFill>
                  <a:srgbClr val="001965"/>
                </a:solidFill>
                <a:latin typeface="Arial Narrow" pitchFamily="34" charset="0"/>
                <a:ea typeface="ヒラギノ角ゴ Pro W3"/>
                <a:cs typeface="ヒラギノ角ゴ Pro W3"/>
              </a:rPr>
              <a:t>2005;70(3):263</a:t>
            </a:r>
            <a:r>
              <a:rPr lang="en-US" altLang="cs-CZ" sz="1200" dirty="0" smtClean="0">
                <a:solidFill>
                  <a:srgbClr val="001965"/>
                </a:solidFill>
                <a:latin typeface="Arial Narrow" pitchFamily="34" charset="0"/>
              </a:rPr>
              <a:t>‒</a:t>
            </a:r>
            <a:r>
              <a:rPr lang="en-GB" altLang="cs-CZ" sz="1200" dirty="0" smtClean="0">
                <a:solidFill>
                  <a:srgbClr val="001965"/>
                </a:solidFill>
                <a:latin typeface="Arial Narrow" pitchFamily="34" charset="0"/>
                <a:ea typeface="ヒラギノ角ゴ Pro W3"/>
                <a:cs typeface="ヒラギノ角ゴ Pro W3"/>
              </a:rPr>
              <a:t>269.</a:t>
            </a:r>
            <a:endParaRPr lang="en-US" altLang="cs-CZ" sz="1200" dirty="0" smtClean="0">
              <a:solidFill>
                <a:srgbClr val="001965"/>
              </a:solidFill>
              <a:latin typeface="Arial Narrow" pitchFamily="34" charset="0"/>
              <a:ea typeface="ヒラギノ角ゴ Pro W3"/>
              <a:cs typeface="ヒラギノ角ゴ Pro W3"/>
            </a:endParaRPr>
          </a:p>
        </p:txBody>
      </p:sp>
      <p:pic>
        <p:nvPicPr>
          <p:cNvPr id="95236" name="Picture 2" descr="IR copy.pct                                                    0009D88ABLI448-Gray                    B711A977:"/>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a:xfrm>
            <a:off x="179396" y="925699"/>
            <a:ext cx="6746875" cy="2956322"/>
          </a:xfrm>
          <a:noFill/>
        </p:spPr>
      </p:pic>
      <p:pic>
        <p:nvPicPr>
          <p:cNvPr id="95237" name="Picture 4"/>
          <p:cNvPicPr>
            <a:picLocks noChangeAspect="1" noChangeArrowheads="1"/>
          </p:cNvPicPr>
          <p:nvPr/>
        </p:nvPicPr>
        <p:blipFill>
          <a:blip r:embed="rId3" cstate="print">
            <a:clrChange>
              <a:clrFrom>
                <a:srgbClr val="0140C0"/>
              </a:clrFrom>
              <a:clrTo>
                <a:srgbClr val="0140C0">
                  <a:alpha val="0"/>
                </a:srgbClr>
              </a:clrTo>
            </a:clrChange>
            <a:extLst>
              <a:ext uri="{28A0092B-C50C-407E-A947-70E740481C1C}">
                <a14:useLocalDpi xmlns:a14="http://schemas.microsoft.com/office/drawing/2010/main" val="0"/>
              </a:ext>
            </a:extLst>
          </a:blip>
          <a:srcRect/>
          <a:stretch>
            <a:fillRect/>
          </a:stretch>
        </p:blipFill>
        <p:spPr bwMode="auto">
          <a:xfrm>
            <a:off x="7018825" y="1113235"/>
            <a:ext cx="2044700" cy="27813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6" name="TextovéPole 5"/>
          <p:cNvSpPr txBox="1"/>
          <p:nvPr/>
        </p:nvSpPr>
        <p:spPr>
          <a:xfrm>
            <a:off x="971550" y="3938509"/>
            <a:ext cx="7200900" cy="923330"/>
          </a:xfrm>
          <a:prstGeom prst="rect">
            <a:avLst/>
          </a:prstGeom>
        </p:spPr>
        <p:style>
          <a:lnRef idx="2">
            <a:schemeClr val="dk1"/>
          </a:lnRef>
          <a:fillRef idx="1">
            <a:schemeClr val="lt1"/>
          </a:fillRef>
          <a:effectRef idx="0">
            <a:schemeClr val="dk1"/>
          </a:effectRef>
          <a:fontRef idx="minor">
            <a:schemeClr val="dk1"/>
          </a:fontRef>
        </p:style>
        <p:txBody>
          <a:bodyPr>
            <a:spAutoFit/>
          </a:bodyPr>
          <a:lstStyle/>
          <a:p>
            <a:pPr defTabSz="914400" eaLnBrk="0" fontAlgn="base" hangingPunct="0">
              <a:spcBef>
                <a:spcPct val="0"/>
              </a:spcBef>
              <a:spcAft>
                <a:spcPct val="0"/>
              </a:spcAft>
              <a:defRPr/>
            </a:pPr>
            <a:r>
              <a:rPr lang="cs-CZ" sz="1800" b="1" dirty="0" smtClean="0">
                <a:solidFill>
                  <a:srgbClr val="FF0000"/>
                </a:solidFill>
              </a:rPr>
              <a:t>90 </a:t>
            </a:r>
            <a:r>
              <a:rPr lang="cs-CZ" sz="1800" b="1" dirty="0">
                <a:solidFill>
                  <a:srgbClr val="FF0000"/>
                </a:solidFill>
              </a:rPr>
              <a:t>%</a:t>
            </a:r>
            <a:r>
              <a:rPr lang="cs-CZ" sz="1800" b="1" dirty="0">
                <a:solidFill>
                  <a:srgbClr val="001965"/>
                </a:solidFill>
              </a:rPr>
              <a:t> </a:t>
            </a:r>
            <a:r>
              <a:rPr lang="cs-CZ" sz="1800" b="1" dirty="0" smtClean="0">
                <a:solidFill>
                  <a:srgbClr val="001965"/>
                </a:solidFill>
              </a:rPr>
              <a:t>pacientů s DM2T má nadváhu nebo obezitu</a:t>
            </a:r>
            <a:endParaRPr lang="cs-CZ" sz="1800" b="1" dirty="0">
              <a:solidFill>
                <a:srgbClr val="001965"/>
              </a:solidFill>
            </a:endParaRPr>
          </a:p>
          <a:p>
            <a:pPr defTabSz="914400" eaLnBrk="0" fontAlgn="base" hangingPunct="0">
              <a:spcBef>
                <a:spcPct val="0"/>
              </a:spcBef>
              <a:spcAft>
                <a:spcPct val="0"/>
              </a:spcAft>
              <a:defRPr/>
            </a:pPr>
            <a:r>
              <a:rPr lang="cs-CZ" sz="1800" b="1" dirty="0" smtClean="0">
                <a:solidFill>
                  <a:srgbClr val="FF0000"/>
                </a:solidFill>
              </a:rPr>
              <a:t>83 </a:t>
            </a:r>
            <a:r>
              <a:rPr lang="cs-CZ" sz="1800" b="1" dirty="0">
                <a:solidFill>
                  <a:srgbClr val="FF0000"/>
                </a:solidFill>
              </a:rPr>
              <a:t>%</a:t>
            </a:r>
            <a:r>
              <a:rPr lang="cs-CZ" sz="1800" b="1" dirty="0">
                <a:solidFill>
                  <a:srgbClr val="001965"/>
                </a:solidFill>
              </a:rPr>
              <a:t> pacientů s DM2T </a:t>
            </a:r>
            <a:r>
              <a:rPr lang="cs-CZ" sz="1800" b="1" dirty="0" smtClean="0">
                <a:solidFill>
                  <a:srgbClr val="001965"/>
                </a:solidFill>
              </a:rPr>
              <a:t> má </a:t>
            </a:r>
            <a:r>
              <a:rPr lang="cs-CZ" sz="1800" b="1" dirty="0" err="1" smtClean="0">
                <a:solidFill>
                  <a:srgbClr val="001965"/>
                </a:solidFill>
              </a:rPr>
              <a:t>arterální</a:t>
            </a:r>
            <a:r>
              <a:rPr lang="cs-CZ" sz="1800" b="1" dirty="0" smtClean="0">
                <a:solidFill>
                  <a:srgbClr val="001965"/>
                </a:solidFill>
              </a:rPr>
              <a:t> hypertenzi</a:t>
            </a:r>
            <a:endParaRPr lang="cs-CZ" sz="1800" b="1" dirty="0">
              <a:solidFill>
                <a:srgbClr val="001965"/>
              </a:solidFill>
            </a:endParaRPr>
          </a:p>
          <a:p>
            <a:pPr defTabSz="914400" eaLnBrk="0" fontAlgn="base" hangingPunct="0">
              <a:spcBef>
                <a:spcPct val="0"/>
              </a:spcBef>
              <a:spcAft>
                <a:spcPct val="0"/>
              </a:spcAft>
              <a:defRPr/>
            </a:pPr>
            <a:r>
              <a:rPr lang="cs-CZ" sz="1800" b="1" dirty="0" smtClean="0">
                <a:solidFill>
                  <a:srgbClr val="FF0000"/>
                </a:solidFill>
              </a:rPr>
              <a:t>78 </a:t>
            </a:r>
            <a:r>
              <a:rPr lang="cs-CZ" sz="1800" b="1" dirty="0">
                <a:solidFill>
                  <a:srgbClr val="FF0000"/>
                </a:solidFill>
              </a:rPr>
              <a:t>%</a:t>
            </a:r>
            <a:r>
              <a:rPr lang="cs-CZ" sz="1800" b="1" dirty="0">
                <a:solidFill>
                  <a:srgbClr val="001965"/>
                </a:solidFill>
              </a:rPr>
              <a:t> pacientů s DM2T  má </a:t>
            </a:r>
            <a:r>
              <a:rPr lang="cs-CZ" sz="1800" b="1" dirty="0" err="1" smtClean="0">
                <a:solidFill>
                  <a:srgbClr val="001965"/>
                </a:solidFill>
              </a:rPr>
              <a:t>dyslipidémii</a:t>
            </a:r>
            <a:endParaRPr lang="cs-CZ" sz="1800" dirty="0">
              <a:solidFill>
                <a:srgbClr val="001965"/>
              </a:solidFill>
            </a:endParaRPr>
          </a:p>
        </p:txBody>
      </p:sp>
    </p:spTree>
    <p:extLst>
      <p:ext uri="{BB962C8B-B14F-4D97-AF65-F5344CB8AC3E}">
        <p14:creationId xmlns:p14="http://schemas.microsoft.com/office/powerpoint/2010/main" val="2022869315"/>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Title 2"/>
          <p:cNvSpPr>
            <a:spLocks noGrp="1"/>
          </p:cNvSpPr>
          <p:nvPr>
            <p:ph type="title"/>
          </p:nvPr>
        </p:nvSpPr>
        <p:spPr/>
        <p:txBody>
          <a:bodyPr/>
          <a:lstStyle/>
          <a:p>
            <a:r>
              <a:rPr lang="en-GB" sz="2400" dirty="0" err="1" smtClean="0">
                <a:solidFill>
                  <a:srgbClr val="001423"/>
                </a:solidFill>
                <a:latin typeface="+mn-lt"/>
                <a:cs typeface="Arial" panose="020B0604020202020204" pitchFamily="34" charset="0"/>
              </a:rPr>
              <a:t>Metaanal</a:t>
            </a:r>
            <a:r>
              <a:rPr lang="cs-CZ" sz="2400" dirty="0" err="1" smtClean="0">
                <a:solidFill>
                  <a:srgbClr val="001423"/>
                </a:solidFill>
                <a:latin typeface="+mn-lt"/>
                <a:cs typeface="Arial" panose="020B0604020202020204" pitchFamily="34" charset="0"/>
              </a:rPr>
              <a:t>ýza</a:t>
            </a:r>
            <a:r>
              <a:rPr lang="en-GB" sz="2400" dirty="0" smtClean="0">
                <a:solidFill>
                  <a:srgbClr val="001423"/>
                </a:solidFill>
                <a:latin typeface="+mn-lt"/>
                <a:cs typeface="Arial" panose="020B0604020202020204" pitchFamily="34" charset="0"/>
              </a:rPr>
              <a:t>: </a:t>
            </a:r>
            <a:r>
              <a:rPr lang="cs-CZ" sz="2400" dirty="0" smtClean="0">
                <a:solidFill>
                  <a:srgbClr val="001423"/>
                </a:solidFill>
                <a:latin typeface="+mn-lt"/>
                <a:cs typeface="Arial" panose="020B0604020202020204" pitchFamily="34" charset="0"/>
              </a:rPr>
              <a:t>těsnější kompenzace DM vede jen k mírnému snížení KV rizika </a:t>
            </a:r>
            <a:r>
              <a:rPr lang="cs-CZ" sz="1800" dirty="0" smtClean="0">
                <a:solidFill>
                  <a:srgbClr val="001423"/>
                </a:solidFill>
                <a:latin typeface="+mn-lt"/>
                <a:cs typeface="Arial" panose="020B0604020202020204" pitchFamily="34" charset="0"/>
              </a:rPr>
              <a:t>(studie s použitím „klasických“ </a:t>
            </a:r>
            <a:r>
              <a:rPr lang="cs-CZ" sz="1800" dirty="0" err="1" smtClean="0">
                <a:solidFill>
                  <a:srgbClr val="001423"/>
                </a:solidFill>
                <a:latin typeface="+mn-lt"/>
                <a:cs typeface="Arial" panose="020B0604020202020204" pitchFamily="34" charset="0"/>
              </a:rPr>
              <a:t>antadiabetik</a:t>
            </a:r>
            <a:r>
              <a:rPr lang="cs-CZ" sz="1800" dirty="0" smtClean="0">
                <a:solidFill>
                  <a:srgbClr val="001423"/>
                </a:solidFill>
                <a:latin typeface="+mn-lt"/>
                <a:cs typeface="Arial" panose="020B0604020202020204" pitchFamily="34" charset="0"/>
              </a:rPr>
              <a:t>)</a:t>
            </a:r>
            <a:r>
              <a:rPr lang="cs-CZ" sz="2400" dirty="0" smtClean="0">
                <a:solidFill>
                  <a:srgbClr val="001423"/>
                </a:solidFill>
                <a:latin typeface="+mn-lt"/>
                <a:cs typeface="Arial" panose="020B0604020202020204" pitchFamily="34" charset="0"/>
              </a:rPr>
              <a:t>  </a:t>
            </a:r>
            <a:endParaRPr lang="en-GB" sz="2400" dirty="0">
              <a:solidFill>
                <a:srgbClr val="001423"/>
              </a:solidFill>
              <a:latin typeface="+mn-lt"/>
              <a:cs typeface="Arial" panose="020B0604020202020204" pitchFamily="34" charset="0"/>
            </a:endParaRPr>
          </a:p>
        </p:txBody>
      </p:sp>
      <p:sp>
        <p:nvSpPr>
          <p:cNvPr id="6" name="Content Placeholder 5"/>
          <p:cNvSpPr>
            <a:spLocks noGrp="1"/>
          </p:cNvSpPr>
          <p:nvPr>
            <p:ph type="body" sz="quarter" idx="10"/>
          </p:nvPr>
        </p:nvSpPr>
        <p:spPr/>
        <p:txBody>
          <a:bodyPr/>
          <a:lstStyle/>
          <a:p>
            <a:r>
              <a:rPr lang="en-GB" altLang="en-US" dirty="0">
                <a:solidFill>
                  <a:srgbClr val="8B7D70"/>
                </a:solidFill>
              </a:rPr>
              <a:t>CI, confidence interval; HbA</a:t>
            </a:r>
            <a:r>
              <a:rPr lang="en-GB" altLang="en-US" baseline="-25000" dirty="0">
                <a:solidFill>
                  <a:srgbClr val="8B7D70"/>
                </a:solidFill>
              </a:rPr>
              <a:t>1c</a:t>
            </a:r>
            <a:r>
              <a:rPr lang="en-GB" altLang="en-US" dirty="0">
                <a:solidFill>
                  <a:srgbClr val="8B7D70"/>
                </a:solidFill>
              </a:rPr>
              <a:t>, glycosylated </a:t>
            </a:r>
            <a:r>
              <a:rPr lang="en-GB" altLang="en-US" dirty="0" smtClean="0">
                <a:solidFill>
                  <a:srgbClr val="8B7D70"/>
                </a:solidFill>
              </a:rPr>
              <a:t>haemoglobin</a:t>
            </a:r>
          </a:p>
          <a:p>
            <a:r>
              <a:rPr lang="en-GB" dirty="0" smtClean="0"/>
              <a:t>Turnbull et al. </a:t>
            </a:r>
            <a:r>
              <a:rPr lang="en-GB" i="1" dirty="0" smtClean="0"/>
              <a:t>Diabetologia</a:t>
            </a:r>
            <a:r>
              <a:rPr lang="en-GB" dirty="0" smtClean="0"/>
              <a:t> 2009;52:2288–2298</a:t>
            </a:r>
            <a:endParaRPr lang="en-GB" dirty="0"/>
          </a:p>
        </p:txBody>
      </p:sp>
      <p:sp>
        <p:nvSpPr>
          <p:cNvPr id="3" name="Text Placeholder 2"/>
          <p:cNvSpPr>
            <a:spLocks noGrp="1"/>
          </p:cNvSpPr>
          <p:nvPr>
            <p:ph idx="1"/>
          </p:nvPr>
        </p:nvSpPr>
        <p:spPr/>
        <p:txBody>
          <a:bodyPr/>
          <a:lstStyle/>
          <a:p>
            <a:r>
              <a:rPr lang="en-US"/>
              <a:t>*Difference between more intensive and less intensive groups</a:t>
            </a:r>
          </a:p>
          <a:p>
            <a:r>
              <a:rPr lang="en-US"/>
              <a:t>CI, confidence interval;</a:t>
            </a:r>
            <a:r>
              <a:rPr lang="en-GB" altLang="en-US"/>
              <a:t> HbA1c, glycosylated haemoglobin</a:t>
            </a:r>
            <a:endParaRPr lang="en-US"/>
          </a:p>
          <a:p>
            <a:r>
              <a:rPr lang="en-US"/>
              <a:t>Turnbull FM et al. Diabetologia 2009;52:2288–2298</a:t>
            </a:r>
            <a:endParaRPr lang="en-US" dirty="0"/>
          </a:p>
        </p:txBody>
      </p:sp>
      <p:graphicFrame>
        <p:nvGraphicFramePr>
          <p:cNvPr id="102403" name="Group 3"/>
          <p:cNvGraphicFramePr>
            <a:graphicFrameLocks noGrp="1"/>
          </p:cNvGraphicFramePr>
          <p:nvPr>
            <p:extLst/>
          </p:nvPr>
        </p:nvGraphicFramePr>
        <p:xfrm>
          <a:off x="308119" y="1301169"/>
          <a:ext cx="8518383" cy="2842744"/>
        </p:xfrm>
        <a:graphic>
          <a:graphicData uri="http://schemas.openxmlformats.org/drawingml/2006/table">
            <a:tbl>
              <a:tblPr/>
              <a:tblGrid>
                <a:gridCol w="1939137">
                  <a:extLst>
                    <a:ext uri="{9D8B030D-6E8A-4147-A177-3AD203B41FA5}">
                      <a16:colId xmlns:a16="http://schemas.microsoft.com/office/drawing/2014/main" xmlns="" val="20000"/>
                    </a:ext>
                  </a:extLst>
                </a:gridCol>
                <a:gridCol w="1232669">
                  <a:extLst>
                    <a:ext uri="{9D8B030D-6E8A-4147-A177-3AD203B41FA5}">
                      <a16:colId xmlns:a16="http://schemas.microsoft.com/office/drawing/2014/main" xmlns="" val="20001"/>
                    </a:ext>
                  </a:extLst>
                </a:gridCol>
                <a:gridCol w="1232669">
                  <a:extLst>
                    <a:ext uri="{9D8B030D-6E8A-4147-A177-3AD203B41FA5}">
                      <a16:colId xmlns:a16="http://schemas.microsoft.com/office/drawing/2014/main" xmlns="" val="20002"/>
                    </a:ext>
                  </a:extLst>
                </a:gridCol>
                <a:gridCol w="1285597">
                  <a:extLst>
                    <a:ext uri="{9D8B030D-6E8A-4147-A177-3AD203B41FA5}">
                      <a16:colId xmlns:a16="http://schemas.microsoft.com/office/drawing/2014/main" xmlns="" val="20003"/>
                    </a:ext>
                  </a:extLst>
                </a:gridCol>
                <a:gridCol w="1528082">
                  <a:extLst>
                    <a:ext uri="{9D8B030D-6E8A-4147-A177-3AD203B41FA5}">
                      <a16:colId xmlns:a16="http://schemas.microsoft.com/office/drawing/2014/main" xmlns="" val="20004"/>
                    </a:ext>
                  </a:extLst>
                </a:gridCol>
                <a:gridCol w="1300229">
                  <a:extLst>
                    <a:ext uri="{9D8B030D-6E8A-4147-A177-3AD203B41FA5}">
                      <a16:colId xmlns:a16="http://schemas.microsoft.com/office/drawing/2014/main" xmlns="" val="20005"/>
                    </a:ext>
                  </a:extLst>
                </a:gridCol>
              </a:tblGrid>
              <a:tr h="457151">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rgbClr val="001965"/>
                          </a:solidFill>
                          <a:effectLst/>
                          <a:latin typeface="Verdana" pitchFamily="34" charset="0"/>
                          <a:ea typeface="ヒラギノ角ゴ Pro W3"/>
                          <a:cs typeface="ヒラギノ角ゴ Pro W3"/>
                        </a:rPr>
                        <a:t>Trials</a:t>
                      </a:r>
                      <a:endParaRPr kumimoji="0" lang="en-US" sz="1200" b="1"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rgbClr val="FFFFFF"/>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rgbClr val="001965"/>
                          </a:solidFill>
                          <a:effectLst/>
                          <a:latin typeface="Verdana" pitchFamily="34" charset="0"/>
                          <a:ea typeface="ヒラギノ角ゴ Pro W3"/>
                          <a:cs typeface="ヒラギノ角ゴ Pro W3"/>
                        </a:rPr>
                        <a:t>Annual event rate, %</a:t>
                      </a:r>
                      <a:endParaRPr kumimoji="0" lang="en-US" sz="1200" b="1"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horzOverflow="overflow">
                    <a:lnL>
                      <a:noFill/>
                    </a:lnL>
                    <a:lnR>
                      <a:noFill/>
                    </a:lnR>
                    <a:lnT w="12700" cap="flat" cmpd="sng" algn="ctr">
                      <a:solidFill>
                        <a:schemeClr val="accent3"/>
                      </a:solidFill>
                      <a:prstDash val="solid"/>
                      <a:round/>
                      <a:headEnd type="none" w="med" len="med"/>
                      <a:tailEnd type="none" w="med" len="med"/>
                    </a:lnT>
                    <a:lnB>
                      <a:noFill/>
                    </a:lnB>
                    <a:lnTlToBr>
                      <a:noFill/>
                    </a:lnTlToBr>
                    <a:lnBlToTr>
                      <a:noFill/>
                    </a:lnBlToTr>
                    <a:solidFill>
                      <a:srgbClr val="FFFFFF"/>
                    </a:solidFill>
                  </a:tcPr>
                </a:tc>
                <a:tc hMerge="1">
                  <a:txBody>
                    <a:bodyPr/>
                    <a:lstStyle/>
                    <a:p>
                      <a:endParaRPr lang="cs-CZ"/>
                    </a:p>
                  </a:txBody>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1200" b="1" i="0" u="none" strike="noStrike" cap="none" normalizeH="0" baseline="0" dirty="0">
                          <a:ln>
                            <a:noFill/>
                          </a:ln>
                          <a:solidFill>
                            <a:srgbClr val="001965"/>
                          </a:solidFill>
                          <a:effectLst/>
                          <a:latin typeface="Verdana" pitchFamily="34" charset="0"/>
                          <a:ea typeface="ヒラギノ角ゴ Pro W3"/>
                          <a:cs typeface="ヒラギノ角ゴ Pro W3"/>
                        </a:rPr>
                        <a:t>Δ</a:t>
                      </a:r>
                      <a:r>
                        <a:rPr kumimoji="0" lang="en-GB" sz="1200" b="1" i="0" u="none" strike="noStrike" cap="none" normalizeH="0" baseline="0" dirty="0" smtClean="0">
                          <a:ln>
                            <a:noFill/>
                          </a:ln>
                          <a:solidFill>
                            <a:srgbClr val="001965"/>
                          </a:solidFill>
                          <a:effectLst/>
                          <a:latin typeface="Verdana" pitchFamily="34" charset="0"/>
                          <a:ea typeface="ヒラギノ角ゴ Pro W3"/>
                          <a:cs typeface="ヒラギノ角ゴ Pro W3"/>
                        </a:rPr>
                        <a:t>HbA</a:t>
                      </a:r>
                      <a:r>
                        <a:rPr kumimoji="0" lang="en-GB" sz="1200" b="1" i="0" u="none" strike="noStrike" cap="none" normalizeH="0" baseline="-25000" dirty="0" smtClean="0">
                          <a:ln>
                            <a:noFill/>
                          </a:ln>
                          <a:solidFill>
                            <a:srgbClr val="001965"/>
                          </a:solidFill>
                          <a:effectLst/>
                          <a:latin typeface="Verdana" pitchFamily="34" charset="0"/>
                          <a:ea typeface="ヒラギノ角ゴ Pro W3"/>
                          <a:cs typeface="ヒラギノ角ゴ Pro W3"/>
                        </a:rPr>
                        <a:t>1c</a:t>
                      </a:r>
                      <a:endParaRPr kumimoji="0" lang="en-GB" sz="1200" b="1" i="0" u="none" strike="noStrike" cap="none" normalizeH="0" baseline="-25000" dirty="0">
                        <a:ln>
                          <a:noFill/>
                        </a:ln>
                        <a:solidFill>
                          <a:srgbClr val="001965"/>
                        </a:solidFill>
                        <a:effectLst/>
                        <a:latin typeface="Verdana" pitchFamily="34" charset="0"/>
                        <a:ea typeface="ヒラギノ角ゴ Pro W3"/>
                        <a:cs typeface="ヒラギノ角ゴ Pro W3"/>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rgbClr val="001965"/>
                          </a:solidFill>
                          <a:effectLst/>
                          <a:latin typeface="Verdana" pitchFamily="34" charset="0"/>
                          <a:ea typeface="ヒラギノ角ゴ Pro W3"/>
                          <a:cs typeface="ヒラギノ角ゴ Pro W3"/>
                        </a:rPr>
                        <a:t>(%)</a:t>
                      </a:r>
                      <a:endParaRPr kumimoji="0" lang="en-US" sz="1200" b="1"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rgbClr val="FFFFFF"/>
                    </a:solidFill>
                  </a:tcPr>
                </a:tc>
                <a:tc rowSpan="2">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rgbClr val="001965"/>
                          </a:solidFill>
                          <a:effectLst/>
                          <a:latin typeface="Verdana" pitchFamily="34" charset="0"/>
                          <a:ea typeface="ヒラギノ角ゴ Pro W3"/>
                          <a:cs typeface="ヒラギノ角ゴ Pro W3"/>
                        </a:rPr>
                        <a:t>Favours more intensive</a:t>
                      </a:r>
                      <a:endParaRPr kumimoji="0" lang="en-US" sz="1000" b="1"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b"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rgbClr val="FFFFFF"/>
                    </a:solidFill>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rgbClr val="001965"/>
                          </a:solidFill>
                          <a:effectLst/>
                          <a:latin typeface="Verdana" pitchFamily="34" charset="0"/>
                          <a:ea typeface="ヒラギノ角ゴ Pro W3"/>
                          <a:cs typeface="ヒラギノ角ゴ Pro W3"/>
                        </a:rPr>
                        <a:t>Favours less intensive</a:t>
                      </a:r>
                      <a:endParaRPr kumimoji="0" lang="en-US" sz="1000" b="1" i="0" u="none" strike="noStrike" cap="none" normalizeH="0" baseline="0" dirty="0">
                        <a:ln>
                          <a:noFill/>
                        </a:ln>
                        <a:solidFill>
                          <a:srgbClr val="FFFFFF"/>
                        </a:solidFill>
                        <a:effectLst/>
                        <a:latin typeface="Verdana" pitchFamily="34" charset="0"/>
                        <a:ea typeface="ヒラギノ角ゴ Pro W3"/>
                        <a:cs typeface="ヒラギノ角ゴ Pro W3"/>
                      </a:endParaRPr>
                    </a:p>
                  </a:txBody>
                  <a:tcPr marL="91439" marR="91439" marT="45695" marB="45695" anchor="b" horzOverflow="overflow">
                    <a:lnL>
                      <a:noFill/>
                    </a:lnL>
                    <a:lnR>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xmlns="" val="10000"/>
                  </a:ext>
                </a:extLst>
              </a:tr>
              <a:tr h="528126">
                <a:tc vMerge="1">
                  <a:txBody>
                    <a:bodyPr/>
                    <a:lstStyle/>
                    <a:p>
                      <a:endParaRPr lang="cs-CZ"/>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More intensive</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Less intensive</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horzOverflow="overflow">
                    <a:lnL>
                      <a:noFill/>
                    </a:lnL>
                    <a:lnR>
                      <a:noFill/>
                    </a:lnR>
                    <a:lnT>
                      <a:noFill/>
                    </a:lnT>
                    <a:lnB w="12700" cap="flat" cmpd="sng" algn="ctr">
                      <a:solidFill>
                        <a:schemeClr val="accent3"/>
                      </a:solidFill>
                      <a:prstDash val="solid"/>
                      <a:round/>
                      <a:headEnd type="none" w="med" len="med"/>
                      <a:tailEnd type="none" w="med" len="med"/>
                    </a:lnB>
                    <a:lnTlToBr>
                      <a:noFill/>
                    </a:lnTlToBr>
                    <a:lnBlToTr>
                      <a:noFill/>
                    </a:lnBlToTr>
                    <a:solidFill>
                      <a:srgbClr val="FFFFFF"/>
                    </a:solidFill>
                  </a:tcPr>
                </a:tc>
                <a:tc vMerge="1">
                  <a:txBody>
                    <a:bodyPr/>
                    <a:lstStyle/>
                    <a:p>
                      <a:endParaRPr lang="cs-CZ"/>
                    </a:p>
                  </a:txBody>
                  <a:tcPr/>
                </a:tc>
                <a:tc vMerge="1">
                  <a:txBody>
                    <a:bodyPr/>
                    <a:lstStyle/>
                    <a:p>
                      <a:endParaRPr lang="cs-CZ"/>
                    </a:p>
                  </a:txBody>
                  <a:tcPr/>
                </a:tc>
                <a:tc vMerge="1">
                  <a:txBody>
                    <a:bodyPr/>
                    <a:lstStyle/>
                    <a:p>
                      <a:endParaRPr lang="cs-CZ"/>
                    </a:p>
                  </a:txBody>
                  <a:tcPr/>
                </a:tc>
                <a:extLst>
                  <a:ext uri="{0D108BD9-81ED-4DB2-BD59-A6C34878D82A}">
                    <a16:rowId xmlns:a16="http://schemas.microsoft.com/office/drawing/2014/main" xmlns="" val="10001"/>
                  </a:ext>
                </a:extLst>
              </a:tr>
              <a:tr h="292383">
                <a:tc gridSpan="6">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rgbClr val="001965"/>
                          </a:solidFill>
                          <a:effectLst/>
                          <a:latin typeface="Verdana" pitchFamily="34" charset="0"/>
                          <a:ea typeface="ヒラギノ角ゴ Pro W3"/>
                          <a:cs typeface="ヒラギノ角ゴ Pro W3"/>
                        </a:rPr>
                        <a:t>Major cardiac </a:t>
                      </a:r>
                      <a:r>
                        <a:rPr kumimoji="0" lang="en-GB" sz="1200" b="1" i="0" u="none" strike="noStrike" cap="none" normalizeH="0" baseline="0" dirty="0" smtClean="0">
                          <a:ln>
                            <a:noFill/>
                          </a:ln>
                          <a:solidFill>
                            <a:srgbClr val="001965"/>
                          </a:solidFill>
                          <a:effectLst/>
                          <a:latin typeface="Verdana" pitchFamily="34" charset="0"/>
                          <a:ea typeface="ヒラギノ角ゴ Pro W3"/>
                          <a:cs typeface="ヒラギノ角ゴ Pro W3"/>
                        </a:rPr>
                        <a:t>events</a:t>
                      </a:r>
                      <a:r>
                        <a:rPr kumimoji="0" lang="en-GB" sz="1200" b="1" i="0" u="none" strike="noStrike" cap="none" normalizeH="0" baseline="30000" dirty="0" smtClean="0">
                          <a:ln>
                            <a:noFill/>
                          </a:ln>
                          <a:solidFill>
                            <a:srgbClr val="001965"/>
                          </a:solidFill>
                          <a:effectLst/>
                          <a:latin typeface="Verdana" pitchFamily="34" charset="0"/>
                          <a:ea typeface="ヒラギノ角ゴ Pro W3"/>
                          <a:cs typeface="ヒラギノ角ゴ Pro W3"/>
                        </a:rPr>
                        <a:t>1</a:t>
                      </a:r>
                      <a:endParaRPr kumimoji="0" lang="en-US" sz="1200" b="1" i="0" u="none" strike="noStrike" cap="none" normalizeH="0" baseline="30000" dirty="0">
                        <a:ln>
                          <a:noFill/>
                        </a:ln>
                        <a:solidFill>
                          <a:srgbClr val="001965"/>
                        </a:solidFill>
                        <a:effectLst/>
                        <a:latin typeface="Verdana" pitchFamily="34" charset="0"/>
                        <a:ea typeface="ヒラギノ角ゴ Pro W3"/>
                        <a:cs typeface="ヒラギノ角ゴ Pro W3"/>
                      </a:endParaRPr>
                    </a:p>
                  </a:txBody>
                  <a:tcPr marL="91439" marR="91439" marT="45695" marB="45695" horzOverflow="overflow">
                    <a:lnL>
                      <a:noFill/>
                    </a:lnL>
                    <a:lnR>
                      <a:noFill/>
                    </a:lnR>
                    <a:lnT w="12700" cap="flat" cmpd="sng" algn="ctr">
                      <a:solidFill>
                        <a:schemeClr val="accent3"/>
                      </a:solidFill>
                      <a:prstDash val="solid"/>
                      <a:round/>
                      <a:headEnd type="none" w="med" len="med"/>
                      <a:tailEnd type="none" w="med" len="med"/>
                    </a:lnT>
                    <a:lnB>
                      <a:noFill/>
                    </a:lnB>
                    <a:lnTlToBr>
                      <a:noFill/>
                    </a:lnTlToBr>
                    <a:lnBlToTr>
                      <a:noFill/>
                    </a:lnBlToTr>
                    <a:solidFill>
                      <a:srgbClr val="FFFFFF"/>
                    </a:solidFill>
                  </a:tcPr>
                </a:tc>
                <a:tc hMerge="1">
                  <a:txBody>
                    <a:bodyPr/>
                    <a:lstStyle/>
                    <a:p>
                      <a:endParaRPr lang="en-GB"/>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xmlns="" val="10002"/>
                  </a:ext>
                </a:extLst>
              </a:tr>
              <a:tr h="2742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1965"/>
                          </a:solidFill>
                          <a:effectLst/>
                          <a:latin typeface="Verdana" pitchFamily="34" charset="0"/>
                          <a:ea typeface="ヒラギノ角ゴ Pro W3"/>
                          <a:cs typeface="ヒラギノ角ゴ Pro W3"/>
                        </a:rPr>
                        <a:t>ACCORD</a:t>
                      </a:r>
                      <a:r>
                        <a:rPr kumimoji="0" lang="en-GB" sz="1200" b="0" i="0" u="none" strike="noStrike" cap="none" normalizeH="0" baseline="30000" dirty="0" smtClean="0">
                          <a:ln>
                            <a:noFill/>
                          </a:ln>
                          <a:solidFill>
                            <a:srgbClr val="001965"/>
                          </a:solidFill>
                          <a:effectLst/>
                          <a:latin typeface="Verdana" pitchFamily="34" charset="0"/>
                          <a:ea typeface="ヒラギノ角ゴ Pro W3"/>
                          <a:cs typeface="ヒラギノ角ゴ Pro W3"/>
                        </a:rPr>
                        <a:t>1</a:t>
                      </a:r>
                      <a:endParaRPr kumimoji="0" lang="en-US" sz="1200" b="0" i="0" u="none" strike="noStrike" cap="none" normalizeH="0" baseline="3000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chemeClr val="accent6">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2.11</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chemeClr val="accent6">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2.29</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chemeClr val="accent6">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1.01</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w="12700" cap="flat" cmpd="sng" algn="ctr">
                      <a:noFill/>
                      <a:prstDash val="solid"/>
                      <a:round/>
                      <a:headEnd type="none" w="med" len="med"/>
                      <a:tailEnd type="none" w="med" len="med"/>
                    </a:lnR>
                    <a:lnT>
                      <a:noFill/>
                    </a:lnT>
                    <a:lnB>
                      <a:noFill/>
                    </a:lnB>
                    <a:lnTlToBr>
                      <a:noFill/>
                    </a:lnTlToBr>
                    <a:lnBlToTr>
                      <a:noFill/>
                    </a:lnBlToTr>
                    <a:solidFill>
                      <a:schemeClr val="accent6">
                        <a:lumMod val="20000"/>
                        <a:lumOff val="80000"/>
                      </a:schemeClr>
                    </a:solidFill>
                  </a:tcPr>
                </a:tc>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lumMod val="20000"/>
                        <a:lumOff val="80000"/>
                      </a:schemeClr>
                    </a:solidFill>
                  </a:tcPr>
                </a:tc>
                <a:tc hMerge="1">
                  <a:txBody>
                    <a:bodyPr/>
                    <a:lstStyle/>
                    <a:p>
                      <a:endParaRPr lang="cs-CZ"/>
                    </a:p>
                  </a:txBody>
                  <a:tcPr/>
                </a:tc>
                <a:extLst>
                  <a:ext uri="{0D108BD9-81ED-4DB2-BD59-A6C34878D82A}">
                    <a16:rowId xmlns:a16="http://schemas.microsoft.com/office/drawing/2014/main" xmlns="" val="10003"/>
                  </a:ext>
                </a:extLst>
              </a:tr>
              <a:tr h="2742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1965"/>
                          </a:solidFill>
                          <a:effectLst/>
                          <a:latin typeface="Verdana" pitchFamily="34" charset="0"/>
                          <a:ea typeface="ヒラギノ角ゴ Pro W3"/>
                          <a:cs typeface="ヒラギノ角ゴ Pro W3"/>
                        </a:rPr>
                        <a:t>ADVANCE</a:t>
                      </a:r>
                      <a:r>
                        <a:rPr kumimoji="0" lang="en-GB" sz="1200" b="0" i="0" u="none" strike="noStrike" cap="none" normalizeH="0" baseline="30000" dirty="0" smtClean="0">
                          <a:ln>
                            <a:noFill/>
                          </a:ln>
                          <a:solidFill>
                            <a:srgbClr val="001965"/>
                          </a:solidFill>
                          <a:effectLst/>
                          <a:latin typeface="Verdana" pitchFamily="34" charset="0"/>
                          <a:ea typeface="ヒラギノ角ゴ Pro W3"/>
                          <a:cs typeface="ヒラギノ角ゴ Pro W3"/>
                        </a:rPr>
                        <a:t>2</a:t>
                      </a:r>
                      <a:endParaRPr kumimoji="0" lang="en-US" sz="1200" b="0" i="0" u="none" strike="noStrike" cap="none" normalizeH="0" baseline="3000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2.15</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2.28</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0.72</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w="12700" cap="flat" cmpd="sng" algn="ctr">
                      <a:noFill/>
                      <a:prstDash val="solid"/>
                      <a:round/>
                      <a:headEnd type="none" w="med" len="med"/>
                      <a:tailEnd type="none" w="med" len="med"/>
                    </a:lnR>
                    <a:lnT>
                      <a:noFill/>
                    </a:lnT>
                    <a:lnB>
                      <a:noFill/>
                    </a:lnB>
                    <a:lnTlToBr>
                      <a:noFill/>
                    </a:lnTlToBr>
                    <a:lnBlToTr>
                      <a:noFill/>
                    </a:lnBlToTr>
                    <a:solidFill>
                      <a:srgbClr val="FFFFFF"/>
                    </a:solidFill>
                  </a:tcPr>
                </a:tc>
                <a:tc gridSpan="2">
                  <a:txBody>
                    <a:bodyPr/>
                    <a:lstStyle/>
                    <a:p>
                      <a:endParaRPr lang="cs-CZ" sz="1200" dirty="0"/>
                    </a:p>
                  </a:txBody>
                  <a:tcPr marL="91439" marR="91439" marT="45695" marB="456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hMerge="1">
                  <a:txBody>
                    <a:bodyPr/>
                    <a:lstStyle/>
                    <a:p>
                      <a:endParaRPr lang="cs-CZ"/>
                    </a:p>
                  </a:txBody>
                  <a:tcPr/>
                </a:tc>
                <a:extLst>
                  <a:ext uri="{0D108BD9-81ED-4DB2-BD59-A6C34878D82A}">
                    <a16:rowId xmlns:a16="http://schemas.microsoft.com/office/drawing/2014/main" xmlns="" val="10004"/>
                  </a:ext>
                </a:extLst>
              </a:tr>
              <a:tr h="2742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1965"/>
                          </a:solidFill>
                          <a:effectLst/>
                          <a:latin typeface="Verdana" pitchFamily="34" charset="0"/>
                          <a:ea typeface="ヒラギノ角ゴ Pro W3"/>
                          <a:cs typeface="ヒラギノ角ゴ Pro W3"/>
                        </a:rPr>
                        <a:t>UKPDS</a:t>
                      </a:r>
                      <a:r>
                        <a:rPr kumimoji="0" lang="en-GB" sz="1200" b="0" i="0" u="none" strike="noStrike" cap="none" normalizeH="0" baseline="30000" dirty="0" smtClean="0">
                          <a:ln>
                            <a:noFill/>
                          </a:ln>
                          <a:solidFill>
                            <a:srgbClr val="001965"/>
                          </a:solidFill>
                          <a:effectLst/>
                          <a:latin typeface="Verdana" pitchFamily="34" charset="0"/>
                          <a:ea typeface="ヒラギノ角ゴ Pro W3"/>
                          <a:cs typeface="ヒラギノ角ゴ Pro W3"/>
                        </a:rPr>
                        <a:t>3</a:t>
                      </a:r>
                      <a:endParaRPr kumimoji="0" lang="en-US" sz="1200" b="0" i="0" u="none" strike="noStrike" cap="none" normalizeH="0" baseline="3000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chemeClr val="accent6">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1.30</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chemeClr val="accent6">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1.60</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chemeClr val="accent6">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0.66</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w="12700" cap="flat" cmpd="sng" algn="ctr">
                      <a:noFill/>
                      <a:prstDash val="solid"/>
                      <a:round/>
                      <a:headEnd type="none" w="med" len="med"/>
                      <a:tailEnd type="none" w="med" len="med"/>
                    </a:lnR>
                    <a:lnT>
                      <a:noFill/>
                    </a:lnT>
                    <a:lnB>
                      <a:noFill/>
                    </a:lnB>
                    <a:lnTlToBr>
                      <a:noFill/>
                    </a:lnTlToBr>
                    <a:lnBlToTr>
                      <a:noFill/>
                    </a:lnBlToTr>
                    <a:solidFill>
                      <a:schemeClr val="accent6">
                        <a:lumMod val="20000"/>
                        <a:lumOff val="80000"/>
                      </a:schemeClr>
                    </a:solidFill>
                  </a:tcPr>
                </a:tc>
                <a:tc gridSpan="2">
                  <a:txBody>
                    <a:bodyPr/>
                    <a:lstStyle/>
                    <a:p>
                      <a:endParaRPr lang="cs-CZ" sz="1200" dirty="0"/>
                    </a:p>
                  </a:txBody>
                  <a:tcPr marL="91439" marR="91439" marT="45695" marB="456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lumMod val="20000"/>
                        <a:lumOff val="80000"/>
                      </a:schemeClr>
                    </a:solidFill>
                  </a:tcPr>
                </a:tc>
                <a:tc hMerge="1">
                  <a:txBody>
                    <a:bodyPr/>
                    <a:lstStyle/>
                    <a:p>
                      <a:endParaRPr lang="cs-CZ"/>
                    </a:p>
                  </a:txBody>
                  <a:tcPr/>
                </a:tc>
                <a:extLst>
                  <a:ext uri="{0D108BD9-81ED-4DB2-BD59-A6C34878D82A}">
                    <a16:rowId xmlns:a16="http://schemas.microsoft.com/office/drawing/2014/main" xmlns="" val="10005"/>
                  </a:ext>
                </a:extLst>
              </a:tr>
              <a:tr h="2742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1965"/>
                          </a:solidFill>
                          <a:effectLst/>
                          <a:latin typeface="Verdana" pitchFamily="34" charset="0"/>
                          <a:ea typeface="ヒラギノ角ゴ Pro W3"/>
                          <a:cs typeface="ヒラギノ角ゴ Pro W3"/>
                        </a:rPr>
                        <a:t>VADT</a:t>
                      </a:r>
                      <a:r>
                        <a:rPr kumimoji="0" lang="en-GB" sz="1200" b="0" i="0" u="none" strike="noStrike" cap="none" normalizeH="0" baseline="30000" dirty="0" smtClean="0">
                          <a:ln>
                            <a:noFill/>
                          </a:ln>
                          <a:solidFill>
                            <a:srgbClr val="001965"/>
                          </a:solidFill>
                          <a:effectLst/>
                          <a:latin typeface="Verdana" pitchFamily="34" charset="0"/>
                          <a:ea typeface="ヒラギノ角ゴ Pro W3"/>
                          <a:cs typeface="ヒラギノ角ゴ Pro W3"/>
                        </a:rPr>
                        <a:t>4</a:t>
                      </a:r>
                      <a:endParaRPr kumimoji="0" lang="en-US" sz="1200" b="0" i="0" u="none" strike="noStrike" cap="none" normalizeH="0" baseline="3000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2.68</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2.98</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1.16</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w="12700" cap="flat" cmpd="sng" algn="ctr">
                      <a:noFill/>
                      <a:prstDash val="solid"/>
                      <a:round/>
                      <a:headEnd type="none" w="med" len="med"/>
                      <a:tailEnd type="none" w="med" len="med"/>
                    </a:lnR>
                    <a:lnT>
                      <a:noFill/>
                    </a:lnT>
                    <a:lnB>
                      <a:noFill/>
                    </a:lnB>
                    <a:lnTlToBr>
                      <a:noFill/>
                    </a:lnTlToBr>
                    <a:lnBlToTr>
                      <a:noFill/>
                    </a:lnBlToTr>
                    <a:solidFill>
                      <a:srgbClr val="FFFFFF"/>
                    </a:solidFill>
                  </a:tcPr>
                </a:tc>
                <a:tc gridSpan="2">
                  <a:txBody>
                    <a:bodyPr/>
                    <a:lstStyle/>
                    <a:p>
                      <a:endParaRPr lang="cs-CZ" sz="1200" dirty="0"/>
                    </a:p>
                  </a:txBody>
                  <a:tcPr marL="91439" marR="91439" marT="45695" marB="456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solidFill>
                  </a:tcPr>
                </a:tc>
                <a:tc hMerge="1">
                  <a:txBody>
                    <a:bodyPr/>
                    <a:lstStyle/>
                    <a:p>
                      <a:endParaRPr lang="cs-CZ"/>
                    </a:p>
                  </a:txBody>
                  <a:tcPr/>
                </a:tc>
                <a:extLst>
                  <a:ext uri="{0D108BD9-81ED-4DB2-BD59-A6C34878D82A}">
                    <a16:rowId xmlns:a16="http://schemas.microsoft.com/office/drawing/2014/main" xmlns="" val="10006"/>
                  </a:ext>
                </a:extLst>
              </a:tr>
              <a:tr h="46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Overall number </a:t>
                      </a:r>
                      <a:b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b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of events, n</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chemeClr val="accent6">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1194</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chemeClr val="accent6">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1176</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a:noFill/>
                    </a:lnR>
                    <a:lnT>
                      <a:noFill/>
                    </a:lnT>
                    <a:lnB>
                      <a:noFill/>
                    </a:lnB>
                    <a:lnTlToBr>
                      <a:noFill/>
                    </a:lnTlToBr>
                    <a:lnBlToTr>
                      <a:noFill/>
                    </a:lnBlToTr>
                    <a:solidFill>
                      <a:schemeClr val="accent6">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a:ln>
                            <a:noFill/>
                          </a:ln>
                          <a:solidFill>
                            <a:srgbClr val="001965"/>
                          </a:solidFill>
                          <a:effectLst/>
                          <a:latin typeface="Verdana" pitchFamily="34" charset="0"/>
                          <a:ea typeface="ヒラギノ角ゴ Pro W3"/>
                          <a:cs typeface="ヒラギノ角ゴ Pro W3"/>
                        </a:rPr>
                        <a:t>–0.88</a:t>
                      </a:r>
                      <a:endParaRPr kumimoji="0" lang="en-US" sz="1200" b="0" i="0" u="none" strike="noStrike" cap="none" normalizeH="0" baseline="0" dirty="0">
                        <a:ln>
                          <a:noFill/>
                        </a:ln>
                        <a:solidFill>
                          <a:srgbClr val="001965"/>
                        </a:solidFill>
                        <a:effectLst/>
                        <a:latin typeface="Verdana" pitchFamily="34" charset="0"/>
                        <a:ea typeface="ヒラギノ角ゴ Pro W3"/>
                        <a:cs typeface="ヒラギノ角ゴ Pro W3"/>
                      </a:endParaRPr>
                    </a:p>
                  </a:txBody>
                  <a:tcPr marL="91439" marR="91439" marT="45695" marB="45695" anchor="ctr" horzOverflow="overflow">
                    <a:lnL>
                      <a:noFill/>
                    </a:lnL>
                    <a:lnR w="12700" cap="flat" cmpd="sng" algn="ctr">
                      <a:noFill/>
                      <a:prstDash val="solid"/>
                      <a:round/>
                      <a:headEnd type="none" w="med" len="med"/>
                      <a:tailEnd type="none" w="med" len="med"/>
                    </a:lnR>
                    <a:lnT>
                      <a:noFill/>
                    </a:lnT>
                    <a:lnB>
                      <a:noFill/>
                    </a:lnB>
                    <a:lnTlToBr>
                      <a:noFill/>
                    </a:lnTlToBr>
                    <a:lnBlToTr>
                      <a:noFill/>
                    </a:lnBlToTr>
                    <a:solidFill>
                      <a:schemeClr val="accent6">
                        <a:lumMod val="20000"/>
                        <a:lumOff val="80000"/>
                      </a:schemeClr>
                    </a:solidFill>
                  </a:tcPr>
                </a:tc>
                <a:tc gridSpan="2">
                  <a:txBody>
                    <a:bodyPr/>
                    <a:lstStyle/>
                    <a:p>
                      <a:endParaRPr lang="cs-CZ" sz="1200" dirty="0"/>
                    </a:p>
                  </a:txBody>
                  <a:tcPr marL="91439" marR="91439" marT="45695" marB="4569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lumMod val="20000"/>
                        <a:lumOff val="80000"/>
                      </a:schemeClr>
                    </a:solidFill>
                  </a:tcPr>
                </a:tc>
                <a:tc hMerge="1">
                  <a:txBody>
                    <a:bodyPr/>
                    <a:lstStyle/>
                    <a:p>
                      <a:endParaRPr lang="cs-CZ"/>
                    </a:p>
                  </a:txBody>
                  <a:tcPr/>
                </a:tc>
                <a:extLst>
                  <a:ext uri="{0D108BD9-81ED-4DB2-BD59-A6C34878D82A}">
                    <a16:rowId xmlns:a16="http://schemas.microsoft.com/office/drawing/2014/main" xmlns="" val="10007"/>
                  </a:ext>
                </a:extLst>
              </a:tr>
            </a:tbl>
          </a:graphicData>
        </a:graphic>
      </p:graphicFrame>
      <p:sp>
        <p:nvSpPr>
          <p:cNvPr id="118816" name="AutoShape 9"/>
          <p:cNvSpPr>
            <a:spLocks noChangeAspect="1" noChangeArrowheads="1" noTextEdit="1"/>
          </p:cNvSpPr>
          <p:nvPr/>
        </p:nvSpPr>
        <p:spPr bwMode="auto">
          <a:xfrm>
            <a:off x="6320494" y="1597025"/>
            <a:ext cx="2454275" cy="2457450"/>
          </a:xfrm>
          <a:prstGeom prst="rect">
            <a:avLst/>
          </a:prstGeom>
          <a:noFill/>
          <a:ln w="9525">
            <a:noFill/>
            <a:miter lim="800000"/>
            <a:headEnd/>
            <a:tailEnd/>
          </a:ln>
        </p:spPr>
        <p:txBody>
          <a:bodyPr/>
          <a:lstStyle/>
          <a:p>
            <a:pPr defTabSz="914400"/>
            <a:endParaRPr lang="cs-CZ" sz="1800">
              <a:solidFill>
                <a:srgbClr val="001965"/>
              </a:solidFill>
            </a:endParaRPr>
          </a:p>
        </p:txBody>
      </p:sp>
      <p:sp>
        <p:nvSpPr>
          <p:cNvPr id="118817" name="TextBox 63"/>
          <p:cNvSpPr txBox="1">
            <a:spLocks noChangeArrowheads="1"/>
          </p:cNvSpPr>
          <p:nvPr/>
        </p:nvSpPr>
        <p:spPr bwMode="auto">
          <a:xfrm>
            <a:off x="6588782" y="4265631"/>
            <a:ext cx="2168525" cy="276999"/>
          </a:xfrm>
          <a:prstGeom prst="rect">
            <a:avLst/>
          </a:prstGeom>
          <a:noFill/>
          <a:ln w="9525">
            <a:noFill/>
            <a:miter lim="800000"/>
            <a:headEnd/>
            <a:tailEnd/>
          </a:ln>
        </p:spPr>
        <p:txBody>
          <a:bodyPr>
            <a:spAutoFit/>
          </a:bodyPr>
          <a:lstStyle/>
          <a:p>
            <a:pPr defTabSz="914400"/>
            <a:r>
              <a:rPr lang="en-GB" sz="1200" dirty="0">
                <a:solidFill>
                  <a:srgbClr val="001965"/>
                </a:solidFill>
                <a:ea typeface="ヒラギノ角ゴ Pro W3"/>
                <a:cs typeface="ヒラギノ角ゴ Pro W3"/>
              </a:rPr>
              <a:t>Hazard ratio (95% CI)</a:t>
            </a:r>
            <a:endParaRPr lang="en-US" sz="1200" dirty="0">
              <a:solidFill>
                <a:srgbClr val="001965"/>
              </a:solidFill>
              <a:ea typeface="ヒラギノ角ゴ Pro W3"/>
              <a:cs typeface="ヒラギノ角ゴ Pro W3"/>
            </a:endParaRPr>
          </a:p>
        </p:txBody>
      </p:sp>
      <p:sp>
        <p:nvSpPr>
          <p:cNvPr id="118818" name="TextBox 64"/>
          <p:cNvSpPr txBox="1">
            <a:spLocks noChangeArrowheads="1"/>
          </p:cNvSpPr>
          <p:nvPr/>
        </p:nvSpPr>
        <p:spPr bwMode="auto">
          <a:xfrm>
            <a:off x="6147435" y="4048143"/>
            <a:ext cx="501650" cy="276999"/>
          </a:xfrm>
          <a:prstGeom prst="rect">
            <a:avLst/>
          </a:prstGeom>
          <a:noFill/>
          <a:ln w="9525">
            <a:noFill/>
            <a:miter lim="800000"/>
            <a:headEnd/>
            <a:tailEnd/>
          </a:ln>
        </p:spPr>
        <p:txBody>
          <a:bodyPr>
            <a:spAutoFit/>
          </a:bodyPr>
          <a:lstStyle/>
          <a:p>
            <a:pPr defTabSz="914400"/>
            <a:r>
              <a:rPr lang="en-GB" sz="1200" dirty="0">
                <a:solidFill>
                  <a:srgbClr val="001965"/>
                </a:solidFill>
                <a:ea typeface="ヒラギノ角ゴ Pro W3"/>
                <a:cs typeface="ヒラギノ角ゴ Pro W3"/>
              </a:rPr>
              <a:t>0.5</a:t>
            </a:r>
            <a:endParaRPr lang="en-US" sz="1200" dirty="0">
              <a:solidFill>
                <a:srgbClr val="001965"/>
              </a:solidFill>
              <a:ea typeface="ヒラギノ角ゴ Pro W3"/>
              <a:cs typeface="ヒラギノ角ゴ Pro W3"/>
            </a:endParaRPr>
          </a:p>
        </p:txBody>
      </p:sp>
      <p:sp>
        <p:nvSpPr>
          <p:cNvPr id="118819" name="TextBox 65"/>
          <p:cNvSpPr txBox="1">
            <a:spLocks noChangeArrowheads="1"/>
          </p:cNvSpPr>
          <p:nvPr/>
        </p:nvSpPr>
        <p:spPr bwMode="auto">
          <a:xfrm>
            <a:off x="7319010" y="4048143"/>
            <a:ext cx="501650" cy="276999"/>
          </a:xfrm>
          <a:prstGeom prst="rect">
            <a:avLst/>
          </a:prstGeom>
          <a:noFill/>
          <a:ln w="9525">
            <a:noFill/>
            <a:miter lim="800000"/>
            <a:headEnd/>
            <a:tailEnd/>
          </a:ln>
        </p:spPr>
        <p:txBody>
          <a:bodyPr>
            <a:spAutoFit/>
          </a:bodyPr>
          <a:lstStyle/>
          <a:p>
            <a:pPr defTabSz="914400"/>
            <a:r>
              <a:rPr lang="en-GB" sz="1200" dirty="0">
                <a:solidFill>
                  <a:srgbClr val="001965"/>
                </a:solidFill>
                <a:ea typeface="ヒラギノ角ゴ Pro W3"/>
                <a:cs typeface="ヒラギノ角ゴ Pro W3"/>
              </a:rPr>
              <a:t>1.0</a:t>
            </a:r>
            <a:endParaRPr lang="en-US" sz="1200" dirty="0">
              <a:solidFill>
                <a:srgbClr val="001965"/>
              </a:solidFill>
              <a:ea typeface="ヒラギノ角ゴ Pro W3"/>
              <a:cs typeface="ヒラギノ角ゴ Pro W3"/>
            </a:endParaRPr>
          </a:p>
        </p:txBody>
      </p:sp>
      <p:sp>
        <p:nvSpPr>
          <p:cNvPr id="118820" name="TextBox 66"/>
          <p:cNvSpPr txBox="1">
            <a:spLocks noChangeArrowheads="1"/>
          </p:cNvSpPr>
          <p:nvPr/>
        </p:nvSpPr>
        <p:spPr bwMode="auto">
          <a:xfrm>
            <a:off x="8471535" y="4048143"/>
            <a:ext cx="501650" cy="276999"/>
          </a:xfrm>
          <a:prstGeom prst="rect">
            <a:avLst/>
          </a:prstGeom>
          <a:noFill/>
          <a:ln w="9525">
            <a:noFill/>
            <a:miter lim="800000"/>
            <a:headEnd/>
            <a:tailEnd/>
          </a:ln>
        </p:spPr>
        <p:txBody>
          <a:bodyPr>
            <a:spAutoFit/>
          </a:bodyPr>
          <a:lstStyle/>
          <a:p>
            <a:pPr defTabSz="914400"/>
            <a:r>
              <a:rPr lang="en-GB" sz="1200" dirty="0">
                <a:solidFill>
                  <a:srgbClr val="001965"/>
                </a:solidFill>
                <a:ea typeface="ヒラギノ角ゴ Pro W3"/>
                <a:cs typeface="ヒラギノ角ゴ Pro W3"/>
              </a:rPr>
              <a:t>2.0</a:t>
            </a:r>
            <a:endParaRPr lang="en-US" sz="1200" dirty="0">
              <a:solidFill>
                <a:srgbClr val="001965"/>
              </a:solidFill>
              <a:ea typeface="ヒラギノ角ゴ Pro W3"/>
              <a:cs typeface="ヒラギノ角ゴ Pro W3"/>
            </a:endParaRPr>
          </a:p>
        </p:txBody>
      </p:sp>
      <p:grpSp>
        <p:nvGrpSpPr>
          <p:cNvPr id="118823" name="Group 62"/>
          <p:cNvGrpSpPr>
            <a:grpSpLocks/>
          </p:cNvGrpSpPr>
          <p:nvPr/>
        </p:nvGrpSpPr>
        <p:grpSpPr bwMode="auto">
          <a:xfrm>
            <a:off x="6382406" y="2095504"/>
            <a:ext cx="2339975" cy="1951820"/>
            <a:chOff x="4874307" y="2793907"/>
            <a:chExt cx="2340000" cy="2602009"/>
          </a:xfrm>
        </p:grpSpPr>
        <p:sp>
          <p:nvSpPr>
            <p:cNvPr id="118825" name="Freeform 11"/>
            <p:cNvSpPr>
              <a:spLocks/>
            </p:cNvSpPr>
            <p:nvPr/>
          </p:nvSpPr>
          <p:spPr bwMode="auto">
            <a:xfrm>
              <a:off x="5786438" y="4395779"/>
              <a:ext cx="142875" cy="139700"/>
            </a:xfrm>
            <a:custGeom>
              <a:avLst/>
              <a:gdLst>
                <a:gd name="T0" fmla="*/ 2147483647 w 90"/>
                <a:gd name="T1" fmla="*/ 2147483647 h 88"/>
                <a:gd name="T2" fmla="*/ 0 w 90"/>
                <a:gd name="T3" fmla="*/ 2147483647 h 88"/>
                <a:gd name="T4" fmla="*/ 0 w 90"/>
                <a:gd name="T5" fmla="*/ 0 h 88"/>
                <a:gd name="T6" fmla="*/ 2147483647 w 90"/>
                <a:gd name="T7" fmla="*/ 0 h 88"/>
                <a:gd name="T8" fmla="*/ 2147483647 w 90"/>
                <a:gd name="T9" fmla="*/ 2147483647 h 88"/>
                <a:gd name="T10" fmla="*/ 2147483647 w 90"/>
                <a:gd name="T11" fmla="*/ 2147483647 h 88"/>
                <a:gd name="T12" fmla="*/ 0 60000 65536"/>
                <a:gd name="T13" fmla="*/ 0 60000 65536"/>
                <a:gd name="T14" fmla="*/ 0 60000 65536"/>
                <a:gd name="T15" fmla="*/ 0 60000 65536"/>
                <a:gd name="T16" fmla="*/ 0 60000 65536"/>
                <a:gd name="T17" fmla="*/ 0 60000 65536"/>
                <a:gd name="T18" fmla="*/ 0 w 90"/>
                <a:gd name="T19" fmla="*/ 0 h 88"/>
                <a:gd name="T20" fmla="*/ 90 w 90"/>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90" h="88">
                  <a:moveTo>
                    <a:pt x="90" y="88"/>
                  </a:moveTo>
                  <a:lnTo>
                    <a:pt x="0" y="88"/>
                  </a:lnTo>
                  <a:lnTo>
                    <a:pt x="0" y="0"/>
                  </a:lnTo>
                  <a:lnTo>
                    <a:pt x="90" y="0"/>
                  </a:lnTo>
                  <a:lnTo>
                    <a:pt x="90" y="86"/>
                  </a:lnTo>
                  <a:lnTo>
                    <a:pt x="90" y="88"/>
                  </a:lnTo>
                  <a:close/>
                </a:path>
              </a:pathLst>
            </a:custGeom>
            <a:solidFill>
              <a:schemeClr val="tx1"/>
            </a:solidFill>
            <a:ln w="9525">
              <a:noFill/>
              <a:round/>
              <a:headEnd/>
              <a:tailEnd/>
            </a:ln>
          </p:spPr>
          <p:txBody>
            <a:bodyPr/>
            <a:lstStyle/>
            <a:p>
              <a:pPr defTabSz="914400"/>
              <a:endParaRPr lang="cs-CZ" sz="1800">
                <a:solidFill>
                  <a:srgbClr val="001965"/>
                </a:solidFill>
              </a:endParaRPr>
            </a:p>
          </p:txBody>
        </p:sp>
        <p:sp>
          <p:nvSpPr>
            <p:cNvPr id="118826" name="Freeform 12"/>
            <p:cNvSpPr>
              <a:spLocks/>
            </p:cNvSpPr>
            <p:nvPr/>
          </p:nvSpPr>
          <p:spPr bwMode="auto">
            <a:xfrm>
              <a:off x="5780088" y="4392605"/>
              <a:ext cx="155575" cy="153988"/>
            </a:xfrm>
            <a:custGeom>
              <a:avLst/>
              <a:gdLst>
                <a:gd name="T0" fmla="*/ 2147483647 w 98"/>
                <a:gd name="T1" fmla="*/ 0 h 97"/>
                <a:gd name="T2" fmla="*/ 2147483647 w 98"/>
                <a:gd name="T3" fmla="*/ 2147483647 h 97"/>
                <a:gd name="T4" fmla="*/ 0 w 98"/>
                <a:gd name="T5" fmla="*/ 2147483647 h 97"/>
                <a:gd name="T6" fmla="*/ 0 w 98"/>
                <a:gd name="T7" fmla="*/ 0 h 97"/>
                <a:gd name="T8" fmla="*/ 2147483647 w 98"/>
                <a:gd name="T9" fmla="*/ 0 h 97"/>
                <a:gd name="T10" fmla="*/ 2147483647 w 98"/>
                <a:gd name="T11" fmla="*/ 0 h 97"/>
                <a:gd name="T12" fmla="*/ 2147483647 w 98"/>
                <a:gd name="T13" fmla="*/ 2147483647 h 97"/>
                <a:gd name="T14" fmla="*/ 2147483647 w 98"/>
                <a:gd name="T15" fmla="*/ 2147483647 h 97"/>
                <a:gd name="T16" fmla="*/ 2147483647 w 98"/>
                <a:gd name="T17" fmla="*/ 2147483647 h 97"/>
                <a:gd name="T18" fmla="*/ 2147483647 w 98"/>
                <a:gd name="T19" fmla="*/ 2147483647 h 97"/>
                <a:gd name="T20" fmla="*/ 2147483647 w 98"/>
                <a:gd name="T21" fmla="*/ 2147483647 h 97"/>
                <a:gd name="T22" fmla="*/ 2147483647 w 98"/>
                <a:gd name="T23" fmla="*/ 0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97"/>
                <a:gd name="T38" fmla="*/ 98 w 98"/>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97">
                  <a:moveTo>
                    <a:pt x="98" y="0"/>
                  </a:moveTo>
                  <a:lnTo>
                    <a:pt x="98" y="97"/>
                  </a:lnTo>
                  <a:lnTo>
                    <a:pt x="0" y="97"/>
                  </a:lnTo>
                  <a:lnTo>
                    <a:pt x="0" y="0"/>
                  </a:lnTo>
                  <a:lnTo>
                    <a:pt x="96" y="0"/>
                  </a:lnTo>
                  <a:lnTo>
                    <a:pt x="98" y="0"/>
                  </a:lnTo>
                  <a:lnTo>
                    <a:pt x="90" y="8"/>
                  </a:lnTo>
                  <a:lnTo>
                    <a:pt x="8" y="8"/>
                  </a:lnTo>
                  <a:lnTo>
                    <a:pt x="8" y="88"/>
                  </a:lnTo>
                  <a:lnTo>
                    <a:pt x="90" y="88"/>
                  </a:lnTo>
                  <a:lnTo>
                    <a:pt x="90" y="8"/>
                  </a:lnTo>
                  <a:lnTo>
                    <a:pt x="98" y="0"/>
                  </a:lnTo>
                  <a:close/>
                </a:path>
              </a:pathLst>
            </a:custGeom>
            <a:solidFill>
              <a:schemeClr val="accent2"/>
            </a:solidFill>
            <a:ln w="9525">
              <a:noFill/>
              <a:round/>
              <a:headEnd/>
              <a:tailEnd/>
            </a:ln>
          </p:spPr>
          <p:txBody>
            <a:bodyPr/>
            <a:lstStyle/>
            <a:p>
              <a:pPr defTabSz="914400"/>
              <a:endParaRPr lang="cs-CZ" sz="1800">
                <a:solidFill>
                  <a:srgbClr val="001965"/>
                </a:solidFill>
              </a:endParaRPr>
            </a:p>
          </p:txBody>
        </p:sp>
        <p:sp>
          <p:nvSpPr>
            <p:cNvPr id="118827" name="Freeform 13"/>
            <p:cNvSpPr>
              <a:spLocks/>
            </p:cNvSpPr>
            <p:nvPr/>
          </p:nvSpPr>
          <p:spPr bwMode="auto">
            <a:xfrm>
              <a:off x="5595938" y="4035426"/>
              <a:ext cx="127000" cy="127000"/>
            </a:xfrm>
            <a:custGeom>
              <a:avLst/>
              <a:gdLst>
                <a:gd name="T0" fmla="*/ 2147483647 w 80"/>
                <a:gd name="T1" fmla="*/ 2147483647 h 80"/>
                <a:gd name="T2" fmla="*/ 0 w 80"/>
                <a:gd name="T3" fmla="*/ 2147483647 h 80"/>
                <a:gd name="T4" fmla="*/ 0 w 80"/>
                <a:gd name="T5" fmla="*/ 0 h 80"/>
                <a:gd name="T6" fmla="*/ 2147483647 w 80"/>
                <a:gd name="T7" fmla="*/ 0 h 80"/>
                <a:gd name="T8" fmla="*/ 2147483647 w 80"/>
                <a:gd name="T9" fmla="*/ 2147483647 h 80"/>
                <a:gd name="T10" fmla="*/ 2147483647 w 80"/>
                <a:gd name="T11" fmla="*/ 2147483647 h 80"/>
                <a:gd name="T12" fmla="*/ 0 60000 65536"/>
                <a:gd name="T13" fmla="*/ 0 60000 65536"/>
                <a:gd name="T14" fmla="*/ 0 60000 65536"/>
                <a:gd name="T15" fmla="*/ 0 60000 65536"/>
                <a:gd name="T16" fmla="*/ 0 60000 65536"/>
                <a:gd name="T17" fmla="*/ 0 60000 65536"/>
                <a:gd name="T18" fmla="*/ 0 w 80"/>
                <a:gd name="T19" fmla="*/ 0 h 80"/>
                <a:gd name="T20" fmla="*/ 80 w 8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0" h="80">
                  <a:moveTo>
                    <a:pt x="80" y="80"/>
                  </a:moveTo>
                  <a:lnTo>
                    <a:pt x="0" y="80"/>
                  </a:lnTo>
                  <a:lnTo>
                    <a:pt x="0" y="0"/>
                  </a:lnTo>
                  <a:lnTo>
                    <a:pt x="80" y="0"/>
                  </a:lnTo>
                  <a:lnTo>
                    <a:pt x="80" y="78"/>
                  </a:lnTo>
                  <a:lnTo>
                    <a:pt x="80" y="80"/>
                  </a:lnTo>
                  <a:close/>
                </a:path>
              </a:pathLst>
            </a:custGeom>
            <a:solidFill>
              <a:schemeClr val="tx1"/>
            </a:solidFill>
            <a:ln w="9525">
              <a:noFill/>
              <a:round/>
              <a:headEnd/>
              <a:tailEnd/>
            </a:ln>
          </p:spPr>
          <p:txBody>
            <a:bodyPr/>
            <a:lstStyle/>
            <a:p>
              <a:pPr defTabSz="914400"/>
              <a:endParaRPr lang="cs-CZ" sz="1800">
                <a:solidFill>
                  <a:srgbClr val="001965"/>
                </a:solidFill>
              </a:endParaRPr>
            </a:p>
          </p:txBody>
        </p:sp>
        <p:sp>
          <p:nvSpPr>
            <p:cNvPr id="118828" name="Freeform 14"/>
            <p:cNvSpPr>
              <a:spLocks/>
            </p:cNvSpPr>
            <p:nvPr/>
          </p:nvSpPr>
          <p:spPr bwMode="auto">
            <a:xfrm>
              <a:off x="5589588" y="4038598"/>
              <a:ext cx="139700" cy="139700"/>
            </a:xfrm>
            <a:custGeom>
              <a:avLst/>
              <a:gdLst>
                <a:gd name="T0" fmla="*/ 2147483647 w 88"/>
                <a:gd name="T1" fmla="*/ 0 h 88"/>
                <a:gd name="T2" fmla="*/ 2147483647 w 88"/>
                <a:gd name="T3" fmla="*/ 2147483647 h 88"/>
                <a:gd name="T4" fmla="*/ 0 w 88"/>
                <a:gd name="T5" fmla="*/ 2147483647 h 88"/>
                <a:gd name="T6" fmla="*/ 0 w 88"/>
                <a:gd name="T7" fmla="*/ 0 h 88"/>
                <a:gd name="T8" fmla="*/ 2147483647 w 88"/>
                <a:gd name="T9" fmla="*/ 0 h 88"/>
                <a:gd name="T10" fmla="*/ 2147483647 w 88"/>
                <a:gd name="T11" fmla="*/ 0 h 88"/>
                <a:gd name="T12" fmla="*/ 2147483647 w 88"/>
                <a:gd name="T13" fmla="*/ 2147483647 h 88"/>
                <a:gd name="T14" fmla="*/ 2147483647 w 88"/>
                <a:gd name="T15" fmla="*/ 2147483647 h 88"/>
                <a:gd name="T16" fmla="*/ 2147483647 w 88"/>
                <a:gd name="T17" fmla="*/ 2147483647 h 88"/>
                <a:gd name="T18" fmla="*/ 2147483647 w 88"/>
                <a:gd name="T19" fmla="*/ 2147483647 h 88"/>
                <a:gd name="T20" fmla="*/ 2147483647 w 88"/>
                <a:gd name="T21" fmla="*/ 2147483647 h 88"/>
                <a:gd name="T22" fmla="*/ 2147483647 w 88"/>
                <a:gd name="T23" fmla="*/ 0 h 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88"/>
                <a:gd name="T38" fmla="*/ 88 w 88"/>
                <a:gd name="T39" fmla="*/ 88 h 8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88">
                  <a:moveTo>
                    <a:pt x="88" y="0"/>
                  </a:moveTo>
                  <a:lnTo>
                    <a:pt x="88" y="88"/>
                  </a:lnTo>
                  <a:lnTo>
                    <a:pt x="0" y="88"/>
                  </a:lnTo>
                  <a:lnTo>
                    <a:pt x="0" y="0"/>
                  </a:lnTo>
                  <a:lnTo>
                    <a:pt x="86" y="0"/>
                  </a:lnTo>
                  <a:lnTo>
                    <a:pt x="88" y="0"/>
                  </a:lnTo>
                  <a:lnTo>
                    <a:pt x="80" y="8"/>
                  </a:lnTo>
                  <a:lnTo>
                    <a:pt x="8" y="8"/>
                  </a:lnTo>
                  <a:lnTo>
                    <a:pt x="8" y="80"/>
                  </a:lnTo>
                  <a:lnTo>
                    <a:pt x="80" y="80"/>
                  </a:lnTo>
                  <a:lnTo>
                    <a:pt x="80" y="8"/>
                  </a:lnTo>
                  <a:lnTo>
                    <a:pt x="88" y="0"/>
                  </a:lnTo>
                  <a:close/>
                </a:path>
              </a:pathLst>
            </a:custGeom>
            <a:solidFill>
              <a:schemeClr val="accent2"/>
            </a:solidFill>
            <a:ln w="9525">
              <a:noFill/>
              <a:round/>
              <a:headEnd/>
              <a:tailEnd/>
            </a:ln>
          </p:spPr>
          <p:txBody>
            <a:bodyPr/>
            <a:lstStyle/>
            <a:p>
              <a:pPr defTabSz="914400"/>
              <a:endParaRPr lang="cs-CZ" sz="1800">
                <a:solidFill>
                  <a:srgbClr val="001965"/>
                </a:solidFill>
              </a:endParaRPr>
            </a:p>
          </p:txBody>
        </p:sp>
        <p:sp>
          <p:nvSpPr>
            <p:cNvPr id="118829" name="Freeform 15"/>
            <p:cNvSpPr>
              <a:spLocks/>
            </p:cNvSpPr>
            <p:nvPr/>
          </p:nvSpPr>
          <p:spPr bwMode="auto">
            <a:xfrm>
              <a:off x="5799138" y="3606809"/>
              <a:ext cx="260350" cy="260350"/>
            </a:xfrm>
            <a:custGeom>
              <a:avLst/>
              <a:gdLst>
                <a:gd name="T0" fmla="*/ 2147483647 w 164"/>
                <a:gd name="T1" fmla="*/ 2147483647 h 164"/>
                <a:gd name="T2" fmla="*/ 0 w 164"/>
                <a:gd name="T3" fmla="*/ 2147483647 h 164"/>
                <a:gd name="T4" fmla="*/ 0 w 164"/>
                <a:gd name="T5" fmla="*/ 0 h 164"/>
                <a:gd name="T6" fmla="*/ 2147483647 w 164"/>
                <a:gd name="T7" fmla="*/ 0 h 164"/>
                <a:gd name="T8" fmla="*/ 2147483647 w 164"/>
                <a:gd name="T9" fmla="*/ 2147483647 h 164"/>
                <a:gd name="T10" fmla="*/ 2147483647 w 164"/>
                <a:gd name="T11" fmla="*/ 2147483647 h 164"/>
                <a:gd name="T12" fmla="*/ 0 60000 65536"/>
                <a:gd name="T13" fmla="*/ 0 60000 65536"/>
                <a:gd name="T14" fmla="*/ 0 60000 65536"/>
                <a:gd name="T15" fmla="*/ 0 60000 65536"/>
                <a:gd name="T16" fmla="*/ 0 60000 65536"/>
                <a:gd name="T17" fmla="*/ 0 60000 65536"/>
                <a:gd name="T18" fmla="*/ 0 w 164"/>
                <a:gd name="T19" fmla="*/ 0 h 164"/>
                <a:gd name="T20" fmla="*/ 164 w 164"/>
                <a:gd name="T21" fmla="*/ 164 h 164"/>
              </a:gdLst>
              <a:ahLst/>
              <a:cxnLst>
                <a:cxn ang="T12">
                  <a:pos x="T0" y="T1"/>
                </a:cxn>
                <a:cxn ang="T13">
                  <a:pos x="T2" y="T3"/>
                </a:cxn>
                <a:cxn ang="T14">
                  <a:pos x="T4" y="T5"/>
                </a:cxn>
                <a:cxn ang="T15">
                  <a:pos x="T6" y="T7"/>
                </a:cxn>
                <a:cxn ang="T16">
                  <a:pos x="T8" y="T9"/>
                </a:cxn>
                <a:cxn ang="T17">
                  <a:pos x="T10" y="T11"/>
                </a:cxn>
              </a:cxnLst>
              <a:rect l="T18" t="T19" r="T20" b="T21"/>
              <a:pathLst>
                <a:path w="164" h="164">
                  <a:moveTo>
                    <a:pt x="164" y="164"/>
                  </a:moveTo>
                  <a:lnTo>
                    <a:pt x="0" y="164"/>
                  </a:lnTo>
                  <a:lnTo>
                    <a:pt x="0" y="0"/>
                  </a:lnTo>
                  <a:lnTo>
                    <a:pt x="164" y="0"/>
                  </a:lnTo>
                  <a:lnTo>
                    <a:pt x="164" y="162"/>
                  </a:lnTo>
                  <a:lnTo>
                    <a:pt x="164" y="164"/>
                  </a:lnTo>
                  <a:close/>
                </a:path>
              </a:pathLst>
            </a:custGeom>
            <a:solidFill>
              <a:schemeClr val="tx1"/>
            </a:solidFill>
            <a:ln w="9525">
              <a:noFill/>
              <a:round/>
              <a:headEnd/>
              <a:tailEnd/>
            </a:ln>
          </p:spPr>
          <p:txBody>
            <a:bodyPr/>
            <a:lstStyle/>
            <a:p>
              <a:pPr defTabSz="914400"/>
              <a:endParaRPr lang="cs-CZ" sz="1800">
                <a:solidFill>
                  <a:srgbClr val="001965"/>
                </a:solidFill>
              </a:endParaRPr>
            </a:p>
          </p:txBody>
        </p:sp>
        <p:sp>
          <p:nvSpPr>
            <p:cNvPr id="118830" name="Freeform 16"/>
            <p:cNvSpPr>
              <a:spLocks/>
            </p:cNvSpPr>
            <p:nvPr/>
          </p:nvSpPr>
          <p:spPr bwMode="auto">
            <a:xfrm>
              <a:off x="5792788" y="3603639"/>
              <a:ext cx="273050" cy="274638"/>
            </a:xfrm>
            <a:custGeom>
              <a:avLst/>
              <a:gdLst>
                <a:gd name="T0" fmla="*/ 2147483647 w 172"/>
                <a:gd name="T1" fmla="*/ 0 h 173"/>
                <a:gd name="T2" fmla="*/ 2147483647 w 172"/>
                <a:gd name="T3" fmla="*/ 2147483647 h 173"/>
                <a:gd name="T4" fmla="*/ 0 w 172"/>
                <a:gd name="T5" fmla="*/ 2147483647 h 173"/>
                <a:gd name="T6" fmla="*/ 0 w 172"/>
                <a:gd name="T7" fmla="*/ 0 h 173"/>
                <a:gd name="T8" fmla="*/ 2147483647 w 172"/>
                <a:gd name="T9" fmla="*/ 0 h 173"/>
                <a:gd name="T10" fmla="*/ 2147483647 w 172"/>
                <a:gd name="T11" fmla="*/ 0 h 173"/>
                <a:gd name="T12" fmla="*/ 2147483647 w 172"/>
                <a:gd name="T13" fmla="*/ 2147483647 h 173"/>
                <a:gd name="T14" fmla="*/ 2147483647 w 172"/>
                <a:gd name="T15" fmla="*/ 2147483647 h 173"/>
                <a:gd name="T16" fmla="*/ 2147483647 w 172"/>
                <a:gd name="T17" fmla="*/ 2147483647 h 173"/>
                <a:gd name="T18" fmla="*/ 2147483647 w 172"/>
                <a:gd name="T19" fmla="*/ 2147483647 h 173"/>
                <a:gd name="T20" fmla="*/ 2147483647 w 172"/>
                <a:gd name="T21" fmla="*/ 2147483647 h 173"/>
                <a:gd name="T22" fmla="*/ 2147483647 w 172"/>
                <a:gd name="T23" fmla="*/ 0 h 1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2"/>
                <a:gd name="T37" fmla="*/ 0 h 173"/>
                <a:gd name="T38" fmla="*/ 172 w 172"/>
                <a:gd name="T39" fmla="*/ 173 h 1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2" h="173">
                  <a:moveTo>
                    <a:pt x="172" y="0"/>
                  </a:moveTo>
                  <a:lnTo>
                    <a:pt x="172" y="173"/>
                  </a:lnTo>
                  <a:lnTo>
                    <a:pt x="0" y="173"/>
                  </a:lnTo>
                  <a:lnTo>
                    <a:pt x="0" y="0"/>
                  </a:lnTo>
                  <a:lnTo>
                    <a:pt x="170" y="0"/>
                  </a:lnTo>
                  <a:lnTo>
                    <a:pt x="172" y="0"/>
                  </a:lnTo>
                  <a:lnTo>
                    <a:pt x="164" y="8"/>
                  </a:lnTo>
                  <a:lnTo>
                    <a:pt x="8" y="8"/>
                  </a:lnTo>
                  <a:lnTo>
                    <a:pt x="8" y="164"/>
                  </a:lnTo>
                  <a:lnTo>
                    <a:pt x="164" y="164"/>
                  </a:lnTo>
                  <a:lnTo>
                    <a:pt x="164" y="8"/>
                  </a:lnTo>
                  <a:lnTo>
                    <a:pt x="172" y="0"/>
                  </a:lnTo>
                  <a:close/>
                </a:path>
              </a:pathLst>
            </a:custGeom>
            <a:solidFill>
              <a:schemeClr val="accent2"/>
            </a:solidFill>
            <a:ln w="9525">
              <a:noFill/>
              <a:round/>
              <a:headEnd/>
              <a:tailEnd/>
            </a:ln>
          </p:spPr>
          <p:txBody>
            <a:bodyPr/>
            <a:lstStyle/>
            <a:p>
              <a:pPr defTabSz="914400"/>
              <a:endParaRPr lang="cs-CZ" sz="1800">
                <a:solidFill>
                  <a:srgbClr val="001965"/>
                </a:solidFill>
              </a:endParaRPr>
            </a:p>
          </p:txBody>
        </p:sp>
        <p:sp>
          <p:nvSpPr>
            <p:cNvPr id="118831" name="Freeform 17"/>
            <p:cNvSpPr>
              <a:spLocks/>
            </p:cNvSpPr>
            <p:nvPr/>
          </p:nvSpPr>
          <p:spPr bwMode="auto">
            <a:xfrm>
              <a:off x="5745163" y="3267090"/>
              <a:ext cx="234950" cy="220663"/>
            </a:xfrm>
            <a:custGeom>
              <a:avLst/>
              <a:gdLst>
                <a:gd name="T0" fmla="*/ 2147483647 w 148"/>
                <a:gd name="T1" fmla="*/ 2147483647 h 139"/>
                <a:gd name="T2" fmla="*/ 0 w 148"/>
                <a:gd name="T3" fmla="*/ 2147483647 h 139"/>
                <a:gd name="T4" fmla="*/ 0 w 148"/>
                <a:gd name="T5" fmla="*/ 0 h 139"/>
                <a:gd name="T6" fmla="*/ 2147483647 w 148"/>
                <a:gd name="T7" fmla="*/ 0 h 139"/>
                <a:gd name="T8" fmla="*/ 2147483647 w 148"/>
                <a:gd name="T9" fmla="*/ 2147483647 h 139"/>
                <a:gd name="T10" fmla="*/ 2147483647 w 148"/>
                <a:gd name="T11" fmla="*/ 2147483647 h 139"/>
                <a:gd name="T12" fmla="*/ 0 60000 65536"/>
                <a:gd name="T13" fmla="*/ 0 60000 65536"/>
                <a:gd name="T14" fmla="*/ 0 60000 65536"/>
                <a:gd name="T15" fmla="*/ 0 60000 65536"/>
                <a:gd name="T16" fmla="*/ 0 60000 65536"/>
                <a:gd name="T17" fmla="*/ 0 60000 65536"/>
                <a:gd name="T18" fmla="*/ 0 w 148"/>
                <a:gd name="T19" fmla="*/ 0 h 139"/>
                <a:gd name="T20" fmla="*/ 148 w 14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48" h="139">
                  <a:moveTo>
                    <a:pt x="148" y="139"/>
                  </a:moveTo>
                  <a:lnTo>
                    <a:pt x="0" y="139"/>
                  </a:lnTo>
                  <a:lnTo>
                    <a:pt x="0" y="0"/>
                  </a:lnTo>
                  <a:lnTo>
                    <a:pt x="148" y="0"/>
                  </a:lnTo>
                  <a:lnTo>
                    <a:pt x="148" y="137"/>
                  </a:lnTo>
                  <a:lnTo>
                    <a:pt x="148" y="139"/>
                  </a:lnTo>
                  <a:close/>
                </a:path>
              </a:pathLst>
            </a:custGeom>
            <a:solidFill>
              <a:schemeClr val="tx1"/>
            </a:solidFill>
            <a:ln w="9525">
              <a:noFill/>
              <a:round/>
              <a:headEnd/>
              <a:tailEnd/>
            </a:ln>
          </p:spPr>
          <p:txBody>
            <a:bodyPr/>
            <a:lstStyle/>
            <a:p>
              <a:pPr defTabSz="914400"/>
              <a:endParaRPr lang="cs-CZ" sz="1800">
                <a:solidFill>
                  <a:srgbClr val="001965"/>
                </a:solidFill>
              </a:endParaRPr>
            </a:p>
          </p:txBody>
        </p:sp>
        <p:sp>
          <p:nvSpPr>
            <p:cNvPr id="118832" name="Freeform 18"/>
            <p:cNvSpPr>
              <a:spLocks/>
            </p:cNvSpPr>
            <p:nvPr/>
          </p:nvSpPr>
          <p:spPr bwMode="auto">
            <a:xfrm>
              <a:off x="5738813" y="3260740"/>
              <a:ext cx="247650" cy="233363"/>
            </a:xfrm>
            <a:custGeom>
              <a:avLst/>
              <a:gdLst>
                <a:gd name="T0" fmla="*/ 2147483647 w 156"/>
                <a:gd name="T1" fmla="*/ 0 h 147"/>
                <a:gd name="T2" fmla="*/ 2147483647 w 156"/>
                <a:gd name="T3" fmla="*/ 2147483647 h 147"/>
                <a:gd name="T4" fmla="*/ 0 w 156"/>
                <a:gd name="T5" fmla="*/ 2147483647 h 147"/>
                <a:gd name="T6" fmla="*/ 0 w 156"/>
                <a:gd name="T7" fmla="*/ 0 h 147"/>
                <a:gd name="T8" fmla="*/ 2147483647 w 156"/>
                <a:gd name="T9" fmla="*/ 0 h 147"/>
                <a:gd name="T10" fmla="*/ 2147483647 w 156"/>
                <a:gd name="T11" fmla="*/ 0 h 147"/>
                <a:gd name="T12" fmla="*/ 2147483647 w 156"/>
                <a:gd name="T13" fmla="*/ 2147483647 h 147"/>
                <a:gd name="T14" fmla="*/ 2147483647 w 156"/>
                <a:gd name="T15" fmla="*/ 2147483647 h 147"/>
                <a:gd name="T16" fmla="*/ 2147483647 w 156"/>
                <a:gd name="T17" fmla="*/ 2147483647 h 147"/>
                <a:gd name="T18" fmla="*/ 2147483647 w 156"/>
                <a:gd name="T19" fmla="*/ 2147483647 h 147"/>
                <a:gd name="T20" fmla="*/ 2147483647 w 156"/>
                <a:gd name="T21" fmla="*/ 2147483647 h 147"/>
                <a:gd name="T22" fmla="*/ 2147483647 w 156"/>
                <a:gd name="T23" fmla="*/ 0 h 1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147"/>
                <a:gd name="T38" fmla="*/ 156 w 156"/>
                <a:gd name="T39" fmla="*/ 147 h 1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147">
                  <a:moveTo>
                    <a:pt x="156" y="0"/>
                  </a:moveTo>
                  <a:lnTo>
                    <a:pt x="156" y="147"/>
                  </a:lnTo>
                  <a:lnTo>
                    <a:pt x="0" y="147"/>
                  </a:lnTo>
                  <a:lnTo>
                    <a:pt x="0" y="0"/>
                  </a:lnTo>
                  <a:lnTo>
                    <a:pt x="154" y="0"/>
                  </a:lnTo>
                  <a:lnTo>
                    <a:pt x="156" y="0"/>
                  </a:lnTo>
                  <a:lnTo>
                    <a:pt x="148" y="8"/>
                  </a:lnTo>
                  <a:lnTo>
                    <a:pt x="8" y="8"/>
                  </a:lnTo>
                  <a:lnTo>
                    <a:pt x="8" y="139"/>
                  </a:lnTo>
                  <a:lnTo>
                    <a:pt x="148" y="139"/>
                  </a:lnTo>
                  <a:lnTo>
                    <a:pt x="148" y="8"/>
                  </a:lnTo>
                  <a:lnTo>
                    <a:pt x="156" y="0"/>
                  </a:lnTo>
                  <a:close/>
                </a:path>
              </a:pathLst>
            </a:custGeom>
            <a:solidFill>
              <a:schemeClr val="accent2"/>
            </a:solidFill>
            <a:ln w="9525">
              <a:noFill/>
              <a:round/>
              <a:headEnd/>
              <a:tailEnd/>
            </a:ln>
          </p:spPr>
          <p:txBody>
            <a:bodyPr/>
            <a:lstStyle/>
            <a:p>
              <a:pPr defTabSz="914400"/>
              <a:endParaRPr lang="cs-CZ" sz="1800">
                <a:solidFill>
                  <a:srgbClr val="001965"/>
                </a:solidFill>
              </a:endParaRPr>
            </a:p>
          </p:txBody>
        </p:sp>
        <p:sp>
          <p:nvSpPr>
            <p:cNvPr id="118833" name="Line 19"/>
            <p:cNvSpPr>
              <a:spLocks noChangeShapeType="1"/>
            </p:cNvSpPr>
            <p:nvPr/>
          </p:nvSpPr>
          <p:spPr bwMode="auto">
            <a:xfrm>
              <a:off x="4874307" y="5289556"/>
              <a:ext cx="2340000" cy="0"/>
            </a:xfrm>
            <a:prstGeom prst="line">
              <a:avLst/>
            </a:prstGeom>
            <a:noFill/>
            <a:ln w="19050">
              <a:solidFill>
                <a:srgbClr val="001965"/>
              </a:solidFill>
              <a:round/>
              <a:headEnd/>
              <a:tailEnd/>
            </a:ln>
          </p:spPr>
          <p:txBody>
            <a:bodyPr/>
            <a:lstStyle/>
            <a:p>
              <a:pPr defTabSz="914400"/>
              <a:endParaRPr lang="cs-CZ" sz="1800">
                <a:solidFill>
                  <a:srgbClr val="001965"/>
                </a:solidFill>
              </a:endParaRPr>
            </a:p>
          </p:txBody>
        </p:sp>
        <p:sp>
          <p:nvSpPr>
            <p:cNvPr id="118834" name="Line 20"/>
            <p:cNvSpPr>
              <a:spLocks noChangeShapeType="1"/>
            </p:cNvSpPr>
            <p:nvPr/>
          </p:nvSpPr>
          <p:spPr bwMode="auto">
            <a:xfrm>
              <a:off x="7208838" y="5295903"/>
              <a:ext cx="0" cy="100013"/>
            </a:xfrm>
            <a:prstGeom prst="line">
              <a:avLst/>
            </a:prstGeom>
            <a:noFill/>
            <a:ln w="19050">
              <a:solidFill>
                <a:schemeClr val="tx1"/>
              </a:solidFill>
              <a:round/>
              <a:headEnd/>
              <a:tailEnd/>
            </a:ln>
          </p:spPr>
          <p:txBody>
            <a:bodyPr/>
            <a:lstStyle/>
            <a:p>
              <a:pPr defTabSz="914400"/>
              <a:endParaRPr lang="cs-CZ" sz="1800">
                <a:solidFill>
                  <a:srgbClr val="001965"/>
                </a:solidFill>
              </a:endParaRPr>
            </a:p>
          </p:txBody>
        </p:sp>
        <p:sp>
          <p:nvSpPr>
            <p:cNvPr id="118835" name="Line 22"/>
            <p:cNvSpPr>
              <a:spLocks noChangeShapeType="1"/>
            </p:cNvSpPr>
            <p:nvPr/>
          </p:nvSpPr>
          <p:spPr bwMode="auto">
            <a:xfrm>
              <a:off x="4881563" y="5289556"/>
              <a:ext cx="0" cy="100013"/>
            </a:xfrm>
            <a:prstGeom prst="line">
              <a:avLst/>
            </a:prstGeom>
            <a:noFill/>
            <a:ln w="19050">
              <a:solidFill>
                <a:schemeClr val="tx1"/>
              </a:solidFill>
              <a:round/>
              <a:headEnd/>
              <a:tailEnd/>
            </a:ln>
          </p:spPr>
          <p:txBody>
            <a:bodyPr/>
            <a:lstStyle/>
            <a:p>
              <a:pPr defTabSz="914400"/>
              <a:endParaRPr lang="cs-CZ" sz="1800">
                <a:solidFill>
                  <a:srgbClr val="001965"/>
                </a:solidFill>
              </a:endParaRPr>
            </a:p>
          </p:txBody>
        </p:sp>
        <p:sp>
          <p:nvSpPr>
            <p:cNvPr id="118836" name="Line 23"/>
            <p:cNvSpPr>
              <a:spLocks noChangeShapeType="1"/>
            </p:cNvSpPr>
            <p:nvPr/>
          </p:nvSpPr>
          <p:spPr bwMode="auto">
            <a:xfrm>
              <a:off x="5624513" y="3375042"/>
              <a:ext cx="501650" cy="1588"/>
            </a:xfrm>
            <a:prstGeom prst="line">
              <a:avLst/>
            </a:prstGeom>
            <a:noFill/>
            <a:ln w="12700">
              <a:solidFill>
                <a:schemeClr val="tx1"/>
              </a:solidFill>
              <a:round/>
              <a:headEnd/>
              <a:tailEnd/>
            </a:ln>
          </p:spPr>
          <p:txBody>
            <a:bodyPr/>
            <a:lstStyle/>
            <a:p>
              <a:pPr defTabSz="914400"/>
              <a:endParaRPr lang="cs-CZ" sz="1800">
                <a:solidFill>
                  <a:srgbClr val="001965"/>
                </a:solidFill>
              </a:endParaRPr>
            </a:p>
          </p:txBody>
        </p:sp>
        <p:sp>
          <p:nvSpPr>
            <p:cNvPr id="118837" name="Line 24"/>
            <p:cNvSpPr>
              <a:spLocks noChangeShapeType="1"/>
            </p:cNvSpPr>
            <p:nvPr/>
          </p:nvSpPr>
          <p:spPr bwMode="auto">
            <a:xfrm>
              <a:off x="5738813" y="3741748"/>
              <a:ext cx="396875" cy="1588"/>
            </a:xfrm>
            <a:prstGeom prst="line">
              <a:avLst/>
            </a:prstGeom>
            <a:noFill/>
            <a:ln w="12700">
              <a:solidFill>
                <a:schemeClr val="tx1"/>
              </a:solidFill>
              <a:round/>
              <a:headEnd/>
              <a:tailEnd/>
            </a:ln>
          </p:spPr>
          <p:txBody>
            <a:bodyPr/>
            <a:lstStyle/>
            <a:p>
              <a:pPr defTabSz="914400"/>
              <a:endParaRPr lang="cs-CZ" sz="1800">
                <a:solidFill>
                  <a:srgbClr val="001965"/>
                </a:solidFill>
              </a:endParaRPr>
            </a:p>
          </p:txBody>
        </p:sp>
        <p:sp>
          <p:nvSpPr>
            <p:cNvPr id="118838" name="Line 25"/>
            <p:cNvSpPr>
              <a:spLocks noChangeShapeType="1"/>
            </p:cNvSpPr>
            <p:nvPr/>
          </p:nvSpPr>
          <p:spPr bwMode="auto">
            <a:xfrm>
              <a:off x="5230813" y="4106866"/>
              <a:ext cx="879475" cy="1588"/>
            </a:xfrm>
            <a:prstGeom prst="line">
              <a:avLst/>
            </a:prstGeom>
            <a:noFill/>
            <a:ln w="12700">
              <a:solidFill>
                <a:schemeClr val="tx1"/>
              </a:solidFill>
              <a:round/>
              <a:headEnd/>
              <a:tailEnd/>
            </a:ln>
          </p:spPr>
          <p:txBody>
            <a:bodyPr/>
            <a:lstStyle/>
            <a:p>
              <a:pPr defTabSz="914400"/>
              <a:endParaRPr lang="cs-CZ" sz="1800">
                <a:solidFill>
                  <a:srgbClr val="001965"/>
                </a:solidFill>
              </a:endParaRPr>
            </a:p>
          </p:txBody>
        </p:sp>
        <p:sp>
          <p:nvSpPr>
            <p:cNvPr id="118839" name="Line 26"/>
            <p:cNvSpPr>
              <a:spLocks noChangeShapeType="1"/>
            </p:cNvSpPr>
            <p:nvPr/>
          </p:nvSpPr>
          <p:spPr bwMode="auto">
            <a:xfrm>
              <a:off x="5453063" y="4465630"/>
              <a:ext cx="844550" cy="1588"/>
            </a:xfrm>
            <a:prstGeom prst="line">
              <a:avLst/>
            </a:prstGeom>
            <a:noFill/>
            <a:ln w="12700">
              <a:solidFill>
                <a:schemeClr val="tx1"/>
              </a:solidFill>
              <a:round/>
              <a:headEnd/>
              <a:tailEnd/>
            </a:ln>
          </p:spPr>
          <p:txBody>
            <a:bodyPr/>
            <a:lstStyle/>
            <a:p>
              <a:pPr defTabSz="914400"/>
              <a:endParaRPr lang="cs-CZ" sz="1800">
                <a:solidFill>
                  <a:srgbClr val="001965"/>
                </a:solidFill>
              </a:endParaRPr>
            </a:p>
          </p:txBody>
        </p:sp>
        <p:sp>
          <p:nvSpPr>
            <p:cNvPr id="118840" name="Freeform 27"/>
            <p:cNvSpPr>
              <a:spLocks/>
            </p:cNvSpPr>
            <p:nvPr/>
          </p:nvSpPr>
          <p:spPr bwMode="auto">
            <a:xfrm>
              <a:off x="5751513" y="4868845"/>
              <a:ext cx="250825" cy="174625"/>
            </a:xfrm>
            <a:custGeom>
              <a:avLst/>
              <a:gdLst>
                <a:gd name="T0" fmla="*/ 2147483647 w 158"/>
                <a:gd name="T1" fmla="*/ 2147483647 h 110"/>
                <a:gd name="T2" fmla="*/ 0 w 158"/>
                <a:gd name="T3" fmla="*/ 2147483647 h 110"/>
                <a:gd name="T4" fmla="*/ 2147483647 w 158"/>
                <a:gd name="T5" fmla="*/ 0 h 110"/>
                <a:gd name="T6" fmla="*/ 2147483647 w 158"/>
                <a:gd name="T7" fmla="*/ 2147483647 h 110"/>
                <a:gd name="T8" fmla="*/ 2147483647 w 158"/>
                <a:gd name="T9" fmla="*/ 2147483647 h 110"/>
                <a:gd name="T10" fmla="*/ 2147483647 w 158"/>
                <a:gd name="T11" fmla="*/ 2147483647 h 110"/>
                <a:gd name="T12" fmla="*/ 0 60000 65536"/>
                <a:gd name="T13" fmla="*/ 0 60000 65536"/>
                <a:gd name="T14" fmla="*/ 0 60000 65536"/>
                <a:gd name="T15" fmla="*/ 0 60000 65536"/>
                <a:gd name="T16" fmla="*/ 0 60000 65536"/>
                <a:gd name="T17" fmla="*/ 0 60000 65536"/>
                <a:gd name="T18" fmla="*/ 0 w 158"/>
                <a:gd name="T19" fmla="*/ 0 h 110"/>
                <a:gd name="T20" fmla="*/ 158 w 158"/>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158" h="110">
                  <a:moveTo>
                    <a:pt x="80" y="110"/>
                  </a:moveTo>
                  <a:lnTo>
                    <a:pt x="0" y="55"/>
                  </a:lnTo>
                  <a:lnTo>
                    <a:pt x="78" y="0"/>
                  </a:lnTo>
                  <a:lnTo>
                    <a:pt x="158" y="55"/>
                  </a:lnTo>
                  <a:lnTo>
                    <a:pt x="82" y="110"/>
                  </a:lnTo>
                  <a:lnTo>
                    <a:pt x="80" y="110"/>
                  </a:lnTo>
                  <a:close/>
                </a:path>
              </a:pathLst>
            </a:custGeom>
            <a:solidFill>
              <a:schemeClr val="accent2"/>
            </a:solidFill>
            <a:ln w="9525">
              <a:noFill/>
              <a:round/>
              <a:headEnd/>
              <a:tailEnd/>
            </a:ln>
          </p:spPr>
          <p:txBody>
            <a:bodyPr/>
            <a:lstStyle/>
            <a:p>
              <a:pPr defTabSz="914400"/>
              <a:endParaRPr lang="cs-CZ" sz="1800">
                <a:solidFill>
                  <a:srgbClr val="001965"/>
                </a:solidFill>
              </a:endParaRPr>
            </a:p>
          </p:txBody>
        </p:sp>
        <p:sp>
          <p:nvSpPr>
            <p:cNvPr id="118841" name="Freeform 28"/>
            <p:cNvSpPr>
              <a:spLocks/>
            </p:cNvSpPr>
            <p:nvPr/>
          </p:nvSpPr>
          <p:spPr bwMode="auto">
            <a:xfrm>
              <a:off x="5738813" y="4862492"/>
              <a:ext cx="276225" cy="187326"/>
            </a:xfrm>
            <a:custGeom>
              <a:avLst/>
              <a:gdLst>
                <a:gd name="T0" fmla="*/ 2147483647 w 174"/>
                <a:gd name="T1" fmla="*/ 0 h 118"/>
                <a:gd name="T2" fmla="*/ 2147483647 w 174"/>
                <a:gd name="T3" fmla="*/ 2147483647 h 118"/>
                <a:gd name="T4" fmla="*/ 2147483647 w 174"/>
                <a:gd name="T5" fmla="*/ 2147483647 h 118"/>
                <a:gd name="T6" fmla="*/ 0 w 174"/>
                <a:gd name="T7" fmla="*/ 2147483647 h 118"/>
                <a:gd name="T8" fmla="*/ 2147483647 w 174"/>
                <a:gd name="T9" fmla="*/ 0 h 118"/>
                <a:gd name="T10" fmla="*/ 2147483647 w 174"/>
                <a:gd name="T11" fmla="*/ 0 h 118"/>
                <a:gd name="T12" fmla="*/ 2147483647 w 174"/>
                <a:gd name="T13" fmla="*/ 2147483647 h 118"/>
                <a:gd name="T14" fmla="*/ 2147483647 w 174"/>
                <a:gd name="T15" fmla="*/ 2147483647 h 118"/>
                <a:gd name="T16" fmla="*/ 2147483647 w 174"/>
                <a:gd name="T17" fmla="*/ 2147483647 h 118"/>
                <a:gd name="T18" fmla="*/ 2147483647 w 174"/>
                <a:gd name="T19" fmla="*/ 2147483647 h 118"/>
                <a:gd name="T20" fmla="*/ 2147483647 w 174"/>
                <a:gd name="T21" fmla="*/ 2147483647 h 118"/>
                <a:gd name="T22" fmla="*/ 2147483647 w 174"/>
                <a:gd name="T23" fmla="*/ 0 h 1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
                <a:gd name="T37" fmla="*/ 0 h 118"/>
                <a:gd name="T38" fmla="*/ 174 w 174"/>
                <a:gd name="T39" fmla="*/ 118 h 1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 h="118">
                  <a:moveTo>
                    <a:pt x="88" y="0"/>
                  </a:moveTo>
                  <a:lnTo>
                    <a:pt x="174" y="59"/>
                  </a:lnTo>
                  <a:lnTo>
                    <a:pt x="88" y="118"/>
                  </a:lnTo>
                  <a:lnTo>
                    <a:pt x="0" y="59"/>
                  </a:lnTo>
                  <a:lnTo>
                    <a:pt x="86" y="0"/>
                  </a:lnTo>
                  <a:lnTo>
                    <a:pt x="88" y="0"/>
                  </a:lnTo>
                  <a:lnTo>
                    <a:pt x="86" y="11"/>
                  </a:lnTo>
                  <a:lnTo>
                    <a:pt x="14" y="59"/>
                  </a:lnTo>
                  <a:lnTo>
                    <a:pt x="88" y="110"/>
                  </a:lnTo>
                  <a:lnTo>
                    <a:pt x="158" y="59"/>
                  </a:lnTo>
                  <a:lnTo>
                    <a:pt x="86" y="11"/>
                  </a:lnTo>
                  <a:lnTo>
                    <a:pt x="88" y="0"/>
                  </a:lnTo>
                  <a:close/>
                </a:path>
              </a:pathLst>
            </a:custGeom>
            <a:solidFill>
              <a:schemeClr val="accent2"/>
            </a:solidFill>
            <a:ln w="9525">
              <a:noFill/>
              <a:round/>
              <a:headEnd/>
              <a:tailEnd/>
            </a:ln>
          </p:spPr>
          <p:txBody>
            <a:bodyPr/>
            <a:lstStyle/>
            <a:p>
              <a:pPr defTabSz="914400"/>
              <a:endParaRPr lang="cs-CZ" sz="1800">
                <a:solidFill>
                  <a:srgbClr val="001965"/>
                </a:solidFill>
              </a:endParaRPr>
            </a:p>
          </p:txBody>
        </p:sp>
        <p:sp>
          <p:nvSpPr>
            <p:cNvPr id="118842" name="Line 60"/>
            <p:cNvSpPr>
              <a:spLocks noChangeShapeType="1"/>
            </p:cNvSpPr>
            <p:nvPr/>
          </p:nvSpPr>
          <p:spPr bwMode="auto">
            <a:xfrm>
              <a:off x="6045200" y="2793907"/>
              <a:ext cx="0" cy="2591583"/>
            </a:xfrm>
            <a:prstGeom prst="line">
              <a:avLst/>
            </a:prstGeom>
            <a:noFill/>
            <a:ln w="19050">
              <a:solidFill>
                <a:srgbClr val="001965"/>
              </a:solidFill>
              <a:round/>
              <a:headEnd/>
              <a:tailEnd/>
            </a:ln>
          </p:spPr>
          <p:txBody>
            <a:bodyPr/>
            <a:lstStyle/>
            <a:p>
              <a:pPr defTabSz="914400"/>
              <a:endParaRPr lang="cs-CZ" sz="1800">
                <a:solidFill>
                  <a:srgbClr val="001965"/>
                </a:solidFill>
              </a:endParaRPr>
            </a:p>
          </p:txBody>
        </p:sp>
        <p:cxnSp>
          <p:nvCxnSpPr>
            <p:cNvPr id="62" name="Straight Connector 61"/>
            <p:cNvCxnSpPr/>
            <p:nvPr/>
          </p:nvCxnSpPr>
          <p:spPr>
            <a:xfrm flipH="1" flipV="1">
              <a:off x="5890477" y="2800246"/>
              <a:ext cx="0" cy="2149126"/>
            </a:xfrm>
            <a:prstGeom prst="line">
              <a:avLst/>
            </a:prstGeom>
            <a:ln w="19050">
              <a:solidFill>
                <a:srgbClr val="001965"/>
              </a:solidFill>
              <a:prstDash val="sysDot"/>
            </a:ln>
          </p:spPr>
          <p:style>
            <a:lnRef idx="1">
              <a:schemeClr val="accent1"/>
            </a:lnRef>
            <a:fillRef idx="0">
              <a:schemeClr val="accent1"/>
            </a:fillRef>
            <a:effectRef idx="0">
              <a:schemeClr val="accent1"/>
            </a:effectRef>
            <a:fontRef idx="minor">
              <a:schemeClr val="tx1"/>
            </a:fontRef>
          </p:style>
        </p:cxnSp>
      </p:grpSp>
      <p:sp>
        <p:nvSpPr>
          <p:cNvPr id="2" name="Obdélník 1"/>
          <p:cNvSpPr/>
          <p:nvPr/>
        </p:nvSpPr>
        <p:spPr>
          <a:xfrm>
            <a:off x="510987" y="1587734"/>
            <a:ext cx="8364071" cy="1815882"/>
          </a:xfrm>
          <a:prstGeom prst="rect">
            <a:avLst/>
          </a:prstGeom>
          <a:solidFill>
            <a:schemeClr val="accent1"/>
          </a:solidFill>
        </p:spPr>
        <p:txBody>
          <a:bodyPr wrap="square">
            <a:spAutoFit/>
          </a:bodyPr>
          <a:lstStyle/>
          <a:p>
            <a:r>
              <a:rPr lang="cs-CZ" altLang="en-US" sz="2800" dirty="0" smtClean="0">
                <a:solidFill>
                  <a:srgbClr val="000000"/>
                </a:solidFill>
                <a:ea typeface="Calibri" panose="020F0502020204030204" pitchFamily="34" charset="0"/>
                <a:cs typeface="Calibri" panose="020F0502020204030204" pitchFamily="34" charset="0"/>
              </a:rPr>
              <a:t>Koncept „metabolické paměti“: </a:t>
            </a:r>
            <a:r>
              <a:rPr lang="cs-CZ" altLang="en-US" sz="2800" dirty="0" err="1">
                <a:solidFill>
                  <a:srgbClr val="000000"/>
                </a:solidFill>
                <a:ea typeface="Calibri" panose="020F0502020204030204" pitchFamily="34" charset="0"/>
                <a:cs typeface="Calibri" panose="020F0502020204030204" pitchFamily="34" charset="0"/>
              </a:rPr>
              <a:t>antidiabetická</a:t>
            </a:r>
            <a:r>
              <a:rPr lang="cs-CZ" altLang="en-US" sz="2800" dirty="0">
                <a:solidFill>
                  <a:srgbClr val="000000"/>
                </a:solidFill>
                <a:ea typeface="Calibri" panose="020F0502020204030204" pitchFamily="34" charset="0"/>
                <a:cs typeface="Calibri" panose="020F0502020204030204" pitchFamily="34" charset="0"/>
              </a:rPr>
              <a:t> léčba sníží KV riziko jen je-li </a:t>
            </a:r>
            <a:r>
              <a:rPr lang="cs-CZ" altLang="en-US" sz="2800" dirty="0" smtClean="0">
                <a:solidFill>
                  <a:srgbClr val="000000"/>
                </a:solidFill>
                <a:ea typeface="Calibri" panose="020F0502020204030204" pitchFamily="34" charset="0"/>
                <a:cs typeface="Calibri" panose="020F0502020204030204" pitchFamily="34" charset="0"/>
              </a:rPr>
              <a:t>uspokojivé </a:t>
            </a:r>
            <a:r>
              <a:rPr lang="cs-CZ" altLang="en-US" sz="2800" dirty="0">
                <a:solidFill>
                  <a:srgbClr val="000000"/>
                </a:solidFill>
                <a:ea typeface="Calibri" panose="020F0502020204030204" pitchFamily="34" charset="0"/>
                <a:cs typeface="Calibri" panose="020F0502020204030204" pitchFamily="34" charset="0"/>
              </a:rPr>
              <a:t>kompenzace dosaženo těsně po dg. DM </a:t>
            </a:r>
            <a:r>
              <a:rPr lang="en-GB" altLang="en-US" sz="2800" dirty="0">
                <a:solidFill>
                  <a:srgbClr val="000000"/>
                </a:solidFill>
                <a:ea typeface="Calibri" panose="020F0502020204030204" pitchFamily="34" charset="0"/>
                <a:cs typeface="Calibri" panose="020F0502020204030204" pitchFamily="34" charset="0"/>
              </a:rPr>
              <a:t>(UKPDS)</a:t>
            </a:r>
            <a:endParaRPr lang="cs-CZ" sz="2400" dirty="0"/>
          </a:p>
        </p:txBody>
      </p:sp>
    </p:spTree>
    <p:extLst>
      <p:ext uri="{BB962C8B-B14F-4D97-AF65-F5344CB8AC3E}">
        <p14:creationId xmlns:p14="http://schemas.microsoft.com/office/powerpoint/2010/main" val="86923868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TextBox 6"/>
          <p:cNvSpPr txBox="1">
            <a:spLocks noChangeArrowheads="1"/>
          </p:cNvSpPr>
          <p:nvPr/>
        </p:nvSpPr>
        <p:spPr bwMode="auto">
          <a:xfrm>
            <a:off x="230194" y="4754564"/>
            <a:ext cx="64293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a:spcBef>
                <a:spcPct val="0"/>
              </a:spcBef>
              <a:buClrTx/>
              <a:buFontTx/>
              <a:buNone/>
            </a:pPr>
            <a:endParaRPr lang="en-GB" altLang="en-US" sz="800" dirty="0">
              <a:solidFill>
                <a:srgbClr val="8B7D70"/>
              </a:solidFill>
            </a:endParaRPr>
          </a:p>
          <a:p>
            <a:pPr defTabSz="914400">
              <a:spcBef>
                <a:spcPct val="0"/>
              </a:spcBef>
              <a:buClrTx/>
              <a:buFontTx/>
              <a:buNone/>
            </a:pPr>
            <a:r>
              <a:rPr lang="en-GB" altLang="en-US" sz="800" dirty="0">
                <a:solidFill>
                  <a:srgbClr val="8B7D70"/>
                </a:solidFill>
              </a:rPr>
              <a:t>Nissen SE et al. </a:t>
            </a:r>
            <a:r>
              <a:rPr lang="en-GB" altLang="en-US" sz="800" i="1" dirty="0">
                <a:solidFill>
                  <a:srgbClr val="8B7D70"/>
                </a:solidFill>
              </a:rPr>
              <a:t>N Engl J Med </a:t>
            </a:r>
            <a:r>
              <a:rPr lang="en-GB" altLang="en-US" sz="800" dirty="0">
                <a:solidFill>
                  <a:srgbClr val="8B7D70"/>
                </a:solidFill>
              </a:rPr>
              <a:t>2007;156:2457–2471.</a:t>
            </a:r>
            <a:r>
              <a:rPr lang="en-GB" altLang="en-US" sz="800" i="1" dirty="0">
                <a:solidFill>
                  <a:srgbClr val="8B7D70"/>
                </a:solidFill>
              </a:rPr>
              <a:t> </a:t>
            </a:r>
            <a:endParaRPr lang="en-US" altLang="en-US" sz="800" i="1" dirty="0">
              <a:solidFill>
                <a:srgbClr val="8B7D70"/>
              </a:solidFill>
            </a:endParaRPr>
          </a:p>
        </p:txBody>
      </p:sp>
      <p:pic>
        <p:nvPicPr>
          <p:cNvPr id="10" name="Picture 4"/>
          <p:cNvPicPr>
            <a:picLocks noGrp="1" noChangeArrowheads="1"/>
          </p:cNvPicPr>
          <p:nvPr>
            <p:ph idx="1"/>
          </p:nvPr>
        </p:nvPicPr>
        <p:blipFill>
          <a:blip r:embed="rId3"/>
          <a:srcRect/>
          <a:stretch>
            <a:fillRect/>
          </a:stretch>
        </p:blipFill>
        <p:spPr>
          <a:xfrm>
            <a:off x="633444" y="1111254"/>
            <a:ext cx="2560637" cy="3594100"/>
          </a:xfrm>
          <a:effectLst>
            <a:outerShdw blurRad="292100" dist="139700" dir="2700000" algn="tl" rotWithShape="0">
              <a:srgbClr val="333333">
                <a:alpha val="65000"/>
              </a:srgbClr>
            </a:outerShdw>
          </a:effectLst>
          <a:extLst>
            <a:ext uri="{91240B29-F687-4F45-9708-019B960494DF}">
              <a14:hiddenLine xmlns:a14="http://schemas.microsoft.com/office/drawing/2010/main" w="34925">
                <a:solidFill>
                  <a:srgbClr val="000000"/>
                </a:solidFill>
                <a:miter lim="800000"/>
                <a:headEnd/>
                <a:tailEnd/>
              </a14:hiddenLine>
            </a:ext>
          </a:extLst>
        </p:spPr>
      </p:pic>
      <p:sp>
        <p:nvSpPr>
          <p:cNvPr id="65541" name="Rectangle 5"/>
          <p:cNvSpPr>
            <a:spLocks noChangeArrowheads="1"/>
          </p:cNvSpPr>
          <p:nvPr/>
        </p:nvSpPr>
        <p:spPr bwMode="auto">
          <a:xfrm>
            <a:off x="4530726" y="1455740"/>
            <a:ext cx="4127500" cy="2771775"/>
          </a:xfrm>
          <a:prstGeom prst="roundRect">
            <a:avLst>
              <a:gd name="adj" fmla="val 16667"/>
            </a:avLst>
          </a:prstGeom>
          <a:solidFill>
            <a:srgbClr val="E0DED8"/>
          </a:solidFill>
          <a:ln w="12700">
            <a:solidFill>
              <a:schemeClr val="tx1"/>
            </a:solidFill>
            <a:round/>
            <a:headEnd/>
            <a:tailEnd/>
          </a:ln>
        </p:spPr>
        <p:txBody>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a:spcBef>
                <a:spcPct val="0"/>
              </a:spcBef>
              <a:buClrTx/>
              <a:buFontTx/>
              <a:buNone/>
            </a:pPr>
            <a:r>
              <a:rPr lang="en-GB" altLang="en-US" sz="2000" i="1" dirty="0">
                <a:solidFill>
                  <a:srgbClr val="001965"/>
                </a:solidFill>
              </a:rPr>
              <a:t>“Rosiglitazone was associated with a significant increase in the risk of myocardial infarction and with an increase in the risk of death from cardiovascular causes that had borderline significance.”</a:t>
            </a:r>
          </a:p>
        </p:txBody>
      </p:sp>
      <p:sp>
        <p:nvSpPr>
          <p:cNvPr id="12" name="Rectangle 6"/>
          <p:cNvSpPr>
            <a:spLocks noChangeArrowheads="1"/>
          </p:cNvSpPr>
          <p:nvPr/>
        </p:nvSpPr>
        <p:spPr bwMode="auto">
          <a:xfrm>
            <a:off x="619130" y="3754491"/>
            <a:ext cx="2574925" cy="303212"/>
          </a:xfrm>
          <a:prstGeom prst="roundRect">
            <a:avLst/>
          </a:prstGeom>
          <a:noFill/>
          <a:ln>
            <a:solidFill>
              <a:schemeClr val="tx2"/>
            </a:solidFill>
            <a:headEnd/>
            <a:tailEnd/>
          </a:ln>
          <a:extLst/>
        </p:spPr>
        <p:style>
          <a:lnRef idx="2">
            <a:schemeClr val="accent2"/>
          </a:lnRef>
          <a:fillRef idx="1">
            <a:schemeClr val="lt1"/>
          </a:fillRef>
          <a:effectRef idx="0">
            <a:schemeClr val="accent2"/>
          </a:effectRef>
          <a:fontRef idx="minor">
            <a:schemeClr val="dk1"/>
          </a:fontRef>
        </p:style>
        <p:txBody>
          <a:bodyPr wrap="none" anchor="ctr">
            <a:normAutofit fontScale="77500" lnSpcReduction="20000"/>
          </a:bodyPr>
          <a:lstStyle/>
          <a:p>
            <a:pPr defTabSz="914400">
              <a:defRPr/>
            </a:pPr>
            <a:endParaRPr lang="en-GB" sz="1800" dirty="0">
              <a:solidFill>
                <a:srgbClr val="001965"/>
              </a:solidFill>
            </a:endParaRPr>
          </a:p>
        </p:txBody>
      </p:sp>
      <p:cxnSp>
        <p:nvCxnSpPr>
          <p:cNvPr id="13" name="AutoShape 10"/>
          <p:cNvCxnSpPr>
            <a:cxnSpLocks noChangeShapeType="1"/>
          </p:cNvCxnSpPr>
          <p:nvPr/>
        </p:nvCxnSpPr>
        <p:spPr bwMode="auto">
          <a:xfrm flipV="1">
            <a:off x="3194105" y="3022605"/>
            <a:ext cx="1336675" cy="862013"/>
          </a:xfrm>
          <a:prstGeom prst="straightConnector1">
            <a:avLst/>
          </a:prstGeom>
          <a:ln>
            <a:solidFill>
              <a:schemeClr val="tx2"/>
            </a:solidFill>
            <a:headEnd/>
            <a:tailEnd/>
          </a:ln>
          <a:extLst/>
        </p:spPr>
        <p:style>
          <a:lnRef idx="2">
            <a:schemeClr val="dk1"/>
          </a:lnRef>
          <a:fillRef idx="0">
            <a:schemeClr val="dk1"/>
          </a:fillRef>
          <a:effectRef idx="1">
            <a:schemeClr val="dk1"/>
          </a:effectRef>
          <a:fontRef idx="minor">
            <a:schemeClr val="tx1"/>
          </a:fontRef>
        </p:style>
      </p:cxnSp>
      <p:sp>
        <p:nvSpPr>
          <p:cNvPr id="8" name="Nadpis 2"/>
          <p:cNvSpPr txBox="1">
            <a:spLocks/>
          </p:cNvSpPr>
          <p:nvPr/>
        </p:nvSpPr>
        <p:spPr bwMode="auto">
          <a:xfrm>
            <a:off x="306526" y="196972"/>
            <a:ext cx="8510400" cy="39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Verdana" pitchFamily="34" charset="0"/>
              </a:defRPr>
            </a:lvl2pPr>
            <a:lvl3pPr algn="l" rtl="0" eaLnBrk="0" fontAlgn="base" hangingPunct="0">
              <a:spcBef>
                <a:spcPct val="0"/>
              </a:spcBef>
              <a:spcAft>
                <a:spcPct val="0"/>
              </a:spcAft>
              <a:defRPr sz="2400" b="1">
                <a:solidFill>
                  <a:schemeClr val="accent2"/>
                </a:solidFill>
                <a:latin typeface="Verdana" pitchFamily="34" charset="0"/>
              </a:defRPr>
            </a:lvl3pPr>
            <a:lvl4pPr algn="l" rtl="0" eaLnBrk="0" fontAlgn="base" hangingPunct="0">
              <a:spcBef>
                <a:spcPct val="0"/>
              </a:spcBef>
              <a:spcAft>
                <a:spcPct val="0"/>
              </a:spcAft>
              <a:defRPr sz="2400" b="1">
                <a:solidFill>
                  <a:schemeClr val="accent2"/>
                </a:solidFill>
                <a:latin typeface="Verdana" pitchFamily="34" charset="0"/>
              </a:defRPr>
            </a:lvl4pPr>
            <a:lvl5pPr algn="l" rtl="0" eaLnBrk="0" fontAlgn="base" hangingPunct="0">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a:lstStyle>
          <a:p>
            <a:pPr algn="ctr" defTabSz="914400"/>
            <a:r>
              <a:rPr lang="cs-CZ" dirty="0" smtClean="0">
                <a:solidFill>
                  <a:srgbClr val="001423"/>
                </a:solidFill>
              </a:rPr>
              <a:t>Proč mají všechny nové léky v diabetologii studie zaměřené na KV bezpečnost?</a:t>
            </a:r>
            <a:endParaRPr lang="cs-CZ" dirty="0">
              <a:solidFill>
                <a:srgbClr val="001423"/>
              </a:solidFill>
            </a:endParaRPr>
          </a:p>
        </p:txBody>
      </p:sp>
      <p:pic>
        <p:nvPicPr>
          <p:cNvPr id="11" name="Picture 4" descr="http://img.timeinc.net/time/time100/2007/images/steven_nissen.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7545" y="1165361"/>
            <a:ext cx="3528392" cy="3352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651672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499587" y="3110936"/>
            <a:ext cx="4715159" cy="837074"/>
          </a:xfrm>
          <a:prstGeom prst="rect">
            <a:avLst/>
          </a:prstGeom>
          <a:solidFill>
            <a:srgbClr val="C2DEEA">
              <a:alpha val="50000"/>
            </a:srgb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fontAlgn="base">
              <a:spcBef>
                <a:spcPct val="0"/>
              </a:spcBef>
              <a:spcAft>
                <a:spcPct val="0"/>
              </a:spcAft>
            </a:pPr>
            <a:endParaRPr lang="en-GB" sz="1800">
              <a:solidFill>
                <a:srgbClr val="FFFFFF"/>
              </a:solidFill>
            </a:endParaRPr>
          </a:p>
        </p:txBody>
      </p:sp>
      <p:sp>
        <p:nvSpPr>
          <p:cNvPr id="69634" name="Rectangle 2"/>
          <p:cNvSpPr>
            <a:spLocks noGrp="1" noChangeArrowheads="1"/>
          </p:cNvSpPr>
          <p:nvPr>
            <p:ph type="title"/>
          </p:nvPr>
        </p:nvSpPr>
        <p:spPr>
          <a:xfrm>
            <a:off x="231553" y="452147"/>
            <a:ext cx="8719696" cy="391412"/>
          </a:xfrm>
        </p:spPr>
        <p:txBody>
          <a:bodyPr/>
          <a:lstStyle/>
          <a:p>
            <a:pPr algn="ctr" eaLnBrk="1" hangingPunct="1"/>
            <a:r>
              <a:rPr lang="cs-CZ" altLang="en-US" sz="2000" dirty="0">
                <a:solidFill>
                  <a:srgbClr val="001423"/>
                </a:solidFill>
              </a:rPr>
              <a:t>Požadavky </a:t>
            </a:r>
            <a:r>
              <a:rPr lang="en-GB" altLang="en-US" sz="2000" dirty="0">
                <a:solidFill>
                  <a:srgbClr val="001423"/>
                </a:solidFill>
              </a:rPr>
              <a:t>FDA </a:t>
            </a:r>
            <a:r>
              <a:rPr lang="cs-CZ" altLang="en-US" sz="2000" dirty="0">
                <a:solidFill>
                  <a:srgbClr val="001423"/>
                </a:solidFill>
              </a:rPr>
              <a:t>pro schválení </a:t>
            </a:r>
            <a:r>
              <a:rPr lang="cs-CZ" altLang="en-US" sz="2000" dirty="0" err="1">
                <a:solidFill>
                  <a:srgbClr val="001423"/>
                </a:solidFill>
              </a:rPr>
              <a:t>antidiabetik</a:t>
            </a:r>
            <a:r>
              <a:rPr lang="cs-CZ" altLang="en-US" sz="2000" dirty="0">
                <a:solidFill>
                  <a:srgbClr val="001423"/>
                </a:solidFill>
              </a:rPr>
              <a:t>/provedení </a:t>
            </a:r>
            <a:r>
              <a:rPr lang="en-GB" altLang="en-US" sz="2000" dirty="0" err="1">
                <a:solidFill>
                  <a:srgbClr val="001423"/>
                </a:solidFill>
              </a:rPr>
              <a:t>postmarketing</a:t>
            </a:r>
            <a:r>
              <a:rPr lang="cs-CZ" altLang="en-US" sz="2000" dirty="0" err="1">
                <a:solidFill>
                  <a:srgbClr val="001423"/>
                </a:solidFill>
              </a:rPr>
              <a:t>ových</a:t>
            </a:r>
            <a:r>
              <a:rPr lang="cs-CZ" altLang="en-US" sz="2000" dirty="0">
                <a:solidFill>
                  <a:srgbClr val="001423"/>
                </a:solidFill>
              </a:rPr>
              <a:t> studií u pacientů s vysokým KV rizikem</a:t>
            </a:r>
            <a:r>
              <a:rPr lang="en-GB" altLang="en-US" sz="2000" dirty="0">
                <a:solidFill>
                  <a:srgbClr val="001423"/>
                </a:solidFill>
              </a:rPr>
              <a:t> </a:t>
            </a:r>
            <a:br>
              <a:rPr lang="en-GB" altLang="en-US" sz="2000" dirty="0">
                <a:solidFill>
                  <a:srgbClr val="001423"/>
                </a:solidFill>
              </a:rPr>
            </a:br>
            <a:endParaRPr lang="en-GB" altLang="en-US" sz="2000" dirty="0">
              <a:solidFill>
                <a:srgbClr val="001423"/>
              </a:solidFill>
            </a:endParaRPr>
          </a:p>
        </p:txBody>
      </p:sp>
      <p:sp>
        <p:nvSpPr>
          <p:cNvPr id="3" name="Text Placeholder 2"/>
          <p:cNvSpPr>
            <a:spLocks noGrp="1"/>
          </p:cNvSpPr>
          <p:nvPr>
            <p:ph type="body" sz="quarter" idx="10"/>
          </p:nvPr>
        </p:nvSpPr>
        <p:spPr/>
        <p:txBody>
          <a:bodyPr/>
          <a:lstStyle/>
          <a:p>
            <a:pPr defTabSz="685800" fontAlgn="auto">
              <a:spcBef>
                <a:spcPct val="0"/>
              </a:spcBef>
              <a:buClrTx/>
            </a:pPr>
            <a:r>
              <a:rPr lang="en-GB" altLang="en-US" dirty="0"/>
              <a:t>Upper limit of 95% CI</a:t>
            </a:r>
          </a:p>
          <a:p>
            <a:pPr defTabSz="685800" fontAlgn="auto">
              <a:spcBef>
                <a:spcPct val="0"/>
              </a:spcBef>
              <a:buClrTx/>
            </a:pPr>
            <a:r>
              <a:rPr lang="da-DK" altLang="en-US" dirty="0"/>
              <a:t>CI, confidence interval; CV, cardiovascular; FDA, Food and Drugs Administration; HR, hazard ratio</a:t>
            </a:r>
          </a:p>
          <a:p>
            <a:pPr defTabSz="685800" fontAlgn="auto">
              <a:spcBef>
                <a:spcPct val="0"/>
              </a:spcBef>
              <a:buClrTx/>
            </a:pPr>
            <a:r>
              <a:rPr lang="da-DK" altLang="en-US" dirty="0"/>
              <a:t>Hirshberg B and Raz I. </a:t>
            </a:r>
            <a:r>
              <a:rPr lang="da-DK" altLang="en-US" i="1" dirty="0"/>
              <a:t>Diabetes Obes Metab </a:t>
            </a:r>
            <a:r>
              <a:rPr lang="da-DK" altLang="en-US" dirty="0"/>
              <a:t>2011;34(Suppl. 2):S101–S106</a:t>
            </a:r>
          </a:p>
        </p:txBody>
      </p:sp>
      <p:sp>
        <p:nvSpPr>
          <p:cNvPr id="60" name="Rectangle 59"/>
          <p:cNvSpPr/>
          <p:nvPr/>
        </p:nvSpPr>
        <p:spPr>
          <a:xfrm>
            <a:off x="482940" y="2548309"/>
            <a:ext cx="4715159" cy="513572"/>
          </a:xfrm>
          <a:prstGeom prst="rect">
            <a:avLst/>
          </a:prstGeom>
          <a:solidFill>
            <a:srgbClr val="C2DEEA">
              <a:alpha val="50000"/>
            </a:srgb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fontAlgn="base">
              <a:spcBef>
                <a:spcPct val="0"/>
              </a:spcBef>
              <a:spcAft>
                <a:spcPct val="0"/>
              </a:spcAft>
            </a:pPr>
            <a:endParaRPr lang="en-GB" sz="1800">
              <a:solidFill>
                <a:srgbClr val="FFFFFF"/>
              </a:solidFill>
            </a:endParaRPr>
          </a:p>
        </p:txBody>
      </p:sp>
      <p:sp>
        <p:nvSpPr>
          <p:cNvPr id="4" name="Rectangle 3"/>
          <p:cNvSpPr/>
          <p:nvPr/>
        </p:nvSpPr>
        <p:spPr>
          <a:xfrm>
            <a:off x="482940" y="1685363"/>
            <a:ext cx="4715159" cy="822735"/>
          </a:xfrm>
          <a:prstGeom prst="rect">
            <a:avLst/>
          </a:prstGeom>
          <a:solidFill>
            <a:srgbClr val="C2DEEA">
              <a:alpha val="50000"/>
            </a:srgb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fontAlgn="base">
              <a:spcBef>
                <a:spcPct val="0"/>
              </a:spcBef>
              <a:spcAft>
                <a:spcPct val="0"/>
              </a:spcAft>
            </a:pPr>
            <a:endParaRPr lang="en-GB" sz="1800">
              <a:solidFill>
                <a:srgbClr val="FFFFFF"/>
              </a:solidFill>
            </a:endParaRPr>
          </a:p>
        </p:txBody>
      </p:sp>
      <p:grpSp>
        <p:nvGrpSpPr>
          <p:cNvPr id="2" name="Group 1"/>
          <p:cNvGrpSpPr/>
          <p:nvPr/>
        </p:nvGrpSpPr>
        <p:grpSpPr>
          <a:xfrm>
            <a:off x="462002" y="1217857"/>
            <a:ext cx="5180040" cy="3400278"/>
            <a:chOff x="991388" y="1217855"/>
            <a:chExt cx="5180040" cy="3400278"/>
          </a:xfrm>
        </p:grpSpPr>
        <p:cxnSp>
          <p:nvCxnSpPr>
            <p:cNvPr id="48" name="Straight Connector 47"/>
            <p:cNvCxnSpPr/>
            <p:nvPr/>
          </p:nvCxnSpPr>
          <p:spPr bwMode="auto">
            <a:xfrm rot="5400000">
              <a:off x="3775640" y="2873389"/>
              <a:ext cx="2313537" cy="5018"/>
            </a:xfrm>
            <a:prstGeom prst="line">
              <a:avLst/>
            </a:prstGeom>
            <a:noFill/>
            <a:ln w="19050" cap="flat" cmpd="sng" algn="ctr">
              <a:solidFill>
                <a:srgbClr val="E64A0E"/>
              </a:solidFill>
              <a:prstDash val="dash"/>
              <a:round/>
              <a:headEnd type="none" w="med" len="med"/>
              <a:tailEnd type="none" w="med" len="med"/>
            </a:ln>
            <a:effectLst/>
          </p:spPr>
        </p:cxnSp>
        <p:cxnSp>
          <p:nvCxnSpPr>
            <p:cNvPr id="49" name="Straight Connector 48"/>
            <p:cNvCxnSpPr/>
            <p:nvPr/>
          </p:nvCxnSpPr>
          <p:spPr bwMode="auto">
            <a:xfrm rot="5400000">
              <a:off x="2636641" y="2867915"/>
              <a:ext cx="2315392" cy="6691"/>
            </a:xfrm>
            <a:prstGeom prst="line">
              <a:avLst/>
            </a:prstGeom>
            <a:noFill/>
            <a:ln w="19050" cap="flat" cmpd="sng" algn="ctr">
              <a:solidFill>
                <a:schemeClr val="accent6"/>
              </a:solidFill>
              <a:prstDash val="dash"/>
              <a:round/>
              <a:headEnd type="none" w="med" len="med"/>
              <a:tailEnd type="none" w="med" len="med"/>
            </a:ln>
            <a:effectLst/>
          </p:spPr>
        </p:cxnSp>
        <p:cxnSp>
          <p:nvCxnSpPr>
            <p:cNvPr id="69637" name="Straight Connector 9"/>
            <p:cNvCxnSpPr>
              <a:cxnSpLocks noChangeShapeType="1"/>
            </p:cNvCxnSpPr>
            <p:nvPr/>
          </p:nvCxnSpPr>
          <p:spPr bwMode="auto">
            <a:xfrm rot="5400000">
              <a:off x="1883186" y="2868476"/>
              <a:ext cx="2384037"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38" name="Straight Connector 13"/>
            <p:cNvCxnSpPr>
              <a:cxnSpLocks noChangeShapeType="1"/>
            </p:cNvCxnSpPr>
            <p:nvPr/>
          </p:nvCxnSpPr>
          <p:spPr bwMode="auto">
            <a:xfrm>
              <a:off x="1620213" y="4045652"/>
              <a:ext cx="4299751"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39" name="Straight Connector 14"/>
            <p:cNvCxnSpPr>
              <a:cxnSpLocks noChangeShapeType="1"/>
            </p:cNvCxnSpPr>
            <p:nvPr/>
          </p:nvCxnSpPr>
          <p:spPr bwMode="auto">
            <a:xfrm rot="5400000">
              <a:off x="3460159" y="4044725"/>
              <a:ext cx="14656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40" name="Straight Connector 15"/>
            <p:cNvCxnSpPr>
              <a:cxnSpLocks noChangeShapeType="1"/>
            </p:cNvCxnSpPr>
            <p:nvPr/>
          </p:nvCxnSpPr>
          <p:spPr bwMode="auto">
            <a:xfrm rot="5400000">
              <a:off x="3923414" y="4044725"/>
              <a:ext cx="14656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41" name="Straight Connector 16"/>
            <p:cNvCxnSpPr>
              <a:cxnSpLocks noChangeShapeType="1"/>
            </p:cNvCxnSpPr>
            <p:nvPr/>
          </p:nvCxnSpPr>
          <p:spPr bwMode="auto">
            <a:xfrm rot="5400000">
              <a:off x="4384997" y="4044725"/>
              <a:ext cx="14656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42" name="Straight Connector 17"/>
            <p:cNvCxnSpPr>
              <a:cxnSpLocks noChangeShapeType="1"/>
            </p:cNvCxnSpPr>
            <p:nvPr/>
          </p:nvCxnSpPr>
          <p:spPr bwMode="auto">
            <a:xfrm rot="5400000">
              <a:off x="4859960" y="4044725"/>
              <a:ext cx="14656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43" name="Straight Connector 18"/>
            <p:cNvCxnSpPr>
              <a:cxnSpLocks noChangeShapeType="1"/>
            </p:cNvCxnSpPr>
            <p:nvPr/>
          </p:nvCxnSpPr>
          <p:spPr bwMode="auto">
            <a:xfrm rot="5400000">
              <a:off x="5323216" y="4044725"/>
              <a:ext cx="14656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44" name="Straight Connector 19"/>
            <p:cNvCxnSpPr>
              <a:cxnSpLocks noChangeShapeType="1"/>
            </p:cNvCxnSpPr>
            <p:nvPr/>
          </p:nvCxnSpPr>
          <p:spPr bwMode="auto">
            <a:xfrm rot="5400000">
              <a:off x="5779783" y="4044725"/>
              <a:ext cx="14656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45" name="Straight Connector 20"/>
            <p:cNvCxnSpPr>
              <a:cxnSpLocks noChangeShapeType="1"/>
            </p:cNvCxnSpPr>
            <p:nvPr/>
          </p:nvCxnSpPr>
          <p:spPr bwMode="auto">
            <a:xfrm rot="5400000">
              <a:off x="2533647" y="4044725"/>
              <a:ext cx="14656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46" name="Straight Connector 21"/>
            <p:cNvCxnSpPr>
              <a:cxnSpLocks noChangeShapeType="1"/>
            </p:cNvCxnSpPr>
            <p:nvPr/>
          </p:nvCxnSpPr>
          <p:spPr bwMode="auto">
            <a:xfrm rot="5400000">
              <a:off x="2060356" y="4044725"/>
              <a:ext cx="14656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47" name="Straight Connector 22"/>
            <p:cNvCxnSpPr>
              <a:cxnSpLocks noChangeShapeType="1"/>
            </p:cNvCxnSpPr>
            <p:nvPr/>
          </p:nvCxnSpPr>
          <p:spPr bwMode="auto">
            <a:xfrm rot="5400000">
              <a:off x="1597101" y="4044725"/>
              <a:ext cx="14656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648" name="Straight Connector 24"/>
            <p:cNvCxnSpPr>
              <a:cxnSpLocks noChangeShapeType="1"/>
            </p:cNvCxnSpPr>
            <p:nvPr/>
          </p:nvCxnSpPr>
          <p:spPr bwMode="auto">
            <a:xfrm>
              <a:off x="2598570" y="3756228"/>
              <a:ext cx="2431675" cy="0"/>
            </a:xfrm>
            <a:prstGeom prst="line">
              <a:avLst/>
            </a:prstGeom>
            <a:noFill/>
            <a:ln w="28575" algn="ctr">
              <a:solidFill>
                <a:schemeClr val="accent1"/>
              </a:solidFill>
              <a:round/>
              <a:headEnd/>
              <a:tailEnd/>
            </a:ln>
            <a:extLst>
              <a:ext uri="{909E8E84-426E-40DD-AFC4-6F175D3DCCD1}">
                <a14:hiddenFill xmlns:a14="http://schemas.microsoft.com/office/drawing/2010/main">
                  <a:noFill/>
                </a14:hiddenFill>
              </a:ext>
            </a:extLst>
          </p:spPr>
        </p:cxnSp>
        <p:cxnSp>
          <p:nvCxnSpPr>
            <p:cNvPr id="69649" name="Straight Connector 25"/>
            <p:cNvCxnSpPr>
              <a:cxnSpLocks noChangeShapeType="1"/>
            </p:cNvCxnSpPr>
            <p:nvPr/>
          </p:nvCxnSpPr>
          <p:spPr bwMode="auto">
            <a:xfrm>
              <a:off x="3434771" y="3227474"/>
              <a:ext cx="1981799" cy="0"/>
            </a:xfrm>
            <a:prstGeom prst="line">
              <a:avLst/>
            </a:prstGeom>
            <a:noFill/>
            <a:ln w="28575" algn="ctr">
              <a:solidFill>
                <a:schemeClr val="accent1"/>
              </a:solidFill>
              <a:round/>
              <a:headEnd/>
              <a:tailEnd/>
            </a:ln>
            <a:extLst>
              <a:ext uri="{909E8E84-426E-40DD-AFC4-6F175D3DCCD1}">
                <a14:hiddenFill xmlns:a14="http://schemas.microsoft.com/office/drawing/2010/main">
                  <a:noFill/>
                </a14:hiddenFill>
              </a:ext>
            </a:extLst>
          </p:spPr>
        </p:cxnSp>
        <p:cxnSp>
          <p:nvCxnSpPr>
            <p:cNvPr id="69650" name="Straight Connector 26"/>
            <p:cNvCxnSpPr>
              <a:cxnSpLocks noChangeShapeType="1"/>
            </p:cNvCxnSpPr>
            <p:nvPr/>
          </p:nvCxnSpPr>
          <p:spPr bwMode="auto">
            <a:xfrm>
              <a:off x="2693896" y="2834153"/>
              <a:ext cx="1306147" cy="0"/>
            </a:xfrm>
            <a:prstGeom prst="line">
              <a:avLst/>
            </a:prstGeom>
            <a:noFill/>
            <a:ln w="28575" algn="ctr">
              <a:solidFill>
                <a:schemeClr val="accent1"/>
              </a:solidFill>
              <a:round/>
              <a:headEnd/>
              <a:tailEnd/>
            </a:ln>
            <a:extLst>
              <a:ext uri="{909E8E84-426E-40DD-AFC4-6F175D3DCCD1}">
                <a14:hiddenFill xmlns:a14="http://schemas.microsoft.com/office/drawing/2010/main">
                  <a:noFill/>
                </a14:hiddenFill>
              </a:ext>
            </a:extLst>
          </p:spPr>
        </p:cxnSp>
        <p:cxnSp>
          <p:nvCxnSpPr>
            <p:cNvPr id="69651" name="Straight Connector 27"/>
            <p:cNvCxnSpPr>
              <a:cxnSpLocks noChangeShapeType="1"/>
            </p:cNvCxnSpPr>
            <p:nvPr/>
          </p:nvCxnSpPr>
          <p:spPr bwMode="auto">
            <a:xfrm>
              <a:off x="2615293" y="2342503"/>
              <a:ext cx="759271" cy="0"/>
            </a:xfrm>
            <a:prstGeom prst="line">
              <a:avLst/>
            </a:prstGeom>
            <a:noFill/>
            <a:ln w="28575" algn="ctr">
              <a:solidFill>
                <a:schemeClr val="accent1"/>
              </a:solidFill>
              <a:round/>
              <a:headEnd/>
              <a:tailEnd/>
            </a:ln>
            <a:extLst>
              <a:ext uri="{909E8E84-426E-40DD-AFC4-6F175D3DCCD1}">
                <a14:hiddenFill xmlns:a14="http://schemas.microsoft.com/office/drawing/2010/main">
                  <a:noFill/>
                </a14:hiddenFill>
              </a:ext>
            </a:extLst>
          </p:spPr>
        </p:cxnSp>
        <p:cxnSp>
          <p:nvCxnSpPr>
            <p:cNvPr id="69652" name="Straight Connector 28"/>
            <p:cNvCxnSpPr>
              <a:cxnSpLocks noChangeShapeType="1"/>
            </p:cNvCxnSpPr>
            <p:nvPr/>
          </p:nvCxnSpPr>
          <p:spPr bwMode="auto">
            <a:xfrm>
              <a:off x="2548395" y="1887959"/>
              <a:ext cx="463257" cy="0"/>
            </a:xfrm>
            <a:prstGeom prst="line">
              <a:avLst/>
            </a:prstGeom>
            <a:noFill/>
            <a:ln w="28575" algn="ctr">
              <a:solidFill>
                <a:schemeClr val="accent1"/>
              </a:solidFill>
              <a:round/>
              <a:headEnd/>
              <a:tailEnd/>
            </a:ln>
            <a:extLst>
              <a:ext uri="{909E8E84-426E-40DD-AFC4-6F175D3DCCD1}">
                <a14:hiddenFill xmlns:a14="http://schemas.microsoft.com/office/drawing/2010/main">
                  <a:noFill/>
                </a14:hiddenFill>
              </a:ext>
            </a:extLst>
          </p:spPr>
        </p:cxnSp>
        <p:sp>
          <p:nvSpPr>
            <p:cNvPr id="69653" name="Rectangle 29"/>
            <p:cNvSpPr>
              <a:spLocks noChangeArrowheads="1"/>
            </p:cNvSpPr>
            <p:nvPr/>
          </p:nvSpPr>
          <p:spPr bwMode="invGray">
            <a:xfrm>
              <a:off x="2643724" y="1793341"/>
              <a:ext cx="250861" cy="176252"/>
            </a:xfrm>
            <a:prstGeom prst="rect">
              <a:avLst/>
            </a:prstGeom>
            <a:solidFill>
              <a:schemeClr val="accent1"/>
            </a:solidFill>
            <a:ln w="19050">
              <a:solidFill>
                <a:schemeClr val="accent1"/>
              </a:solidFill>
              <a:round/>
              <a:headEnd/>
              <a:tailEnd/>
            </a:ln>
          </p:spPr>
          <p:txBody>
            <a:bodyPr lIns="68580" tIns="34291" rIns="68580" bIns="34291" anchor="ct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fontAlgn="base">
                <a:spcBef>
                  <a:spcPct val="0"/>
                </a:spcBef>
                <a:spcAft>
                  <a:spcPct val="0"/>
                </a:spcAft>
                <a:buClrTx/>
                <a:buFontTx/>
                <a:buNone/>
              </a:pPr>
              <a:endParaRPr lang="en-US" altLang="en-US" sz="1800" dirty="0">
                <a:solidFill>
                  <a:srgbClr val="001965"/>
                </a:solidFill>
                <a:cs typeface="Arial" charset="0"/>
              </a:endParaRPr>
            </a:p>
          </p:txBody>
        </p:sp>
        <p:sp>
          <p:nvSpPr>
            <p:cNvPr id="69654" name="Rectangle 30"/>
            <p:cNvSpPr>
              <a:spLocks noChangeArrowheads="1"/>
            </p:cNvSpPr>
            <p:nvPr/>
          </p:nvSpPr>
          <p:spPr bwMode="invGray">
            <a:xfrm>
              <a:off x="2866153" y="2244175"/>
              <a:ext cx="255878" cy="170687"/>
            </a:xfrm>
            <a:prstGeom prst="rect">
              <a:avLst/>
            </a:prstGeom>
            <a:solidFill>
              <a:schemeClr val="accent1"/>
            </a:solidFill>
            <a:ln w="19050">
              <a:solidFill>
                <a:schemeClr val="accent1"/>
              </a:solidFill>
              <a:round/>
              <a:headEnd/>
              <a:tailEnd/>
            </a:ln>
          </p:spPr>
          <p:txBody>
            <a:bodyPr lIns="68580" tIns="34291" rIns="68580" bIns="34291" anchor="ctr"/>
            <a:lstStyle>
              <a:lvl1pPr marL="257175" indent="-257175">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fontAlgn="base">
                <a:spcBef>
                  <a:spcPct val="0"/>
                </a:spcBef>
                <a:spcAft>
                  <a:spcPct val="0"/>
                </a:spcAft>
                <a:buClr>
                  <a:srgbClr val="880038"/>
                </a:buClr>
                <a:buFontTx/>
                <a:buChar char="•"/>
              </a:pPr>
              <a:endParaRPr lang="en-US" altLang="en-US" sz="1800" dirty="0">
                <a:solidFill>
                  <a:srgbClr val="001965"/>
                </a:solidFill>
                <a:cs typeface="Arial" charset="0"/>
              </a:endParaRPr>
            </a:p>
          </p:txBody>
        </p:sp>
        <p:sp>
          <p:nvSpPr>
            <p:cNvPr id="69655" name="Rectangle 31"/>
            <p:cNvSpPr>
              <a:spLocks noChangeArrowheads="1"/>
            </p:cNvSpPr>
            <p:nvPr/>
          </p:nvSpPr>
          <p:spPr bwMode="invGray">
            <a:xfrm>
              <a:off x="3138756" y="2733970"/>
              <a:ext cx="224102" cy="172541"/>
            </a:xfrm>
            <a:prstGeom prst="rect">
              <a:avLst/>
            </a:prstGeom>
            <a:solidFill>
              <a:schemeClr val="accent1"/>
            </a:solidFill>
            <a:ln w="19050">
              <a:solidFill>
                <a:schemeClr val="accent1"/>
              </a:solidFill>
              <a:round/>
              <a:headEnd/>
              <a:tailEnd/>
            </a:ln>
          </p:spPr>
          <p:txBody>
            <a:bodyPr lIns="68580" tIns="34291" rIns="68580" bIns="34291" anchor="ctr"/>
            <a:lstStyle>
              <a:lvl1pPr marL="257175" indent="-257175">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fontAlgn="base">
                <a:spcBef>
                  <a:spcPct val="0"/>
                </a:spcBef>
                <a:spcAft>
                  <a:spcPct val="0"/>
                </a:spcAft>
                <a:buClr>
                  <a:srgbClr val="880038"/>
                </a:buClr>
                <a:buFontTx/>
                <a:buChar char="•"/>
              </a:pPr>
              <a:endParaRPr lang="en-US" altLang="en-US" sz="1800" dirty="0">
                <a:solidFill>
                  <a:srgbClr val="001965"/>
                </a:solidFill>
                <a:cs typeface="Arial" charset="0"/>
              </a:endParaRPr>
            </a:p>
          </p:txBody>
        </p:sp>
        <p:sp>
          <p:nvSpPr>
            <p:cNvPr id="69656" name="Rectangle 32"/>
            <p:cNvSpPr>
              <a:spLocks noChangeArrowheads="1"/>
            </p:cNvSpPr>
            <p:nvPr/>
          </p:nvSpPr>
          <p:spPr bwMode="invGray">
            <a:xfrm>
              <a:off x="4287696" y="3151407"/>
              <a:ext cx="250861" cy="178107"/>
            </a:xfrm>
            <a:prstGeom prst="rect">
              <a:avLst/>
            </a:prstGeom>
            <a:solidFill>
              <a:schemeClr val="accent1"/>
            </a:solidFill>
            <a:ln w="19050">
              <a:solidFill>
                <a:schemeClr val="accent1"/>
              </a:solidFill>
              <a:round/>
              <a:headEnd/>
              <a:tailEnd/>
            </a:ln>
          </p:spPr>
          <p:txBody>
            <a:bodyPr lIns="68580" tIns="34291" rIns="68580" bIns="34291" anchor="ctr"/>
            <a:lstStyle>
              <a:lvl1pPr marL="257175" indent="-257175">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fontAlgn="base">
                <a:spcBef>
                  <a:spcPct val="0"/>
                </a:spcBef>
                <a:spcAft>
                  <a:spcPct val="0"/>
                </a:spcAft>
                <a:buClr>
                  <a:srgbClr val="880038"/>
                </a:buClr>
                <a:buFontTx/>
                <a:buChar char="•"/>
              </a:pPr>
              <a:endParaRPr lang="en-US" altLang="en-US" sz="1800" dirty="0">
                <a:solidFill>
                  <a:srgbClr val="001965"/>
                </a:solidFill>
                <a:cs typeface="Arial" charset="0"/>
              </a:endParaRPr>
            </a:p>
          </p:txBody>
        </p:sp>
        <p:sp>
          <p:nvSpPr>
            <p:cNvPr id="69657" name="Rectangle 33"/>
            <p:cNvSpPr>
              <a:spLocks noChangeArrowheads="1"/>
            </p:cNvSpPr>
            <p:nvPr/>
          </p:nvSpPr>
          <p:spPr bwMode="invGray">
            <a:xfrm>
              <a:off x="3692320" y="3657901"/>
              <a:ext cx="255878" cy="181818"/>
            </a:xfrm>
            <a:prstGeom prst="rect">
              <a:avLst/>
            </a:prstGeom>
            <a:solidFill>
              <a:schemeClr val="accent1"/>
            </a:solidFill>
            <a:ln w="19050">
              <a:solidFill>
                <a:schemeClr val="accent1"/>
              </a:solidFill>
              <a:round/>
              <a:headEnd/>
              <a:tailEnd/>
            </a:ln>
          </p:spPr>
          <p:txBody>
            <a:bodyPr lIns="68580" tIns="34291" rIns="68580" bIns="34291" anchor="ctr"/>
            <a:lstStyle>
              <a:lvl1pPr marL="257175" indent="-257175">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fontAlgn="base">
                <a:spcBef>
                  <a:spcPct val="0"/>
                </a:spcBef>
                <a:spcAft>
                  <a:spcPct val="0"/>
                </a:spcAft>
                <a:buClr>
                  <a:srgbClr val="880038"/>
                </a:buClr>
                <a:buFontTx/>
                <a:buChar char="•"/>
              </a:pPr>
              <a:endParaRPr lang="en-US" altLang="en-US" sz="1800" dirty="0">
                <a:solidFill>
                  <a:srgbClr val="001965"/>
                </a:solidFill>
                <a:cs typeface="Arial" charset="0"/>
              </a:endParaRPr>
            </a:p>
          </p:txBody>
        </p:sp>
        <p:sp>
          <p:nvSpPr>
            <p:cNvPr id="69664" name="TextBox 49"/>
            <p:cNvSpPr txBox="1">
              <a:spLocks noChangeArrowheads="1"/>
            </p:cNvSpPr>
            <p:nvPr/>
          </p:nvSpPr>
          <p:spPr bwMode="auto">
            <a:xfrm>
              <a:off x="4127145" y="1217855"/>
              <a:ext cx="1623905" cy="48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fontAlgn="base">
                <a:spcBef>
                  <a:spcPct val="0"/>
                </a:spcBef>
                <a:spcAft>
                  <a:spcPct val="0"/>
                </a:spcAft>
                <a:buClrTx/>
                <a:buFontTx/>
                <a:buNone/>
              </a:pPr>
              <a:r>
                <a:rPr lang="en-GB" altLang="en-US" sz="900" b="1" dirty="0">
                  <a:solidFill>
                    <a:srgbClr val="001965"/>
                  </a:solidFill>
                  <a:cs typeface="Arial" charset="0"/>
                </a:rPr>
                <a:t>Non-inferiority </a:t>
              </a:r>
              <a:br>
                <a:rPr lang="en-GB" altLang="en-US" sz="900" b="1" dirty="0">
                  <a:solidFill>
                    <a:srgbClr val="001965"/>
                  </a:solidFill>
                  <a:cs typeface="Arial" charset="0"/>
                </a:rPr>
              </a:br>
              <a:r>
                <a:rPr lang="en-GB" altLang="en-US" sz="900" b="1" dirty="0">
                  <a:solidFill>
                    <a:srgbClr val="001965"/>
                  </a:solidFill>
                  <a:cs typeface="Arial" charset="0"/>
                </a:rPr>
                <a:t>boundary</a:t>
              </a:r>
            </a:p>
            <a:p>
              <a:pPr algn="ctr" defTabSz="914400" fontAlgn="base">
                <a:spcBef>
                  <a:spcPct val="0"/>
                </a:spcBef>
                <a:spcAft>
                  <a:spcPct val="0"/>
                </a:spcAft>
                <a:buClrTx/>
                <a:buFontTx/>
                <a:buNone/>
              </a:pPr>
              <a:r>
                <a:rPr lang="en-GB" altLang="en-US" sz="900" b="1" dirty="0">
                  <a:solidFill>
                    <a:srgbClr val="001965"/>
                  </a:solidFill>
                  <a:cs typeface="Arial" charset="0"/>
                </a:rPr>
                <a:t>HR 1.8</a:t>
              </a:r>
            </a:p>
          </p:txBody>
        </p:sp>
        <p:sp>
          <p:nvSpPr>
            <p:cNvPr id="69665" name="TextBox 50"/>
            <p:cNvSpPr txBox="1">
              <a:spLocks noChangeArrowheads="1"/>
            </p:cNvSpPr>
            <p:nvPr/>
          </p:nvSpPr>
          <p:spPr bwMode="auto">
            <a:xfrm>
              <a:off x="3125378" y="1217855"/>
              <a:ext cx="1346285" cy="48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fontAlgn="base">
                <a:spcBef>
                  <a:spcPct val="0"/>
                </a:spcBef>
                <a:spcAft>
                  <a:spcPct val="0"/>
                </a:spcAft>
                <a:buClrTx/>
                <a:buFontTx/>
                <a:buNone/>
              </a:pPr>
              <a:r>
                <a:rPr lang="en-GB" altLang="en-US" sz="900" b="1" dirty="0">
                  <a:solidFill>
                    <a:srgbClr val="001965"/>
                  </a:solidFill>
                  <a:cs typeface="Arial" charset="0"/>
                </a:rPr>
                <a:t>Non-inferiority boundary</a:t>
              </a:r>
            </a:p>
            <a:p>
              <a:pPr algn="ctr" defTabSz="914400" fontAlgn="base">
                <a:spcBef>
                  <a:spcPct val="0"/>
                </a:spcBef>
                <a:spcAft>
                  <a:spcPct val="0"/>
                </a:spcAft>
                <a:buClrTx/>
                <a:buFontTx/>
                <a:buNone/>
              </a:pPr>
              <a:r>
                <a:rPr lang="en-GB" altLang="en-US" sz="900" b="1" dirty="0">
                  <a:solidFill>
                    <a:srgbClr val="001965"/>
                  </a:solidFill>
                  <a:cs typeface="Arial" charset="0"/>
                </a:rPr>
                <a:t>HR 1.3</a:t>
              </a:r>
            </a:p>
          </p:txBody>
        </p:sp>
        <p:sp>
          <p:nvSpPr>
            <p:cNvPr id="69666" name="TextBox 51"/>
            <p:cNvSpPr txBox="1">
              <a:spLocks noChangeArrowheads="1"/>
            </p:cNvSpPr>
            <p:nvPr/>
          </p:nvSpPr>
          <p:spPr bwMode="auto">
            <a:xfrm>
              <a:off x="1493083" y="4108731"/>
              <a:ext cx="623808"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0.4</a:t>
              </a:r>
              <a:endParaRPr lang="en-US" altLang="en-US" sz="900" dirty="0">
                <a:solidFill>
                  <a:srgbClr val="001965"/>
                </a:solidFill>
                <a:cs typeface="Arial" charset="0"/>
              </a:endParaRPr>
            </a:p>
          </p:txBody>
        </p:sp>
        <p:sp>
          <p:nvSpPr>
            <p:cNvPr id="69667" name="TextBox 52"/>
            <p:cNvSpPr txBox="1">
              <a:spLocks noChangeArrowheads="1"/>
            </p:cNvSpPr>
            <p:nvPr/>
          </p:nvSpPr>
          <p:spPr bwMode="auto">
            <a:xfrm>
              <a:off x="1964049" y="4108731"/>
              <a:ext cx="625479"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0.6</a:t>
              </a:r>
              <a:endParaRPr lang="en-US" altLang="en-US" sz="900" dirty="0">
                <a:solidFill>
                  <a:srgbClr val="001965"/>
                </a:solidFill>
                <a:cs typeface="Arial" charset="0"/>
              </a:endParaRPr>
            </a:p>
          </p:txBody>
        </p:sp>
        <p:sp>
          <p:nvSpPr>
            <p:cNvPr id="69668" name="TextBox 53"/>
            <p:cNvSpPr txBox="1">
              <a:spLocks noChangeArrowheads="1"/>
            </p:cNvSpPr>
            <p:nvPr/>
          </p:nvSpPr>
          <p:spPr bwMode="auto">
            <a:xfrm>
              <a:off x="2444027" y="4108731"/>
              <a:ext cx="623808"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0.8</a:t>
              </a:r>
              <a:endParaRPr lang="en-US" altLang="en-US" sz="900" dirty="0">
                <a:solidFill>
                  <a:srgbClr val="001965"/>
                </a:solidFill>
                <a:cs typeface="Arial" charset="0"/>
              </a:endParaRPr>
            </a:p>
          </p:txBody>
        </p:sp>
        <p:sp>
          <p:nvSpPr>
            <p:cNvPr id="69669" name="TextBox 54"/>
            <p:cNvSpPr txBox="1">
              <a:spLocks noChangeArrowheads="1"/>
            </p:cNvSpPr>
            <p:nvPr/>
          </p:nvSpPr>
          <p:spPr bwMode="auto">
            <a:xfrm>
              <a:off x="2917030" y="4102381"/>
              <a:ext cx="367930"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1.0</a:t>
              </a:r>
              <a:endParaRPr lang="en-US" altLang="en-US" sz="900" dirty="0">
                <a:solidFill>
                  <a:srgbClr val="001965"/>
                </a:solidFill>
                <a:cs typeface="Arial" charset="0"/>
              </a:endParaRPr>
            </a:p>
          </p:txBody>
        </p:sp>
        <p:sp>
          <p:nvSpPr>
            <p:cNvPr id="69670" name="TextBox 55"/>
            <p:cNvSpPr txBox="1">
              <a:spLocks noChangeArrowheads="1"/>
            </p:cNvSpPr>
            <p:nvPr/>
          </p:nvSpPr>
          <p:spPr bwMode="auto">
            <a:xfrm>
              <a:off x="3368137" y="4108731"/>
              <a:ext cx="479979"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1.2</a:t>
              </a:r>
              <a:endParaRPr lang="en-US" altLang="en-US" sz="900" dirty="0">
                <a:solidFill>
                  <a:srgbClr val="001965"/>
                </a:solidFill>
                <a:cs typeface="Arial" charset="0"/>
              </a:endParaRPr>
            </a:p>
          </p:txBody>
        </p:sp>
        <p:sp>
          <p:nvSpPr>
            <p:cNvPr id="69671" name="TextBox 56"/>
            <p:cNvSpPr txBox="1">
              <a:spLocks noChangeArrowheads="1"/>
            </p:cNvSpPr>
            <p:nvPr/>
          </p:nvSpPr>
          <p:spPr bwMode="auto">
            <a:xfrm>
              <a:off x="3835417" y="4108731"/>
              <a:ext cx="478308"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1.4</a:t>
              </a:r>
              <a:endParaRPr lang="en-US" altLang="en-US" sz="900" dirty="0">
                <a:solidFill>
                  <a:srgbClr val="001965"/>
                </a:solidFill>
                <a:cs typeface="Arial" charset="0"/>
              </a:endParaRPr>
            </a:p>
          </p:txBody>
        </p:sp>
        <p:sp>
          <p:nvSpPr>
            <p:cNvPr id="69672" name="TextBox 57"/>
            <p:cNvSpPr txBox="1">
              <a:spLocks noChangeArrowheads="1"/>
            </p:cNvSpPr>
            <p:nvPr/>
          </p:nvSpPr>
          <p:spPr bwMode="auto">
            <a:xfrm>
              <a:off x="4299039" y="4108731"/>
              <a:ext cx="478308"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1.6</a:t>
              </a:r>
              <a:endParaRPr lang="en-US" altLang="en-US" sz="900" dirty="0">
                <a:solidFill>
                  <a:srgbClr val="001965"/>
                </a:solidFill>
                <a:cs typeface="Arial" charset="0"/>
              </a:endParaRPr>
            </a:p>
          </p:txBody>
        </p:sp>
        <p:sp>
          <p:nvSpPr>
            <p:cNvPr id="69673" name="TextBox 58"/>
            <p:cNvSpPr txBox="1">
              <a:spLocks noChangeArrowheads="1"/>
            </p:cNvSpPr>
            <p:nvPr/>
          </p:nvSpPr>
          <p:spPr bwMode="auto">
            <a:xfrm>
              <a:off x="4774655" y="4108731"/>
              <a:ext cx="479979"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1.8</a:t>
              </a:r>
              <a:endParaRPr lang="en-US" altLang="en-US" sz="900" dirty="0">
                <a:solidFill>
                  <a:srgbClr val="001965"/>
                </a:solidFill>
                <a:cs typeface="Arial" charset="0"/>
              </a:endParaRPr>
            </a:p>
          </p:txBody>
        </p:sp>
        <p:sp>
          <p:nvSpPr>
            <p:cNvPr id="69674" name="TextBox 59"/>
            <p:cNvSpPr txBox="1">
              <a:spLocks noChangeArrowheads="1"/>
            </p:cNvSpPr>
            <p:nvPr/>
          </p:nvSpPr>
          <p:spPr bwMode="auto">
            <a:xfrm>
              <a:off x="5237571" y="4108731"/>
              <a:ext cx="479980"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2.0</a:t>
              </a:r>
              <a:endParaRPr lang="en-US" altLang="en-US" sz="900" dirty="0">
                <a:solidFill>
                  <a:srgbClr val="001965"/>
                </a:solidFill>
                <a:cs typeface="Arial" charset="0"/>
              </a:endParaRPr>
            </a:p>
          </p:txBody>
        </p:sp>
        <p:sp>
          <p:nvSpPr>
            <p:cNvPr id="69675" name="TextBox 60"/>
            <p:cNvSpPr txBox="1">
              <a:spLocks noChangeArrowheads="1"/>
            </p:cNvSpPr>
            <p:nvPr/>
          </p:nvSpPr>
          <p:spPr bwMode="auto">
            <a:xfrm>
              <a:off x="5693120" y="4108731"/>
              <a:ext cx="478308" cy="20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900" dirty="0">
                  <a:solidFill>
                    <a:srgbClr val="001965"/>
                  </a:solidFill>
                  <a:cs typeface="Arial" charset="0"/>
                </a:rPr>
                <a:t>2.2</a:t>
              </a:r>
              <a:endParaRPr lang="en-US" altLang="en-US" sz="900" dirty="0">
                <a:solidFill>
                  <a:srgbClr val="001965"/>
                </a:solidFill>
                <a:cs typeface="Arial" charset="0"/>
              </a:endParaRPr>
            </a:p>
          </p:txBody>
        </p:sp>
        <p:sp>
          <p:nvSpPr>
            <p:cNvPr id="69676" name="TextBox 61"/>
            <p:cNvSpPr txBox="1">
              <a:spLocks noChangeArrowheads="1"/>
            </p:cNvSpPr>
            <p:nvPr/>
          </p:nvSpPr>
          <p:spPr bwMode="auto">
            <a:xfrm>
              <a:off x="2973188" y="4379604"/>
              <a:ext cx="1349630" cy="23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fontAlgn="base">
                <a:spcBef>
                  <a:spcPct val="0"/>
                </a:spcBef>
                <a:spcAft>
                  <a:spcPct val="0"/>
                </a:spcAft>
                <a:buClrTx/>
                <a:buFontTx/>
                <a:buNone/>
              </a:pPr>
              <a:r>
                <a:rPr lang="en-GB" altLang="en-US" sz="1100" b="1" dirty="0">
                  <a:solidFill>
                    <a:srgbClr val="001965"/>
                  </a:solidFill>
                  <a:cs typeface="Arial" charset="0"/>
                </a:rPr>
                <a:t>Hazard ratio</a:t>
              </a:r>
            </a:p>
          </p:txBody>
        </p:sp>
        <p:sp>
          <p:nvSpPr>
            <p:cNvPr id="69677" name="TextBox 62"/>
            <p:cNvSpPr txBox="1">
              <a:spLocks noChangeArrowheads="1"/>
            </p:cNvSpPr>
            <p:nvPr/>
          </p:nvSpPr>
          <p:spPr bwMode="auto">
            <a:xfrm>
              <a:off x="991388" y="1750671"/>
              <a:ext cx="1737627" cy="23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1100" b="1" dirty="0">
                  <a:solidFill>
                    <a:srgbClr val="001965"/>
                  </a:solidFill>
                  <a:cs typeface="Arial" charset="0"/>
                </a:rPr>
                <a:t>Superiority</a:t>
              </a:r>
            </a:p>
          </p:txBody>
        </p:sp>
        <p:sp>
          <p:nvSpPr>
            <p:cNvPr id="69678" name="TextBox 63"/>
            <p:cNvSpPr txBox="1">
              <a:spLocks noChangeArrowheads="1"/>
            </p:cNvSpPr>
            <p:nvPr/>
          </p:nvSpPr>
          <p:spPr bwMode="auto">
            <a:xfrm>
              <a:off x="991388" y="2166254"/>
              <a:ext cx="1737627" cy="23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1100" b="1" dirty="0">
                  <a:solidFill>
                    <a:srgbClr val="001965"/>
                  </a:solidFill>
                  <a:cs typeface="Arial" charset="0"/>
                </a:rPr>
                <a:t>Non-inferiority</a:t>
              </a:r>
            </a:p>
          </p:txBody>
        </p:sp>
        <p:sp>
          <p:nvSpPr>
            <p:cNvPr id="69679" name="TextBox 64"/>
            <p:cNvSpPr txBox="1">
              <a:spLocks noChangeArrowheads="1"/>
            </p:cNvSpPr>
            <p:nvPr/>
          </p:nvSpPr>
          <p:spPr bwMode="auto">
            <a:xfrm>
              <a:off x="991388" y="2685733"/>
              <a:ext cx="1737627" cy="23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1100" b="1" dirty="0">
                  <a:solidFill>
                    <a:srgbClr val="001965"/>
                  </a:solidFill>
                  <a:cs typeface="Arial" charset="0"/>
                </a:rPr>
                <a:t>Non-inferiority</a:t>
              </a:r>
            </a:p>
          </p:txBody>
        </p:sp>
        <p:sp>
          <p:nvSpPr>
            <p:cNvPr id="69680" name="TextBox 65"/>
            <p:cNvSpPr txBox="1">
              <a:spLocks noChangeArrowheads="1"/>
            </p:cNvSpPr>
            <p:nvPr/>
          </p:nvSpPr>
          <p:spPr bwMode="auto">
            <a:xfrm>
              <a:off x="991388" y="3142132"/>
              <a:ext cx="1737627" cy="23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1100" b="1" dirty="0">
                  <a:solidFill>
                    <a:srgbClr val="001965"/>
                  </a:solidFill>
                  <a:cs typeface="Arial" charset="0"/>
                </a:rPr>
                <a:t>Inferior</a:t>
              </a:r>
            </a:p>
          </p:txBody>
        </p:sp>
        <p:sp>
          <p:nvSpPr>
            <p:cNvPr id="69681" name="TextBox 66"/>
            <p:cNvSpPr txBox="1">
              <a:spLocks noChangeArrowheads="1"/>
            </p:cNvSpPr>
            <p:nvPr/>
          </p:nvSpPr>
          <p:spPr bwMode="auto">
            <a:xfrm>
              <a:off x="991389" y="3624506"/>
              <a:ext cx="1889816" cy="23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1100" b="1" dirty="0">
                  <a:solidFill>
                    <a:srgbClr val="001965"/>
                  </a:solidFill>
                  <a:cs typeface="Arial" charset="0"/>
                </a:rPr>
                <a:t>Underpowered</a:t>
              </a:r>
            </a:p>
          </p:txBody>
        </p:sp>
      </p:grpSp>
      <p:sp>
        <p:nvSpPr>
          <p:cNvPr id="69685" name="TextBox 70"/>
          <p:cNvSpPr txBox="1">
            <a:spLocks noChangeArrowheads="1"/>
          </p:cNvSpPr>
          <p:nvPr/>
        </p:nvSpPr>
        <p:spPr bwMode="auto">
          <a:xfrm>
            <a:off x="5244879" y="1877047"/>
            <a:ext cx="1937525" cy="577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1100" b="1" dirty="0">
                <a:solidFill>
                  <a:srgbClr val="001965"/>
                </a:solidFill>
                <a:cs typeface="Arial" charset="0"/>
              </a:rPr>
              <a:t>Approvable: </a:t>
            </a:r>
            <a:r>
              <a:rPr lang="en-GB" altLang="en-US" sz="1100" b="1" u="sng" dirty="0">
                <a:solidFill>
                  <a:srgbClr val="001965"/>
                </a:solidFill>
                <a:cs typeface="Arial" charset="0"/>
              </a:rPr>
              <a:t>No need</a:t>
            </a:r>
            <a:r>
              <a:rPr lang="en-GB" altLang="en-US" sz="1100" b="1" dirty="0">
                <a:solidFill>
                  <a:srgbClr val="001965"/>
                </a:solidFill>
                <a:cs typeface="Arial" charset="0"/>
              </a:rPr>
              <a:t> for postmarketing study</a:t>
            </a:r>
          </a:p>
        </p:txBody>
      </p:sp>
      <p:sp>
        <p:nvSpPr>
          <p:cNvPr id="69686" name="TextBox 71"/>
          <p:cNvSpPr txBox="1">
            <a:spLocks noChangeArrowheads="1"/>
          </p:cNvSpPr>
          <p:nvPr/>
        </p:nvSpPr>
        <p:spPr bwMode="auto">
          <a:xfrm>
            <a:off x="5244879" y="2588895"/>
            <a:ext cx="1937525" cy="407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1100" b="1" dirty="0">
                <a:solidFill>
                  <a:srgbClr val="001965"/>
                </a:solidFill>
                <a:cs typeface="Arial" charset="0"/>
              </a:rPr>
              <a:t>Approvable: </a:t>
            </a:r>
            <a:r>
              <a:rPr lang="en-GB" altLang="en-US" sz="1100" b="1" u="sng" dirty="0">
                <a:solidFill>
                  <a:srgbClr val="001965"/>
                </a:solidFill>
                <a:cs typeface="Arial" charset="0"/>
              </a:rPr>
              <a:t>Need</a:t>
            </a:r>
            <a:r>
              <a:rPr lang="en-GB" altLang="en-US" sz="1100" b="1" dirty="0">
                <a:solidFill>
                  <a:srgbClr val="001965"/>
                </a:solidFill>
                <a:cs typeface="Arial" charset="0"/>
              </a:rPr>
              <a:t> for postmarketing study</a:t>
            </a:r>
          </a:p>
        </p:txBody>
      </p:sp>
      <p:sp>
        <p:nvSpPr>
          <p:cNvPr id="69687" name="TextBox 72"/>
          <p:cNvSpPr txBox="1">
            <a:spLocks noChangeArrowheads="1"/>
          </p:cNvSpPr>
          <p:nvPr/>
        </p:nvSpPr>
        <p:spPr bwMode="auto">
          <a:xfrm>
            <a:off x="5244879" y="3392968"/>
            <a:ext cx="1937525" cy="23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1" rIns="68580" bIns="3429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defTabSz="914400" fontAlgn="base">
              <a:spcBef>
                <a:spcPct val="0"/>
              </a:spcBef>
              <a:spcAft>
                <a:spcPct val="0"/>
              </a:spcAft>
              <a:buClrTx/>
              <a:buFontTx/>
              <a:buNone/>
            </a:pPr>
            <a:r>
              <a:rPr lang="en-GB" altLang="en-US" sz="1100" b="1" dirty="0">
                <a:solidFill>
                  <a:srgbClr val="001965"/>
                </a:solidFill>
                <a:cs typeface="Arial" charset="0"/>
              </a:rPr>
              <a:t>Not approvable</a:t>
            </a:r>
          </a:p>
        </p:txBody>
      </p:sp>
      <p:sp>
        <p:nvSpPr>
          <p:cNvPr id="52" name="Rectangle 5"/>
          <p:cNvSpPr>
            <a:spLocks noChangeArrowheads="1"/>
          </p:cNvSpPr>
          <p:nvPr/>
        </p:nvSpPr>
        <p:spPr bwMode="auto">
          <a:xfrm>
            <a:off x="7020272" y="1268488"/>
            <a:ext cx="2123728" cy="3169652"/>
          </a:xfrm>
          <a:prstGeom prst="roundRect">
            <a:avLst>
              <a:gd name="adj" fmla="val 12173"/>
            </a:avLst>
          </a:prstGeom>
          <a:solidFill>
            <a:srgbClr val="E0DED8"/>
          </a:solidFill>
          <a:ln w="12700">
            <a:solidFill>
              <a:schemeClr val="tx1"/>
            </a:solidFill>
            <a:round/>
            <a:headEnd/>
            <a:tailEnd/>
          </a:ln>
        </p:spPr>
        <p:txBody>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algn="ctr" defTabSz="914400" fontAlgn="base">
              <a:spcBef>
                <a:spcPct val="0"/>
              </a:spcBef>
              <a:spcAft>
                <a:spcPct val="0"/>
              </a:spcAft>
              <a:buClrTx/>
              <a:buFontTx/>
              <a:buNone/>
            </a:pPr>
            <a:r>
              <a:rPr lang="cs-CZ" altLang="en-US" sz="1500" dirty="0" smtClean="0">
                <a:solidFill>
                  <a:srgbClr val="001965"/>
                </a:solidFill>
                <a:ea typeface="ＭＳ Ｐゴシック" charset="0"/>
              </a:rPr>
              <a:t>Všechny studie </a:t>
            </a:r>
            <a:r>
              <a:rPr lang="en-GB" altLang="en-US" sz="1500" dirty="0" smtClean="0">
                <a:solidFill>
                  <a:srgbClr val="001965"/>
                </a:solidFill>
                <a:ea typeface="ＭＳ Ｐゴシック" charset="0"/>
              </a:rPr>
              <a:t>2 a 3 </a:t>
            </a:r>
            <a:r>
              <a:rPr lang="cs-CZ" altLang="en-US" sz="1500" dirty="0" smtClean="0">
                <a:solidFill>
                  <a:srgbClr val="001965"/>
                </a:solidFill>
                <a:ea typeface="ＭＳ Ｐゴシック" charset="0"/>
              </a:rPr>
              <a:t>fáze</a:t>
            </a:r>
            <a:r>
              <a:rPr lang="en-GB" altLang="en-US" sz="1500" dirty="0" smtClean="0">
                <a:solidFill>
                  <a:srgbClr val="001965"/>
                </a:solidFill>
                <a:ea typeface="ＭＳ Ｐゴシック" charset="0"/>
              </a:rPr>
              <a:t> </a:t>
            </a:r>
            <a:r>
              <a:rPr lang="cs-CZ" altLang="en-US" sz="1500" dirty="0" smtClean="0">
                <a:solidFill>
                  <a:srgbClr val="001965"/>
                </a:solidFill>
                <a:ea typeface="ＭＳ Ｐゴシック" charset="0"/>
              </a:rPr>
              <a:t>by měly zahrnout prospektivní a nezávislé posouzení KV příhod.</a:t>
            </a:r>
            <a:r>
              <a:rPr lang="en-GB" altLang="en-US" sz="1500" dirty="0">
                <a:solidFill>
                  <a:srgbClr val="001965"/>
                </a:solidFill>
                <a:ea typeface="ＭＳ Ｐゴシック" charset="0"/>
              </a:rPr>
              <a:t/>
            </a:r>
            <a:br>
              <a:rPr lang="en-GB" altLang="en-US" sz="1500" dirty="0">
                <a:solidFill>
                  <a:srgbClr val="001965"/>
                </a:solidFill>
                <a:ea typeface="ＭＳ Ｐゴシック" charset="0"/>
              </a:rPr>
            </a:br>
            <a:r>
              <a:rPr lang="cs-CZ" altLang="en-US" sz="1500" dirty="0" smtClean="0">
                <a:solidFill>
                  <a:srgbClr val="001965"/>
                </a:solidFill>
                <a:ea typeface="ＭＳ Ｐゴシック" charset="0"/>
              </a:rPr>
              <a:t>Je nutné mít k dispozici minimálně dvouletá data stran KV bezpečnosti. </a:t>
            </a:r>
            <a:endParaRPr lang="en-GB" altLang="en-US" sz="1500" dirty="0">
              <a:solidFill>
                <a:srgbClr val="001965"/>
              </a:solidFill>
              <a:ea typeface="ＭＳ Ｐゴシック" charset="0"/>
            </a:endParaRPr>
          </a:p>
        </p:txBody>
      </p:sp>
    </p:spTree>
    <p:extLst>
      <p:ext uri="{BB962C8B-B14F-4D97-AF65-F5344CB8AC3E}">
        <p14:creationId xmlns:p14="http://schemas.microsoft.com/office/powerpoint/2010/main" val="33024856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968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968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96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0" grpId="0" animBg="1"/>
      <p:bldP spid="4" grpId="0" animBg="1"/>
      <p:bldP spid="69685" grpId="0"/>
      <p:bldP spid="69686" grpId="0"/>
      <p:bldP spid="69687" grpId="0"/>
      <p:bldP spid="5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4924" y="152869"/>
            <a:ext cx="8509000" cy="390525"/>
          </a:xfrm>
        </p:spPr>
        <p:txBody>
          <a:bodyPr/>
          <a:lstStyle/>
          <a:p>
            <a:r>
              <a:rPr lang="cs-CZ" sz="2000" dirty="0" smtClean="0"/>
              <a:t>Kardiovaskulární mortalitní studie</a:t>
            </a:r>
            <a:endParaRPr lang="en-GB" sz="1400" dirty="0"/>
          </a:p>
        </p:txBody>
      </p:sp>
      <p:sp>
        <p:nvSpPr>
          <p:cNvPr id="4" name="Text Placeholder 3"/>
          <p:cNvSpPr>
            <a:spLocks noGrp="1"/>
          </p:cNvSpPr>
          <p:nvPr>
            <p:ph type="body" sz="quarter" idx="11"/>
          </p:nvPr>
        </p:nvSpPr>
        <p:spPr>
          <a:xfrm>
            <a:off x="322869" y="661097"/>
            <a:ext cx="8509397" cy="222647"/>
          </a:xfrm>
        </p:spPr>
        <p:txBody>
          <a:bodyPr/>
          <a:lstStyle/>
          <a:p>
            <a:r>
              <a:rPr lang="cs-CZ" dirty="0" smtClean="0"/>
              <a:t>Účinnost vs. bezpečnost</a:t>
            </a:r>
            <a:r>
              <a:rPr lang="en-GB" dirty="0" smtClean="0"/>
              <a:t>; </a:t>
            </a:r>
            <a:r>
              <a:rPr lang="en-GB" dirty="0" err="1" smtClean="0"/>
              <a:t>superiorit</a:t>
            </a:r>
            <a:r>
              <a:rPr lang="cs-CZ" dirty="0" smtClean="0"/>
              <a:t>a</a:t>
            </a:r>
            <a:r>
              <a:rPr lang="en-GB" dirty="0" smtClean="0"/>
              <a:t> </a:t>
            </a:r>
            <a:r>
              <a:rPr lang="en-GB" dirty="0" err="1" smtClean="0"/>
              <a:t>vs</a:t>
            </a:r>
            <a:r>
              <a:rPr lang="cs-CZ" dirty="0" smtClean="0"/>
              <a:t>. </a:t>
            </a:r>
            <a:r>
              <a:rPr lang="en-GB" dirty="0" smtClean="0"/>
              <a:t>non-</a:t>
            </a:r>
            <a:r>
              <a:rPr lang="en-GB" dirty="0" err="1" smtClean="0"/>
              <a:t>inferiorit</a:t>
            </a:r>
            <a:r>
              <a:rPr lang="cs-CZ" dirty="0" smtClean="0"/>
              <a:t>a</a:t>
            </a:r>
            <a:endParaRPr lang="en-GB" dirty="0"/>
          </a:p>
        </p:txBody>
      </p:sp>
      <p:sp>
        <p:nvSpPr>
          <p:cNvPr id="6" name="Text Placeholder 5"/>
          <p:cNvSpPr>
            <a:spLocks noGrp="1"/>
          </p:cNvSpPr>
          <p:nvPr>
            <p:ph type="body" sz="quarter" idx="12"/>
          </p:nvPr>
        </p:nvSpPr>
        <p:spPr/>
        <p:txBody>
          <a:bodyPr/>
          <a:lstStyle/>
          <a:p>
            <a:r>
              <a:rPr lang="en-GB" dirty="0">
                <a:cs typeface="Verdana" pitchFamily="34" charset="0"/>
              </a:rPr>
              <a:t>CV, cardiovascular; </a:t>
            </a:r>
            <a:r>
              <a:rPr lang="en-GB" altLang="en-US" dirty="0">
                <a:solidFill>
                  <a:srgbClr val="8B7D70"/>
                </a:solidFill>
              </a:rPr>
              <a:t>HbA</a:t>
            </a:r>
            <a:r>
              <a:rPr lang="en-GB" altLang="en-US" baseline="-25000" dirty="0">
                <a:solidFill>
                  <a:srgbClr val="8B7D70"/>
                </a:solidFill>
              </a:rPr>
              <a:t>1c</a:t>
            </a:r>
            <a:r>
              <a:rPr lang="en-GB" altLang="en-US" dirty="0">
                <a:solidFill>
                  <a:srgbClr val="8B7D70"/>
                </a:solidFill>
              </a:rPr>
              <a:t>, glycosylated </a:t>
            </a:r>
            <a:r>
              <a:rPr lang="en-GB" altLang="en-US" dirty="0" smtClean="0">
                <a:solidFill>
                  <a:srgbClr val="8B7D70"/>
                </a:solidFill>
              </a:rPr>
              <a:t>haemoglobin</a:t>
            </a:r>
            <a:endParaRPr lang="en-GB" dirty="0">
              <a:cs typeface="Verdana" pitchFamily="34" charset="0"/>
            </a:endParaRPr>
          </a:p>
        </p:txBody>
      </p:sp>
      <p:grpSp>
        <p:nvGrpSpPr>
          <p:cNvPr id="12" name="Group 11"/>
          <p:cNvGrpSpPr/>
          <p:nvPr/>
        </p:nvGrpSpPr>
        <p:grpSpPr>
          <a:xfrm>
            <a:off x="283442" y="1144756"/>
            <a:ext cx="4246740" cy="3713276"/>
            <a:chOff x="283442" y="1049506"/>
            <a:chExt cx="4246740" cy="3858617"/>
          </a:xfrm>
        </p:grpSpPr>
        <p:sp>
          <p:nvSpPr>
            <p:cNvPr id="7" name="TextBox 6"/>
            <p:cNvSpPr txBox="1"/>
            <p:nvPr/>
          </p:nvSpPr>
          <p:spPr>
            <a:xfrm>
              <a:off x="283442" y="1067347"/>
              <a:ext cx="4230625" cy="511706"/>
            </a:xfrm>
            <a:prstGeom prst="rect">
              <a:avLst/>
            </a:prstGeom>
            <a:noFill/>
          </p:spPr>
          <p:txBody>
            <a:bodyPr wrap="none" lIns="91430" tIns="45715" rIns="91430" bIns="45715" rtlCol="0">
              <a:spAutoFit/>
            </a:bodyPr>
            <a:lstStyle/>
            <a:p>
              <a:pPr algn="ctr" defTabSz="914400"/>
              <a:r>
                <a:rPr lang="cs-CZ" sz="1400" b="1" dirty="0" smtClean="0">
                  <a:solidFill>
                    <a:srgbClr val="001965"/>
                  </a:solidFill>
                  <a:cs typeface="Arial" pitchFamily="34" charset="0"/>
                </a:rPr>
                <a:t>Studie zaměřené na prokázání účinnosti</a:t>
              </a:r>
              <a:endParaRPr lang="en-GB" sz="1400" b="1" dirty="0">
                <a:solidFill>
                  <a:srgbClr val="001965"/>
                </a:solidFill>
                <a:cs typeface="Arial" pitchFamily="34" charset="0"/>
              </a:endParaRPr>
            </a:p>
            <a:p>
              <a:pPr algn="ctr" defTabSz="914400"/>
              <a:r>
                <a:rPr lang="cs-CZ" sz="1200" dirty="0" smtClean="0">
                  <a:solidFill>
                    <a:srgbClr val="001965"/>
                  </a:solidFill>
                  <a:cs typeface="Arial" pitchFamily="34" charset="0"/>
                </a:rPr>
                <a:t>Cíl</a:t>
              </a:r>
              <a:r>
                <a:rPr lang="en-GB" sz="1200" dirty="0" smtClean="0">
                  <a:solidFill>
                    <a:srgbClr val="001965"/>
                  </a:solidFill>
                  <a:cs typeface="Arial" pitchFamily="34" charset="0"/>
                </a:rPr>
                <a:t>: </a:t>
              </a:r>
              <a:r>
                <a:rPr lang="cs-CZ" sz="1200" dirty="0" smtClean="0">
                  <a:solidFill>
                    <a:srgbClr val="001965"/>
                  </a:solidFill>
                  <a:cs typeface="Arial" pitchFamily="34" charset="0"/>
                </a:rPr>
                <a:t>prokázat KV přínos</a:t>
              </a:r>
              <a:endParaRPr lang="en-GB" sz="1200" dirty="0">
                <a:solidFill>
                  <a:srgbClr val="001965"/>
                </a:solidFill>
                <a:cs typeface="Arial" pitchFamily="34" charset="0"/>
              </a:endParaRPr>
            </a:p>
          </p:txBody>
        </p:sp>
        <p:sp>
          <p:nvSpPr>
            <p:cNvPr id="8" name="TextBox 7"/>
            <p:cNvSpPr txBox="1"/>
            <p:nvPr/>
          </p:nvSpPr>
          <p:spPr>
            <a:xfrm>
              <a:off x="652218" y="4636284"/>
              <a:ext cx="3877964" cy="271839"/>
            </a:xfrm>
            <a:prstGeom prst="rect">
              <a:avLst/>
            </a:prstGeom>
            <a:noFill/>
          </p:spPr>
          <p:txBody>
            <a:bodyPr wrap="none" lIns="91430" tIns="45715" rIns="91430" bIns="45715" rtlCol="0">
              <a:spAutoFit/>
            </a:bodyPr>
            <a:lstStyle/>
            <a:p>
              <a:pPr defTabSz="914400"/>
              <a:r>
                <a:rPr lang="cs-CZ" sz="1100" b="1" dirty="0" smtClean="0">
                  <a:solidFill>
                    <a:srgbClr val="001965"/>
                  </a:solidFill>
                  <a:cs typeface="Arial" pitchFamily="34" charset="0"/>
                </a:rPr>
                <a:t>Nižší KV riziko</a:t>
              </a:r>
              <a:r>
                <a:rPr lang="en-GB" sz="1100" b="1" dirty="0" smtClean="0">
                  <a:solidFill>
                    <a:srgbClr val="001965"/>
                  </a:solidFill>
                  <a:cs typeface="Arial" pitchFamily="34" charset="0"/>
                </a:rPr>
                <a:t> </a:t>
              </a:r>
              <a:r>
                <a:rPr lang="en-GB" sz="1100" b="1" dirty="0" err="1" smtClean="0">
                  <a:solidFill>
                    <a:srgbClr val="001965"/>
                  </a:solidFill>
                  <a:cs typeface="Arial" pitchFamily="34" charset="0"/>
                </a:rPr>
                <a:t>vs</a:t>
              </a:r>
              <a:r>
                <a:rPr lang="cs-CZ" sz="1100" b="1" dirty="0" smtClean="0">
                  <a:solidFill>
                    <a:srgbClr val="001965"/>
                  </a:solidFill>
                  <a:cs typeface="Arial" pitchFamily="34" charset="0"/>
                </a:rPr>
                <a:t>.</a:t>
              </a:r>
              <a:r>
                <a:rPr lang="en-GB" sz="1100" b="1" dirty="0" smtClean="0">
                  <a:solidFill>
                    <a:srgbClr val="001965"/>
                  </a:solidFill>
                  <a:cs typeface="Arial" pitchFamily="34" charset="0"/>
                </a:rPr>
                <a:t> placebo/</a:t>
              </a:r>
              <a:r>
                <a:rPr lang="cs-CZ" sz="1100" b="1" dirty="0" smtClean="0">
                  <a:solidFill>
                    <a:srgbClr val="001965"/>
                  </a:solidFill>
                  <a:cs typeface="Arial" pitchFamily="34" charset="0"/>
                </a:rPr>
                <a:t>aktivní komparátor</a:t>
              </a:r>
              <a:endParaRPr lang="en-GB" sz="1100" b="1" dirty="0">
                <a:solidFill>
                  <a:srgbClr val="001965"/>
                </a:solidFill>
                <a:cs typeface="Arial" pitchFamily="34" charset="0"/>
              </a:endParaRPr>
            </a:p>
          </p:txBody>
        </p:sp>
        <p:sp>
          <p:nvSpPr>
            <p:cNvPr id="9" name="TextBox 8"/>
            <p:cNvSpPr txBox="1"/>
            <p:nvPr/>
          </p:nvSpPr>
          <p:spPr>
            <a:xfrm>
              <a:off x="848159" y="1572302"/>
              <a:ext cx="3135518" cy="287831"/>
            </a:xfrm>
            <a:prstGeom prst="rect">
              <a:avLst/>
            </a:prstGeom>
            <a:noFill/>
          </p:spPr>
          <p:txBody>
            <a:bodyPr wrap="none" lIns="91430" tIns="45715" rIns="91430" bIns="45715" rtlCol="0">
              <a:spAutoFit/>
            </a:bodyPr>
            <a:lstStyle/>
            <a:p>
              <a:pPr defTabSz="914400"/>
              <a:r>
                <a:rPr lang="en-GB" sz="1200" dirty="0" err="1" smtClean="0">
                  <a:solidFill>
                    <a:srgbClr val="001965"/>
                  </a:solidFill>
                  <a:cs typeface="Arial" pitchFamily="34" charset="0"/>
                </a:rPr>
                <a:t>Ini</a:t>
              </a:r>
              <a:r>
                <a:rPr lang="cs-CZ" sz="1200" dirty="0" err="1" smtClean="0">
                  <a:solidFill>
                    <a:srgbClr val="001965"/>
                  </a:solidFill>
                  <a:cs typeface="Arial" pitchFamily="34" charset="0"/>
                </a:rPr>
                <a:t>ciace</a:t>
              </a:r>
              <a:r>
                <a:rPr lang="cs-CZ" sz="1200" dirty="0" smtClean="0">
                  <a:solidFill>
                    <a:srgbClr val="001965"/>
                  </a:solidFill>
                  <a:cs typeface="Arial" pitchFamily="34" charset="0"/>
                </a:rPr>
                <a:t> aktivní léčby vs. komparátoru</a:t>
              </a:r>
              <a:endParaRPr lang="en-GB" sz="1200" dirty="0">
                <a:solidFill>
                  <a:srgbClr val="001965"/>
                </a:solidFill>
                <a:cs typeface="Arial" pitchFamily="34" charset="0"/>
              </a:endParaRPr>
            </a:p>
          </p:txBody>
        </p:sp>
        <p:sp>
          <p:nvSpPr>
            <p:cNvPr id="10" name="Down Arrow 9"/>
            <p:cNvSpPr/>
            <p:nvPr/>
          </p:nvSpPr>
          <p:spPr>
            <a:xfrm>
              <a:off x="1972542" y="1988571"/>
              <a:ext cx="812800" cy="757237"/>
            </a:xfrm>
            <a:prstGeom prst="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GB" sz="1800" dirty="0">
                <a:solidFill>
                  <a:srgbClr val="FFFFFF"/>
                </a:solidFill>
              </a:endParaRPr>
            </a:p>
          </p:txBody>
        </p:sp>
        <p:sp>
          <p:nvSpPr>
            <p:cNvPr id="11" name="TextBox 10"/>
            <p:cNvSpPr txBox="1"/>
            <p:nvPr/>
          </p:nvSpPr>
          <p:spPr>
            <a:xfrm>
              <a:off x="785666" y="2796176"/>
              <a:ext cx="3182183" cy="479725"/>
            </a:xfrm>
            <a:prstGeom prst="rect">
              <a:avLst/>
            </a:prstGeom>
            <a:noFill/>
          </p:spPr>
          <p:txBody>
            <a:bodyPr wrap="square" lIns="91430" tIns="45715" rIns="91430" bIns="45715" rtlCol="0">
              <a:spAutoFit/>
            </a:bodyPr>
            <a:lstStyle/>
            <a:p>
              <a:pPr algn="ctr" defTabSz="914400"/>
              <a:r>
                <a:rPr lang="cs-CZ" sz="1200" dirty="0" smtClean="0">
                  <a:solidFill>
                    <a:srgbClr val="001965"/>
                  </a:solidFill>
                  <a:cs typeface="Arial" pitchFamily="34" charset="0"/>
                </a:rPr>
                <a:t>Rozdíl mezi léčenými skupinami v biomarkerech - </a:t>
              </a:r>
              <a:r>
                <a:rPr lang="en-GB" sz="1200" dirty="0" smtClean="0">
                  <a:solidFill>
                    <a:srgbClr val="001965"/>
                  </a:solidFill>
                  <a:cs typeface="Arial" pitchFamily="34" charset="0"/>
                </a:rPr>
                <a:t>HbA</a:t>
              </a:r>
              <a:r>
                <a:rPr lang="en-GB" sz="1200" baseline="-25000" dirty="0" smtClean="0">
                  <a:solidFill>
                    <a:srgbClr val="001965"/>
                  </a:solidFill>
                  <a:cs typeface="Arial" pitchFamily="34" charset="0"/>
                </a:rPr>
                <a:t>1c</a:t>
              </a:r>
              <a:r>
                <a:rPr lang="en-GB" sz="1200" dirty="0" smtClean="0">
                  <a:solidFill>
                    <a:srgbClr val="001965"/>
                  </a:solidFill>
                  <a:cs typeface="Arial" pitchFamily="34" charset="0"/>
                </a:rPr>
                <a:t> </a:t>
              </a:r>
              <a:r>
                <a:rPr lang="cs-CZ" sz="1200" dirty="0" smtClean="0">
                  <a:solidFill>
                    <a:srgbClr val="001965"/>
                  </a:solidFill>
                  <a:cs typeface="Arial" pitchFamily="34" charset="0"/>
                </a:rPr>
                <a:t>, </a:t>
              </a:r>
              <a:r>
                <a:rPr lang="en-GB" sz="1200" dirty="0" smtClean="0">
                  <a:solidFill>
                    <a:srgbClr val="001965"/>
                  </a:solidFill>
                  <a:cs typeface="Arial" pitchFamily="34" charset="0"/>
                </a:rPr>
                <a:t>lipid</a:t>
              </a:r>
              <a:r>
                <a:rPr lang="cs-CZ" sz="1200" dirty="0" smtClean="0">
                  <a:solidFill>
                    <a:srgbClr val="001965"/>
                  </a:solidFill>
                  <a:cs typeface="Arial" pitchFamily="34" charset="0"/>
                </a:rPr>
                <a:t>y</a:t>
              </a:r>
              <a:endParaRPr lang="en-GB" sz="1200" dirty="0">
                <a:solidFill>
                  <a:srgbClr val="001965"/>
                </a:solidFill>
                <a:cs typeface="Arial" pitchFamily="34" charset="0"/>
              </a:endParaRPr>
            </a:p>
          </p:txBody>
        </p:sp>
        <p:sp>
          <p:nvSpPr>
            <p:cNvPr id="13" name="Down Arrow 12"/>
            <p:cNvSpPr/>
            <p:nvPr/>
          </p:nvSpPr>
          <p:spPr>
            <a:xfrm>
              <a:off x="1970358" y="3320809"/>
              <a:ext cx="812800" cy="757237"/>
            </a:xfrm>
            <a:prstGeom prst="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GB" sz="1800" dirty="0">
                <a:solidFill>
                  <a:srgbClr val="FFFFFF"/>
                </a:solidFill>
              </a:endParaRPr>
            </a:p>
          </p:txBody>
        </p:sp>
        <p:sp>
          <p:nvSpPr>
            <p:cNvPr id="14" name="TextBox 13"/>
            <p:cNvSpPr txBox="1"/>
            <p:nvPr/>
          </p:nvSpPr>
          <p:spPr>
            <a:xfrm>
              <a:off x="855856" y="4126596"/>
              <a:ext cx="3340844" cy="479725"/>
            </a:xfrm>
            <a:prstGeom prst="rect">
              <a:avLst/>
            </a:prstGeom>
            <a:noFill/>
          </p:spPr>
          <p:txBody>
            <a:bodyPr wrap="square" lIns="91430" tIns="45715" rIns="91430" bIns="45715" rtlCol="0">
              <a:spAutoFit/>
            </a:bodyPr>
            <a:lstStyle/>
            <a:p>
              <a:pPr algn="ctr" defTabSz="914400"/>
              <a:r>
                <a:rPr lang="cs-CZ" sz="1200" dirty="0" smtClean="0">
                  <a:solidFill>
                    <a:srgbClr val="001965"/>
                  </a:solidFill>
                  <a:cs typeface="Arial" pitchFamily="34" charset="0"/>
                </a:rPr>
                <a:t>Významné snížení KV rizika ve srovnání s komparátorem</a:t>
              </a:r>
              <a:endParaRPr lang="en-GB" sz="1200" dirty="0">
                <a:solidFill>
                  <a:srgbClr val="001965"/>
                </a:solidFill>
                <a:cs typeface="Arial" pitchFamily="34" charset="0"/>
              </a:endParaRPr>
            </a:p>
          </p:txBody>
        </p:sp>
        <p:sp>
          <p:nvSpPr>
            <p:cNvPr id="16" name="Rounded Rectangle 15"/>
            <p:cNvSpPr/>
            <p:nvPr/>
          </p:nvSpPr>
          <p:spPr>
            <a:xfrm>
              <a:off x="287304" y="1049506"/>
              <a:ext cx="4194000" cy="3848426"/>
            </a:xfrm>
            <a:prstGeom prst="roundRect">
              <a:avLst>
                <a:gd name="adj" fmla="val 4594"/>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GB" sz="1800" dirty="0">
                <a:solidFill>
                  <a:srgbClr val="FFFFFF"/>
                </a:solidFill>
              </a:endParaRPr>
            </a:p>
          </p:txBody>
        </p:sp>
        <p:sp>
          <p:nvSpPr>
            <p:cNvPr id="21" name="TextBox 20"/>
            <p:cNvSpPr txBox="1"/>
            <p:nvPr/>
          </p:nvSpPr>
          <p:spPr>
            <a:xfrm>
              <a:off x="2726356" y="2050348"/>
              <a:ext cx="1744229" cy="447742"/>
            </a:xfrm>
            <a:prstGeom prst="rect">
              <a:avLst/>
            </a:prstGeom>
            <a:noFill/>
          </p:spPr>
          <p:txBody>
            <a:bodyPr wrap="square" lIns="91430" tIns="45715" rIns="91430" bIns="45715" rtlCol="0">
              <a:spAutoFit/>
            </a:bodyPr>
            <a:lstStyle/>
            <a:p>
              <a:pPr algn="ctr" defTabSz="914400"/>
              <a:r>
                <a:rPr lang="cs-CZ" sz="1100" b="1" dirty="0" smtClean="0">
                  <a:solidFill>
                    <a:srgbClr val="009FDA"/>
                  </a:solidFill>
                  <a:cs typeface="Arial" pitchFamily="34" charset="0"/>
                </a:rPr>
                <a:t>Bez další úpravy léčby</a:t>
              </a:r>
              <a:endParaRPr lang="en-GB" sz="1100" b="1" dirty="0">
                <a:solidFill>
                  <a:srgbClr val="009FDA"/>
                </a:solidFill>
                <a:cs typeface="Arial" pitchFamily="34" charset="0"/>
              </a:endParaRPr>
            </a:p>
          </p:txBody>
        </p:sp>
      </p:grpSp>
      <p:grpSp>
        <p:nvGrpSpPr>
          <p:cNvPr id="15" name="Group 14"/>
          <p:cNvGrpSpPr/>
          <p:nvPr/>
        </p:nvGrpSpPr>
        <p:grpSpPr>
          <a:xfrm>
            <a:off x="4602694" y="1106679"/>
            <a:ext cx="4458425" cy="3734958"/>
            <a:chOff x="4602680" y="1016333"/>
            <a:chExt cx="4458425" cy="3881740"/>
          </a:xfrm>
        </p:grpSpPr>
        <p:sp>
          <p:nvSpPr>
            <p:cNvPr id="26" name="TextBox 25"/>
            <p:cNvSpPr txBox="1"/>
            <p:nvPr/>
          </p:nvSpPr>
          <p:spPr>
            <a:xfrm>
              <a:off x="4632981" y="1016333"/>
              <a:ext cx="4428124" cy="735697"/>
            </a:xfrm>
            <a:prstGeom prst="rect">
              <a:avLst/>
            </a:prstGeom>
            <a:noFill/>
          </p:spPr>
          <p:txBody>
            <a:bodyPr wrap="square" lIns="91430" tIns="45715" rIns="91430" bIns="45715" rtlCol="0">
              <a:spAutoFit/>
            </a:bodyPr>
            <a:lstStyle/>
            <a:p>
              <a:pPr algn="ctr" defTabSz="914400"/>
              <a:r>
                <a:rPr lang="cs-CZ" sz="1400" b="1" dirty="0" smtClean="0">
                  <a:solidFill>
                    <a:srgbClr val="001965"/>
                  </a:solidFill>
                  <a:cs typeface="Arial" pitchFamily="34" charset="0"/>
                </a:rPr>
                <a:t>Studie zaměřené na prokázání bezpečnosti</a:t>
              </a:r>
            </a:p>
            <a:p>
              <a:pPr algn="ctr" defTabSz="914400"/>
              <a:r>
                <a:rPr lang="cs-CZ" sz="1200" dirty="0" smtClean="0">
                  <a:solidFill>
                    <a:srgbClr val="001965"/>
                  </a:solidFill>
                  <a:cs typeface="Arial" pitchFamily="34" charset="0"/>
                </a:rPr>
                <a:t>Cíl:</a:t>
              </a:r>
              <a:r>
                <a:rPr lang="en-GB" sz="1200" dirty="0" smtClean="0">
                  <a:solidFill>
                    <a:srgbClr val="001965"/>
                  </a:solidFill>
                  <a:cs typeface="Arial" pitchFamily="34" charset="0"/>
                </a:rPr>
                <a:t> </a:t>
              </a:r>
              <a:r>
                <a:rPr lang="cs-CZ" sz="1200" dirty="0" smtClean="0">
                  <a:solidFill>
                    <a:srgbClr val="001965"/>
                  </a:solidFill>
                  <a:cs typeface="Arial" pitchFamily="34" charset="0"/>
                </a:rPr>
                <a:t>prokázat KV bezpečnost</a:t>
              </a:r>
              <a:endParaRPr lang="en-GB" sz="1200" dirty="0">
                <a:solidFill>
                  <a:srgbClr val="001965"/>
                </a:solidFill>
                <a:cs typeface="Arial" pitchFamily="34" charset="0"/>
              </a:endParaRPr>
            </a:p>
          </p:txBody>
        </p:sp>
        <p:sp>
          <p:nvSpPr>
            <p:cNvPr id="27" name="TextBox 26"/>
            <p:cNvSpPr txBox="1"/>
            <p:nvPr/>
          </p:nvSpPr>
          <p:spPr>
            <a:xfrm>
              <a:off x="4602680" y="4450262"/>
              <a:ext cx="4229573" cy="447811"/>
            </a:xfrm>
            <a:prstGeom prst="rect">
              <a:avLst/>
            </a:prstGeom>
            <a:noFill/>
          </p:spPr>
          <p:txBody>
            <a:bodyPr wrap="square" lIns="91430" tIns="45715" rIns="91430" bIns="45715" rtlCol="0">
              <a:spAutoFit/>
            </a:bodyPr>
            <a:lstStyle/>
            <a:p>
              <a:pPr algn="ctr" defTabSz="914400"/>
              <a:r>
                <a:rPr lang="cs-CZ" sz="1100" b="1" dirty="0" smtClean="0">
                  <a:solidFill>
                    <a:srgbClr val="001965"/>
                  </a:solidFill>
                  <a:cs typeface="Arial" pitchFamily="34" charset="0"/>
                </a:rPr>
                <a:t>Není prokázáno zvýšení KV rizika ve srovnání s placebem</a:t>
              </a:r>
              <a:endParaRPr lang="en-GB" sz="1100" b="1" dirty="0">
                <a:solidFill>
                  <a:srgbClr val="001965"/>
                </a:solidFill>
                <a:cs typeface="Arial" pitchFamily="34" charset="0"/>
              </a:endParaRPr>
            </a:p>
          </p:txBody>
        </p:sp>
        <p:sp>
          <p:nvSpPr>
            <p:cNvPr id="28" name="TextBox 27"/>
            <p:cNvSpPr txBox="1"/>
            <p:nvPr/>
          </p:nvSpPr>
          <p:spPr>
            <a:xfrm>
              <a:off x="4632981" y="1649173"/>
              <a:ext cx="4385732" cy="287875"/>
            </a:xfrm>
            <a:prstGeom prst="rect">
              <a:avLst/>
            </a:prstGeom>
            <a:noFill/>
          </p:spPr>
          <p:txBody>
            <a:bodyPr wrap="none" lIns="91430" tIns="45715" rIns="91430" bIns="45715" rtlCol="0">
              <a:spAutoFit/>
            </a:bodyPr>
            <a:lstStyle/>
            <a:p>
              <a:pPr defTabSz="914400"/>
              <a:r>
                <a:rPr lang="en-GB" sz="1200" dirty="0" err="1" smtClean="0">
                  <a:solidFill>
                    <a:srgbClr val="001965"/>
                  </a:solidFill>
                  <a:cs typeface="Arial" pitchFamily="34" charset="0"/>
                </a:rPr>
                <a:t>Ini</a:t>
              </a:r>
              <a:r>
                <a:rPr lang="cs-CZ" sz="1200" dirty="0" err="1" smtClean="0">
                  <a:solidFill>
                    <a:srgbClr val="001965"/>
                  </a:solidFill>
                  <a:cs typeface="Arial" pitchFamily="34" charset="0"/>
                </a:rPr>
                <a:t>ciace</a:t>
              </a:r>
              <a:r>
                <a:rPr lang="en-GB" sz="1200" dirty="0" smtClean="0">
                  <a:solidFill>
                    <a:srgbClr val="001965"/>
                  </a:solidFill>
                  <a:cs typeface="Arial" pitchFamily="34" charset="0"/>
                </a:rPr>
                <a:t> </a:t>
              </a:r>
              <a:r>
                <a:rPr lang="cs-CZ" sz="1200" dirty="0" smtClean="0">
                  <a:solidFill>
                    <a:srgbClr val="001965"/>
                  </a:solidFill>
                  <a:cs typeface="Arial" pitchFamily="34" charset="0"/>
                </a:rPr>
                <a:t>aktivní léčby vs. </a:t>
              </a:r>
              <a:r>
                <a:rPr lang="en-GB" sz="1200" dirty="0" smtClean="0">
                  <a:solidFill>
                    <a:srgbClr val="001965"/>
                  </a:solidFill>
                  <a:cs typeface="Arial" pitchFamily="34" charset="0"/>
                </a:rPr>
                <a:t>placebo</a:t>
              </a:r>
              <a:r>
                <a:rPr lang="cs-CZ" sz="1200" dirty="0" smtClean="0">
                  <a:solidFill>
                    <a:srgbClr val="001965"/>
                  </a:solidFill>
                  <a:cs typeface="Arial" pitchFamily="34" charset="0"/>
                </a:rPr>
                <a:t> </a:t>
              </a:r>
              <a:r>
                <a:rPr lang="cs-CZ" sz="1200" u="sng" dirty="0" smtClean="0">
                  <a:solidFill>
                    <a:srgbClr val="001965"/>
                  </a:solidFill>
                  <a:cs typeface="Arial" pitchFamily="34" charset="0"/>
                </a:rPr>
                <a:t>(+ standardní léčba)</a:t>
              </a:r>
              <a:endParaRPr lang="en-GB" sz="1200" u="sng" dirty="0">
                <a:solidFill>
                  <a:srgbClr val="001965"/>
                </a:solidFill>
                <a:cs typeface="Arial" pitchFamily="34" charset="0"/>
              </a:endParaRPr>
            </a:p>
          </p:txBody>
        </p:sp>
        <p:sp>
          <p:nvSpPr>
            <p:cNvPr id="29" name="Down Arrow 28"/>
            <p:cNvSpPr/>
            <p:nvPr/>
          </p:nvSpPr>
          <p:spPr>
            <a:xfrm>
              <a:off x="6380910" y="2003839"/>
              <a:ext cx="812800" cy="757237"/>
            </a:xfrm>
            <a:prstGeom prst="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GB" sz="1800" dirty="0">
                <a:solidFill>
                  <a:srgbClr val="FFFFFF"/>
                </a:solidFill>
              </a:endParaRPr>
            </a:p>
          </p:txBody>
        </p:sp>
        <p:sp>
          <p:nvSpPr>
            <p:cNvPr id="30" name="TextBox 29"/>
            <p:cNvSpPr txBox="1"/>
            <p:nvPr/>
          </p:nvSpPr>
          <p:spPr>
            <a:xfrm>
              <a:off x="4865262" y="2780834"/>
              <a:ext cx="3883735" cy="479798"/>
            </a:xfrm>
            <a:prstGeom prst="rect">
              <a:avLst/>
            </a:prstGeom>
            <a:noFill/>
          </p:spPr>
          <p:txBody>
            <a:bodyPr wrap="none" lIns="91430" tIns="45715" rIns="91430" bIns="45715" rtlCol="0">
              <a:spAutoFit/>
            </a:bodyPr>
            <a:lstStyle/>
            <a:p>
              <a:pPr algn="ctr" defTabSz="914400"/>
              <a:r>
                <a:rPr lang="cs-CZ" sz="1200" dirty="0" smtClean="0">
                  <a:solidFill>
                    <a:srgbClr val="001965"/>
                  </a:solidFill>
                  <a:cs typeface="Arial" pitchFamily="34" charset="0"/>
                </a:rPr>
                <a:t>Malý nebo žádný rozdíl v</a:t>
              </a:r>
              <a:r>
                <a:rPr lang="en-GB" sz="1200" dirty="0" smtClean="0">
                  <a:solidFill>
                    <a:srgbClr val="001965"/>
                  </a:solidFill>
                  <a:cs typeface="Arial" pitchFamily="34" charset="0"/>
                </a:rPr>
                <a:t> biomarker</a:t>
              </a:r>
              <a:r>
                <a:rPr lang="cs-CZ" sz="1200" dirty="0" smtClean="0">
                  <a:solidFill>
                    <a:srgbClr val="001965"/>
                  </a:solidFill>
                  <a:cs typeface="Arial" pitchFamily="34" charset="0"/>
                </a:rPr>
                <a:t>ech -</a:t>
              </a:r>
              <a:r>
                <a:rPr lang="en-GB" sz="1200" dirty="0" smtClean="0">
                  <a:solidFill>
                    <a:srgbClr val="001965"/>
                  </a:solidFill>
                  <a:cs typeface="Arial" pitchFamily="34" charset="0"/>
                </a:rPr>
                <a:t> </a:t>
              </a:r>
              <a:r>
                <a:rPr lang="en-GB" sz="1200" dirty="0">
                  <a:solidFill>
                    <a:srgbClr val="001965"/>
                  </a:solidFill>
                  <a:cs typeface="Arial" pitchFamily="34" charset="0"/>
                </a:rPr>
                <a:t>HbA</a:t>
              </a:r>
              <a:r>
                <a:rPr lang="en-GB" sz="1200" baseline="-25000" dirty="0">
                  <a:solidFill>
                    <a:srgbClr val="001965"/>
                  </a:solidFill>
                  <a:cs typeface="Arial" pitchFamily="34" charset="0"/>
                </a:rPr>
                <a:t>1c</a:t>
              </a:r>
              <a:r>
                <a:rPr lang="en-GB" sz="1200" dirty="0">
                  <a:solidFill>
                    <a:srgbClr val="001965"/>
                  </a:solidFill>
                  <a:cs typeface="Arial" pitchFamily="34" charset="0"/>
                </a:rPr>
                <a:t> </a:t>
              </a:r>
              <a:br>
                <a:rPr lang="en-GB" sz="1200" dirty="0">
                  <a:solidFill>
                    <a:srgbClr val="001965"/>
                  </a:solidFill>
                  <a:cs typeface="Arial" pitchFamily="34" charset="0"/>
                </a:rPr>
              </a:br>
              <a:r>
                <a:rPr lang="cs-CZ" sz="1200" dirty="0" smtClean="0">
                  <a:solidFill>
                    <a:srgbClr val="001965"/>
                  </a:solidFill>
                  <a:cs typeface="Arial" pitchFamily="34" charset="0"/>
                </a:rPr>
                <a:t>mezi léčenými skupinami</a:t>
              </a:r>
              <a:endParaRPr lang="en-GB" sz="1200" dirty="0">
                <a:solidFill>
                  <a:srgbClr val="001965"/>
                </a:solidFill>
                <a:cs typeface="Arial" pitchFamily="34" charset="0"/>
              </a:endParaRPr>
            </a:p>
          </p:txBody>
        </p:sp>
        <p:sp>
          <p:nvSpPr>
            <p:cNvPr id="31" name="TextBox 30"/>
            <p:cNvSpPr txBox="1"/>
            <p:nvPr/>
          </p:nvSpPr>
          <p:spPr>
            <a:xfrm>
              <a:off x="4702405" y="1977406"/>
              <a:ext cx="1744229" cy="623740"/>
            </a:xfrm>
            <a:prstGeom prst="rect">
              <a:avLst/>
            </a:prstGeom>
            <a:noFill/>
          </p:spPr>
          <p:txBody>
            <a:bodyPr wrap="square" lIns="91430" tIns="45715" rIns="91430" bIns="45715" rtlCol="0">
              <a:spAutoFit/>
            </a:bodyPr>
            <a:lstStyle/>
            <a:p>
              <a:pPr algn="ctr" defTabSz="914400"/>
              <a:r>
                <a:rPr lang="cs-CZ" sz="1100" dirty="0" smtClean="0">
                  <a:solidFill>
                    <a:srgbClr val="009FDA"/>
                  </a:solidFill>
                  <a:cs typeface="Arial" pitchFamily="34" charset="0"/>
                </a:rPr>
                <a:t>Snaha o udržení podobného</a:t>
              </a:r>
              <a:r>
                <a:rPr lang="en-GB" sz="1100" dirty="0" smtClean="0">
                  <a:solidFill>
                    <a:srgbClr val="009FDA"/>
                  </a:solidFill>
                  <a:cs typeface="Arial" pitchFamily="34" charset="0"/>
                </a:rPr>
                <a:t> </a:t>
              </a:r>
              <a:r>
                <a:rPr lang="en-GB" sz="1100" dirty="0">
                  <a:solidFill>
                    <a:srgbClr val="009FDA"/>
                  </a:solidFill>
                  <a:cs typeface="Arial" pitchFamily="34" charset="0"/>
                </a:rPr>
                <a:t>HbA</a:t>
              </a:r>
              <a:r>
                <a:rPr lang="en-GB" sz="1100" baseline="-25000" dirty="0">
                  <a:solidFill>
                    <a:srgbClr val="009FDA"/>
                  </a:solidFill>
                  <a:cs typeface="Arial" pitchFamily="34" charset="0"/>
                </a:rPr>
                <a:t>1c </a:t>
              </a:r>
              <a:r>
                <a:rPr lang="cs-CZ" sz="1100" dirty="0" smtClean="0">
                  <a:solidFill>
                    <a:srgbClr val="009FDA"/>
                  </a:solidFill>
                  <a:cs typeface="Arial" pitchFamily="34" charset="0"/>
                </a:rPr>
                <a:t>v léčených skupinách</a:t>
              </a:r>
              <a:endParaRPr lang="en-GB" sz="1100" dirty="0">
                <a:solidFill>
                  <a:srgbClr val="009FDA"/>
                </a:solidFill>
                <a:cs typeface="Arial" pitchFamily="34" charset="0"/>
              </a:endParaRPr>
            </a:p>
          </p:txBody>
        </p:sp>
        <p:sp>
          <p:nvSpPr>
            <p:cNvPr id="32" name="Down Arrow 31"/>
            <p:cNvSpPr/>
            <p:nvPr/>
          </p:nvSpPr>
          <p:spPr>
            <a:xfrm>
              <a:off x="6378726" y="3321329"/>
              <a:ext cx="812800" cy="757237"/>
            </a:xfrm>
            <a:prstGeom prst="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GB" sz="1800" dirty="0">
                <a:solidFill>
                  <a:srgbClr val="FFFFFF"/>
                </a:solidFill>
              </a:endParaRPr>
            </a:p>
          </p:txBody>
        </p:sp>
        <p:sp>
          <p:nvSpPr>
            <p:cNvPr id="33" name="TextBox 32"/>
            <p:cNvSpPr txBox="1"/>
            <p:nvPr/>
          </p:nvSpPr>
          <p:spPr>
            <a:xfrm>
              <a:off x="5390599" y="4137554"/>
              <a:ext cx="2791963" cy="287875"/>
            </a:xfrm>
            <a:prstGeom prst="rect">
              <a:avLst/>
            </a:prstGeom>
            <a:noFill/>
          </p:spPr>
          <p:txBody>
            <a:bodyPr wrap="none" lIns="91430" tIns="45715" rIns="91430" bIns="45715" rtlCol="0">
              <a:spAutoFit/>
            </a:bodyPr>
            <a:lstStyle/>
            <a:p>
              <a:pPr algn="ctr" defTabSz="914400"/>
              <a:r>
                <a:rPr lang="cs-CZ" sz="1200" dirty="0" smtClean="0">
                  <a:solidFill>
                    <a:srgbClr val="001965"/>
                  </a:solidFill>
                  <a:cs typeface="Arial" pitchFamily="34" charset="0"/>
                </a:rPr>
                <a:t>Průkaz n</a:t>
              </a:r>
              <a:r>
                <a:rPr lang="en-GB" sz="1200" dirty="0" smtClean="0">
                  <a:solidFill>
                    <a:srgbClr val="001965"/>
                  </a:solidFill>
                  <a:cs typeface="Arial" pitchFamily="34" charset="0"/>
                </a:rPr>
                <a:t>on-inferiority </a:t>
              </a:r>
              <a:r>
                <a:rPr lang="en-GB" sz="1200" dirty="0" err="1" smtClean="0">
                  <a:solidFill>
                    <a:srgbClr val="001965"/>
                  </a:solidFill>
                  <a:cs typeface="Arial" pitchFamily="34" charset="0"/>
                </a:rPr>
                <a:t>vs</a:t>
              </a:r>
              <a:r>
                <a:rPr lang="cs-CZ" sz="1200" dirty="0" smtClean="0">
                  <a:solidFill>
                    <a:srgbClr val="001965"/>
                  </a:solidFill>
                  <a:cs typeface="Arial" pitchFamily="34" charset="0"/>
                </a:rPr>
                <a:t>.</a:t>
              </a:r>
              <a:r>
                <a:rPr lang="en-GB" sz="1200" dirty="0" smtClean="0">
                  <a:solidFill>
                    <a:srgbClr val="001965"/>
                  </a:solidFill>
                  <a:cs typeface="Arial" pitchFamily="34" charset="0"/>
                </a:rPr>
                <a:t> </a:t>
              </a:r>
              <a:r>
                <a:rPr lang="en-GB" sz="1200" dirty="0">
                  <a:solidFill>
                    <a:srgbClr val="001965"/>
                  </a:solidFill>
                  <a:cs typeface="Arial" pitchFamily="34" charset="0"/>
                </a:rPr>
                <a:t>placebo</a:t>
              </a:r>
            </a:p>
          </p:txBody>
        </p:sp>
        <p:sp>
          <p:nvSpPr>
            <p:cNvPr id="34" name="Rounded Rectangle 33"/>
            <p:cNvSpPr/>
            <p:nvPr/>
          </p:nvSpPr>
          <p:spPr>
            <a:xfrm>
              <a:off x="4677505" y="1064512"/>
              <a:ext cx="4194000" cy="3833420"/>
            </a:xfrm>
            <a:prstGeom prst="roundRect">
              <a:avLst>
                <a:gd name="adj" fmla="val 3831"/>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defTabSz="914400"/>
              <a:endParaRPr lang="en-GB" sz="1800" dirty="0">
                <a:solidFill>
                  <a:srgbClr val="FFFFFF"/>
                </a:solidFill>
              </a:endParaRPr>
            </a:p>
          </p:txBody>
        </p:sp>
        <p:sp>
          <p:nvSpPr>
            <p:cNvPr id="22" name="TextBox 21"/>
            <p:cNvSpPr txBox="1"/>
            <p:nvPr/>
          </p:nvSpPr>
          <p:spPr>
            <a:xfrm>
              <a:off x="7430317" y="1881024"/>
              <a:ext cx="1517431" cy="623740"/>
            </a:xfrm>
            <a:prstGeom prst="rect">
              <a:avLst/>
            </a:prstGeom>
            <a:noFill/>
          </p:spPr>
          <p:txBody>
            <a:bodyPr wrap="square" lIns="91430" tIns="45715" rIns="91430" bIns="45715" rtlCol="0">
              <a:spAutoFit/>
            </a:bodyPr>
            <a:lstStyle/>
            <a:p>
              <a:pPr algn="ctr" defTabSz="914400"/>
              <a:r>
                <a:rPr lang="cs-CZ" sz="1100" b="1" dirty="0" smtClean="0">
                  <a:solidFill>
                    <a:srgbClr val="009FDA"/>
                  </a:solidFill>
                  <a:cs typeface="Arial" pitchFamily="34" charset="0"/>
                </a:rPr>
                <a:t>Úpravy léčby dle aktuálních standardů</a:t>
              </a:r>
              <a:endParaRPr lang="en-GB" sz="1100" dirty="0">
                <a:solidFill>
                  <a:srgbClr val="009FDA"/>
                </a:solidFill>
                <a:cs typeface="Arial" pitchFamily="34" charset="0"/>
              </a:endParaRPr>
            </a:p>
          </p:txBody>
        </p:sp>
        <p:cxnSp>
          <p:nvCxnSpPr>
            <p:cNvPr id="5" name="Straight Connector 4"/>
            <p:cNvCxnSpPr/>
            <p:nvPr/>
          </p:nvCxnSpPr>
          <p:spPr>
            <a:xfrm flipV="1">
              <a:off x="7127111" y="2218160"/>
              <a:ext cx="380208" cy="4505"/>
            </a:xfrm>
            <a:prstGeom prst="line">
              <a:avLst/>
            </a:prstGeom>
            <a:ln w="76200">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7796428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ástupný symbol pro obsah 1"/>
          <p:cNvSpPr>
            <a:spLocks noGrp="1"/>
          </p:cNvSpPr>
          <p:nvPr>
            <p:ph idx="1"/>
          </p:nvPr>
        </p:nvSpPr>
        <p:spPr/>
        <p:txBody>
          <a:bodyPr/>
          <a:lstStyle/>
          <a:p>
            <a:pPr marL="0" indent="0">
              <a:buNone/>
            </a:pPr>
            <a:r>
              <a:rPr lang="cs-CZ" sz="2400" dirty="0" smtClean="0"/>
              <a:t>Od </a:t>
            </a:r>
            <a:r>
              <a:rPr lang="cs-CZ" sz="2400" dirty="0" err="1" smtClean="0"/>
              <a:t>glukocentricity</a:t>
            </a:r>
            <a:r>
              <a:rPr lang="cs-CZ" sz="2400" dirty="0" smtClean="0"/>
              <a:t> ke snížení KV rizika a mortality</a:t>
            </a:r>
            <a:endParaRPr lang="cs-CZ" dirty="0"/>
          </a:p>
        </p:txBody>
      </p:sp>
      <p:sp>
        <p:nvSpPr>
          <p:cNvPr id="65538" name="Title 2"/>
          <p:cNvSpPr>
            <a:spLocks noGrp="1"/>
          </p:cNvSpPr>
          <p:nvPr>
            <p:ph type="title"/>
          </p:nvPr>
        </p:nvSpPr>
        <p:spPr>
          <a:xfrm>
            <a:off x="274291" y="357508"/>
            <a:ext cx="8510400" cy="391412"/>
          </a:xfrm>
        </p:spPr>
        <p:txBody>
          <a:bodyPr/>
          <a:lstStyle/>
          <a:p>
            <a:pPr algn="ctr" eaLnBrk="1" hangingPunct="1"/>
            <a:r>
              <a:rPr lang="cs-CZ" altLang="en-US" sz="3200" dirty="0" smtClean="0">
                <a:solidFill>
                  <a:srgbClr val="001423"/>
                </a:solidFill>
              </a:rPr>
              <a:t>Změna paradigmatu v léčbě diabetu</a:t>
            </a:r>
            <a:endParaRPr lang="en-GB" altLang="en-US" sz="3200" dirty="0">
              <a:solidFill>
                <a:srgbClr val="001423"/>
              </a:solidFill>
            </a:endParaRPr>
          </a:p>
        </p:txBody>
      </p:sp>
      <p:sp>
        <p:nvSpPr>
          <p:cNvPr id="2" name="Text Placeholder 1"/>
          <p:cNvSpPr>
            <a:spLocks noGrp="1"/>
          </p:cNvSpPr>
          <p:nvPr>
            <p:ph type="body" sz="quarter" idx="13"/>
          </p:nvPr>
        </p:nvSpPr>
        <p:spPr/>
        <p:txBody>
          <a:bodyPr/>
          <a:lstStyle/>
          <a:p>
            <a:r>
              <a:rPr lang="en-GB" altLang="en-US" dirty="0">
                <a:solidFill>
                  <a:srgbClr val="8B7D70"/>
                </a:solidFill>
              </a:rPr>
              <a:t>HbA</a:t>
            </a:r>
            <a:r>
              <a:rPr lang="en-GB" altLang="en-US" baseline="-25000" dirty="0">
                <a:solidFill>
                  <a:srgbClr val="8B7D70"/>
                </a:solidFill>
              </a:rPr>
              <a:t>1c</a:t>
            </a:r>
            <a:r>
              <a:rPr lang="en-GB" altLang="en-US" dirty="0">
                <a:solidFill>
                  <a:srgbClr val="8B7D70"/>
                </a:solidFill>
              </a:rPr>
              <a:t>, glycosylated </a:t>
            </a:r>
            <a:r>
              <a:rPr lang="en-GB" altLang="en-US" dirty="0" smtClean="0">
                <a:solidFill>
                  <a:srgbClr val="8B7D70"/>
                </a:solidFill>
              </a:rPr>
              <a:t>haemoglobin</a:t>
            </a:r>
            <a:endParaRPr lang="en-GB" dirty="0"/>
          </a:p>
        </p:txBody>
      </p:sp>
      <p:pic>
        <p:nvPicPr>
          <p:cNvPr id="11" name="Picture 2" descr="Výsledek obrázku pro reduction of cardiovascular risk">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7491" y="2254505"/>
            <a:ext cx="4267200" cy="229362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Výsledek obrázku pro hbA1c">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0354" y="2375817"/>
            <a:ext cx="3169920" cy="2011680"/>
          </a:xfrm>
          <a:prstGeom prst="rect">
            <a:avLst/>
          </a:prstGeom>
          <a:noFill/>
          <a:extLst>
            <a:ext uri="{909E8E84-426E-40DD-AFC4-6F175D3DCCD1}">
              <a14:hiddenFill xmlns:a14="http://schemas.microsoft.com/office/drawing/2010/main">
                <a:solidFill>
                  <a:srgbClr val="FFFFFF"/>
                </a:solidFill>
              </a14:hiddenFill>
            </a:ext>
          </a:extLst>
        </p:spPr>
      </p:pic>
      <p:sp>
        <p:nvSpPr>
          <p:cNvPr id="15" name="Šipka doprava 7"/>
          <p:cNvSpPr/>
          <p:nvPr/>
        </p:nvSpPr>
        <p:spPr>
          <a:xfrm>
            <a:off x="3560353" y="2809791"/>
            <a:ext cx="1505995" cy="860166"/>
          </a:xfrm>
          <a:prstGeom prst="right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cs-CZ" sz="1800">
              <a:solidFill>
                <a:srgbClr val="FFFFFF"/>
              </a:solidFill>
            </a:endParaRPr>
          </a:p>
        </p:txBody>
      </p:sp>
    </p:spTree>
    <p:extLst>
      <p:ext uri="{BB962C8B-B14F-4D97-AF65-F5344CB8AC3E}">
        <p14:creationId xmlns:p14="http://schemas.microsoft.com/office/powerpoint/2010/main" val="1484869245"/>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RESGUID" val="0018bcad-6b95-4a43-aacd-040eb3fcd27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ixASH2au0uwHuI0Hw1o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a:defPPr>
      </a:lstStyle>
      <a:style>
        <a:lnRef idx="2">
          <a:schemeClr val="accent5">
            <a:shade val="50000"/>
          </a:schemeClr>
        </a:lnRef>
        <a:fillRef idx="1">
          <a:schemeClr val="accent5"/>
        </a:fillRef>
        <a:effectRef idx="0">
          <a:schemeClr val="accent5"/>
        </a:effectRef>
        <a:fontRef idx="minor">
          <a:schemeClr val="lt1"/>
        </a:fontRef>
      </a:style>
    </a:spDef>
    <a:lnDef>
      <a:spPr>
        <a:ln w="12700">
          <a:solidFill>
            <a:srgbClr val="001965"/>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10.xml><?xml version="1.0" encoding="utf-8"?>
<a:theme xmlns:a="http://schemas.openxmlformats.org/drawingml/2006/main" name="6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11.xml><?xml version="1.0" encoding="utf-8"?>
<a:theme xmlns:a="http://schemas.openxmlformats.org/drawingml/2006/main" name="10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a:defPPr>
      </a:lstStyle>
      <a:style>
        <a:lnRef idx="2">
          <a:schemeClr val="accent5">
            <a:shade val="50000"/>
          </a:schemeClr>
        </a:lnRef>
        <a:fillRef idx="1">
          <a:schemeClr val="accent5"/>
        </a:fillRef>
        <a:effectRef idx="0">
          <a:schemeClr val="accent5"/>
        </a:effectRef>
        <a:fontRef idx="minor">
          <a:schemeClr val="lt1"/>
        </a:fontRef>
      </a:style>
    </a:spDef>
    <a:lnDef>
      <a:spPr>
        <a:ln w="12700">
          <a:solidFill>
            <a:srgbClr val="001965"/>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12.xml><?xml version="1.0" encoding="utf-8"?>
<a:theme xmlns:a="http://schemas.openxmlformats.org/drawingml/2006/main" name="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1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Výchozí návrh">
  <a:themeElements>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ýchozí návrh">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ýchozí návrh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ýchozí návrh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ýchozí návrh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ýchozí návrh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ýchozí návrh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ýchozí návrh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ýchozí návrh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ýchozí návrh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ýchozí návrh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ýchozí návrh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ýchozí návrh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4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a:defPPr>
      </a:lstStyle>
      <a:style>
        <a:lnRef idx="2">
          <a:schemeClr val="accent5">
            <a:shade val="50000"/>
          </a:schemeClr>
        </a:lnRef>
        <a:fillRef idx="1">
          <a:schemeClr val="accent5"/>
        </a:fillRef>
        <a:effectRef idx="0">
          <a:schemeClr val="accent5"/>
        </a:effectRef>
        <a:fontRef idx="minor">
          <a:schemeClr val="lt1"/>
        </a:fontRef>
      </a:style>
    </a:spDef>
    <a:lnDef>
      <a:spPr>
        <a:ln w="12700">
          <a:solidFill>
            <a:srgbClr val="001965"/>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3.xml><?xml version="1.0" encoding="utf-8"?>
<a:theme xmlns:a="http://schemas.openxmlformats.org/drawingml/2006/main" name="9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a:defPPr>
      </a:lstStyle>
      <a:style>
        <a:lnRef idx="2">
          <a:schemeClr val="accent5">
            <a:shade val="50000"/>
          </a:schemeClr>
        </a:lnRef>
        <a:fillRef idx="1">
          <a:schemeClr val="accent5"/>
        </a:fillRef>
        <a:effectRef idx="0">
          <a:schemeClr val="accent5"/>
        </a:effectRef>
        <a:fontRef idx="minor">
          <a:schemeClr val="lt1"/>
        </a:fontRef>
      </a:style>
    </a:spDef>
    <a:lnDef>
      <a:spPr>
        <a:ln w="12700">
          <a:solidFill>
            <a:srgbClr val="001965"/>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4.xml><?xml version="1.0" encoding="utf-8"?>
<a:theme xmlns:a="http://schemas.openxmlformats.org/drawingml/2006/main" name="1_NN_GSEM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800" dirty="0" smtClean="0"/>
        </a:defPPr>
      </a:lstStyle>
    </a:tx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5.xml><?xml version="1.0" encoding="utf-8"?>
<a:theme xmlns:a="http://schemas.openxmlformats.org/drawingml/2006/main" name="2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a:defPPr>
      </a:lstStyle>
      <a:style>
        <a:lnRef idx="2">
          <a:schemeClr val="accent5">
            <a:shade val="50000"/>
          </a:schemeClr>
        </a:lnRef>
        <a:fillRef idx="1">
          <a:schemeClr val="accent5"/>
        </a:fillRef>
        <a:effectRef idx="0">
          <a:schemeClr val="accent5"/>
        </a:effectRef>
        <a:fontRef idx="minor">
          <a:schemeClr val="lt1"/>
        </a:fontRef>
      </a:style>
    </a:spDef>
    <a:lnDef>
      <a:spPr>
        <a:ln w="12700">
          <a:solidFill>
            <a:srgbClr val="001965"/>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6.xml><?xml version="1.0" encoding="utf-8"?>
<a:theme xmlns:a="http://schemas.openxmlformats.org/drawingml/2006/main" name="5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a:defPPr>
      </a:lstStyle>
      <a:style>
        <a:lnRef idx="2">
          <a:schemeClr val="accent5">
            <a:shade val="50000"/>
          </a:schemeClr>
        </a:lnRef>
        <a:fillRef idx="1">
          <a:schemeClr val="accent5"/>
        </a:fillRef>
        <a:effectRef idx="0">
          <a:schemeClr val="accent5"/>
        </a:effectRef>
        <a:fontRef idx="minor">
          <a:schemeClr val="lt1"/>
        </a:fontRef>
      </a:style>
    </a:spDef>
    <a:lnDef>
      <a:spPr>
        <a:ln w="12700">
          <a:solidFill>
            <a:srgbClr val="001965"/>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7.xml><?xml version="1.0" encoding="utf-8"?>
<a:theme xmlns:a="http://schemas.openxmlformats.org/drawingml/2006/main" name="2_Výchozí návrh">
  <a:themeElements>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ýchozí návrh">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ýchozí návrh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ýchozí návrh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ýchozí návrh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ýchozí návrh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ýchozí návrh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ýchozí návrh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ýchozí návrh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ýchozí návrh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ýchozí návrh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ýchozí návrh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ýchozí návrh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Novo_leader_PPT_template">
  <a:themeElements>
    <a:clrScheme name="1_Novo_leader_PPT_template 1">
      <a:dk1>
        <a:srgbClr val="001965"/>
      </a:dk1>
      <a:lt1>
        <a:srgbClr val="FFFFFF"/>
      </a:lt1>
      <a:dk2>
        <a:srgbClr val="F2E6E5"/>
      </a:dk2>
      <a:lt2>
        <a:srgbClr val="8DA2CC"/>
      </a:lt2>
      <a:accent1>
        <a:srgbClr val="A40046"/>
      </a:accent1>
      <a:accent2>
        <a:srgbClr val="001965"/>
      </a:accent2>
      <a:accent3>
        <a:srgbClr val="FFFFFF"/>
      </a:accent3>
      <a:accent4>
        <a:srgbClr val="001455"/>
      </a:accent4>
      <a:accent5>
        <a:srgbClr val="CFAAB0"/>
      </a:accent5>
      <a:accent6>
        <a:srgbClr val="00165B"/>
      </a:accent6>
      <a:hlink>
        <a:srgbClr val="8B7D70"/>
      </a:hlink>
      <a:folHlink>
        <a:srgbClr val="00B7FF"/>
      </a:folHlink>
    </a:clrScheme>
    <a:fontScheme name="1_Novo_leader_PPT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ovo_leader_PPT_template 1">
        <a:dk1>
          <a:srgbClr val="001965"/>
        </a:dk1>
        <a:lt1>
          <a:srgbClr val="FFFFFF"/>
        </a:lt1>
        <a:dk2>
          <a:srgbClr val="F2E6E5"/>
        </a:dk2>
        <a:lt2>
          <a:srgbClr val="8DA2CC"/>
        </a:lt2>
        <a:accent1>
          <a:srgbClr val="A40046"/>
        </a:accent1>
        <a:accent2>
          <a:srgbClr val="001965"/>
        </a:accent2>
        <a:accent3>
          <a:srgbClr val="FFFFFF"/>
        </a:accent3>
        <a:accent4>
          <a:srgbClr val="001455"/>
        </a:accent4>
        <a:accent5>
          <a:srgbClr val="CFAAB0"/>
        </a:accent5>
        <a:accent6>
          <a:srgbClr val="00165B"/>
        </a:accent6>
        <a:hlink>
          <a:srgbClr val="8B7D70"/>
        </a:hlink>
        <a:folHlink>
          <a:srgbClr val="00B7FF"/>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docProps/app.xml><?xml version="1.0" encoding="utf-8"?>
<Properties xmlns="http://schemas.openxmlformats.org/officeDocument/2006/extended-properties" xmlns:vt="http://schemas.openxmlformats.org/officeDocument/2006/docPropsVTypes">
  <TotalTime>11421</TotalTime>
  <Words>2865</Words>
  <Application>Microsoft Office PowerPoint</Application>
  <PresentationFormat>Předvádění na obrazovce (16:9)</PresentationFormat>
  <Paragraphs>515</Paragraphs>
  <Slides>23</Slides>
  <Notes>14</Notes>
  <HiddenSlides>0</HiddenSlides>
  <MMClips>0</MMClips>
  <ScaleCrop>false</ScaleCrop>
  <HeadingPairs>
    <vt:vector size="6" baseType="variant">
      <vt:variant>
        <vt:lpstr>Motiv</vt:lpstr>
      </vt:variant>
      <vt:variant>
        <vt:i4>14</vt:i4>
      </vt:variant>
      <vt:variant>
        <vt:lpstr>Vložené servery OLE</vt:lpstr>
      </vt:variant>
      <vt:variant>
        <vt:i4>1</vt:i4>
      </vt:variant>
      <vt:variant>
        <vt:lpstr>Nadpisy snímků</vt:lpstr>
      </vt:variant>
      <vt:variant>
        <vt:i4>23</vt:i4>
      </vt:variant>
    </vt:vector>
  </HeadingPairs>
  <TitlesOfParts>
    <vt:vector size="38" baseType="lpstr">
      <vt:lpstr>1_NN_Neutral_16-9</vt:lpstr>
      <vt:lpstr>4_NN_Neutral_16-9</vt:lpstr>
      <vt:lpstr>9_NN_Neutral_16-9</vt:lpstr>
      <vt:lpstr>1_NN_GSEM_16-9</vt:lpstr>
      <vt:lpstr>2_NN_Neutral_16-9</vt:lpstr>
      <vt:lpstr>5_NN_Neutral_16-9</vt:lpstr>
      <vt:lpstr>2_Výchozí návrh</vt:lpstr>
      <vt:lpstr>1_Novo_leader_PPT_template</vt:lpstr>
      <vt:lpstr>3_NN_Neutral_16-9</vt:lpstr>
      <vt:lpstr>6_NN_Neutral_16-9</vt:lpstr>
      <vt:lpstr>10_NN_Neutral_16-9</vt:lpstr>
      <vt:lpstr>NN_Neutral_16-9</vt:lpstr>
      <vt:lpstr>5_Office Theme</vt:lpstr>
      <vt:lpstr>Výchozí návrh</vt:lpstr>
      <vt:lpstr>think-cell Slide</vt:lpstr>
      <vt:lpstr>     ANTIDIABETIKA A KARDIOVASKULÁRNÍ BEZPEČNOST: NOVINKY A PERSPEKTIVY </vt:lpstr>
      <vt:lpstr>Obsah přednášky</vt:lpstr>
      <vt:lpstr>Algoritmus léčby DM 2. typu (doporučení ČDS 2017)</vt:lpstr>
      <vt:lpstr>Komplexní etiopatogeneza DM 2. typu vyžaduje současné ovlivnění více KV rizikových faktorů</vt:lpstr>
      <vt:lpstr>Metaanalýza: těsnější kompenzace DM vede jen k mírnému snížení KV rizika (studie s použitím „klasických“ antadiabetik)  </vt:lpstr>
      <vt:lpstr>Prezentace aplikace PowerPoint</vt:lpstr>
      <vt:lpstr>Požadavky FDA pro schválení antidiabetik/provedení postmarketingových studií u pacientů s vysokým KV rizikem  </vt:lpstr>
      <vt:lpstr>Kardiovaskulární mortalitní studie</vt:lpstr>
      <vt:lpstr>Změna paradigmatu v léčbě diabetu</vt:lpstr>
      <vt:lpstr>Hlavním cílem léčby diabetu je komplikacím předcházet</vt:lpstr>
      <vt:lpstr>Konvenční vs. intenzivní multifaktoriální léčba</vt:lpstr>
      <vt:lpstr>Komplexní intervence všech rizikových faktorů ve studii STENO: konvenční vs. intenzivní léčba</vt:lpstr>
      <vt:lpstr>Dlouhodobé výsledky bariatrické chirurgie (Swedish obese subjects study) </vt:lpstr>
      <vt:lpstr>Studie PROactive : primární kombinovaný cíl</vt:lpstr>
      <vt:lpstr>Studie PROactive: významný přínos léčby u sekundárního kombinovaného cíle</vt:lpstr>
      <vt:lpstr>Prezentace aplikace PowerPoint</vt:lpstr>
      <vt:lpstr>SGLT-2 inhibitory: praktické poznámky     </vt:lpstr>
      <vt:lpstr>Prezentace aplikace PowerPoint</vt:lpstr>
      <vt:lpstr>Prezentace aplikace PowerPoint</vt:lpstr>
      <vt:lpstr>Probíhající KV studie s antidiabetiky: co nás ještě čeká?</vt:lpstr>
      <vt:lpstr>Praktické poznámky a perspektivy: </vt:lpstr>
      <vt:lpstr>Závěr:</vt:lpstr>
      <vt:lpstr>Prezentace aplikace PowerPoint</vt:lpstr>
    </vt:vector>
  </TitlesOfParts>
  <Company>Huntsworth Heal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ggestions to GSEM 2017 GLP-1 Diabetes showreel</dc:title>
  <dc:creator>Savroop Bhamra</dc:creator>
  <cp:lastModifiedBy>23939</cp:lastModifiedBy>
  <cp:revision>448</cp:revision>
  <dcterms:created xsi:type="dcterms:W3CDTF">2017-01-12T14:44:13Z</dcterms:created>
  <dcterms:modified xsi:type="dcterms:W3CDTF">2018-01-20T07:30:48Z</dcterms:modified>
</cp:coreProperties>
</file>